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0" r:id="rId1"/>
    <p:sldMasterId id="2147483753" r:id="rId2"/>
    <p:sldMasterId id="2147483767" r:id="rId3"/>
    <p:sldMasterId id="2147483782" r:id="rId4"/>
    <p:sldMasterId id="2147483803" r:id="rId5"/>
  </p:sldMasterIdLst>
  <p:notesMasterIdLst>
    <p:notesMasterId r:id="rId26"/>
  </p:notesMasterIdLst>
  <p:handoutMasterIdLst>
    <p:handoutMasterId r:id="rId27"/>
  </p:handoutMasterIdLst>
  <p:sldIdLst>
    <p:sldId id="636" r:id="rId6"/>
    <p:sldId id="637" r:id="rId7"/>
    <p:sldId id="638" r:id="rId8"/>
    <p:sldId id="639" r:id="rId9"/>
    <p:sldId id="640" r:id="rId10"/>
    <p:sldId id="641" r:id="rId11"/>
    <p:sldId id="642" r:id="rId12"/>
    <p:sldId id="643" r:id="rId13"/>
    <p:sldId id="644" r:id="rId14"/>
    <p:sldId id="645" r:id="rId15"/>
    <p:sldId id="646" r:id="rId16"/>
    <p:sldId id="647" r:id="rId17"/>
    <p:sldId id="648" r:id="rId18"/>
    <p:sldId id="649" r:id="rId19"/>
    <p:sldId id="650" r:id="rId20"/>
    <p:sldId id="651" r:id="rId21"/>
    <p:sldId id="652" r:id="rId22"/>
    <p:sldId id="653" r:id="rId23"/>
    <p:sldId id="654" r:id="rId24"/>
    <p:sldId id="583" r:id="rId25"/>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239">
          <p15:clr>
            <a:srgbClr val="A4A3A4"/>
          </p15:clr>
        </p15:guide>
        <p15:guide id="2" pos="570">
          <p15:clr>
            <a:srgbClr val="A4A3A4"/>
          </p15:clr>
        </p15:guide>
        <p15:guide id="3" pos="5171" userDrawn="1">
          <p15:clr>
            <a:srgbClr val="A4A3A4"/>
          </p15:clr>
        </p15:guide>
        <p15:guide id="4" pos="1727">
          <p15:clr>
            <a:srgbClr val="A4A3A4"/>
          </p15:clr>
        </p15:guide>
        <p15:guide id="5" orient="horz" pos="418" userDrawn="1">
          <p15:clr>
            <a:srgbClr val="A4A3A4"/>
          </p15:clr>
        </p15:guide>
        <p15:guide id="6" orient="horz" pos="1846" userDrawn="1">
          <p15:clr>
            <a:srgbClr val="A4A3A4"/>
          </p15:clr>
        </p15:guide>
        <p15:guide id="7" pos="2880" userDrawn="1">
          <p15:clr>
            <a:srgbClr val="A4A3A4"/>
          </p15:clr>
        </p15:guide>
        <p15:guide id="8" orient="horz" pos="2867" userDrawn="1">
          <p15:clr>
            <a:srgbClr val="A4A3A4"/>
          </p15:clr>
        </p15:guide>
      </p15:sldGuideLst>
    </p:ext>
    <p:ext uri="{2D200454-40CA-4A62-9FC3-DE9A4176ACB9}">
      <p15:notesGuideLst xmlns="" xmlns:p15="http://schemas.microsoft.com/office/powerpoint/2012/main">
        <p15:guide id="1" orient="horz" pos="2256">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FFFFFF"/>
    <a:srgbClr val="000000"/>
    <a:srgbClr val="A36C09"/>
    <a:srgbClr val="B58817"/>
    <a:srgbClr val="2C95DD"/>
    <a:srgbClr val="BABCBE"/>
    <a:srgbClr val="E7E7E7"/>
    <a:srgbClr val="9D9FA2"/>
    <a:srgbClr val="71707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353" autoAdjust="0"/>
    <p:restoredTop sz="98519" autoAdjust="0"/>
  </p:normalViewPr>
  <p:slideViewPr>
    <p:cSldViewPr snapToGrid="0" showGuides="1">
      <p:cViewPr varScale="1">
        <p:scale>
          <a:sx n="150" d="100"/>
          <a:sy n="150" d="100"/>
        </p:scale>
        <p:origin x="408" y="108"/>
      </p:cViewPr>
      <p:guideLst>
        <p:guide orient="horz" pos="3239"/>
        <p:guide orient="horz" pos="418"/>
        <p:guide orient="horz" pos="1846"/>
        <p:guide orient="horz" pos="2867"/>
        <p:guide pos="570"/>
        <p:guide pos="5171"/>
        <p:guide pos="1727"/>
        <p:guide pos="2880"/>
      </p:guideLst>
    </p:cSldViewPr>
  </p:slid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94" d="100"/>
          <a:sy n="94" d="100"/>
        </p:scale>
        <p:origin x="-4104" y="-120"/>
      </p:cViewPr>
      <p:guideLst>
        <p:guide orient="horz" pos="2256"/>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plotArea>
      <c:layout/>
      <c:pieChart>
        <c:varyColors val="1"/>
        <c:ser>
          <c:idx val="0"/>
          <c:order val="0"/>
          <c:tx>
            <c:strRef>
              <c:f>Sheet1!$B$1</c:f>
              <c:strCache>
                <c:ptCount val="1"/>
                <c:pt idx="0">
                  <c:v>Sales</c:v>
                </c:pt>
              </c:strCache>
            </c:strRef>
          </c:tx>
          <c:spPr>
            <a:ln>
              <a:solidFill>
                <a:schemeClr val="bg1"/>
              </a:solidFill>
            </a:ln>
            <a:effectLst/>
          </c:spPr>
          <c:dPt>
            <c:idx val="0"/>
            <c:bubble3D val="0"/>
            <c:spPr>
              <a:gradFill flip="none" rotWithShape="1">
                <a:gsLst>
                  <a:gs pos="0">
                    <a:schemeClr val="tx2"/>
                  </a:gs>
                  <a:gs pos="100000">
                    <a:schemeClr val="tx2">
                      <a:lumMod val="50000"/>
                    </a:schemeClr>
                  </a:gs>
                </a:gsLst>
                <a:lin ang="2700000" scaled="0"/>
                <a:tileRect/>
              </a:gradFill>
              <a:ln>
                <a:solidFill>
                  <a:schemeClr val="bg1"/>
                </a:solidFill>
              </a:ln>
              <a:effectLst/>
            </c:spPr>
          </c:dPt>
          <c:dPt>
            <c:idx val="1"/>
            <c:bubble3D val="0"/>
          </c:dPt>
          <c:dPt>
            <c:idx val="2"/>
            <c:bubble3D val="0"/>
            <c:spPr>
              <a:gradFill flip="none" rotWithShape="1">
                <a:gsLst>
                  <a:gs pos="1000">
                    <a:schemeClr val="tx2">
                      <a:lumMod val="60000"/>
                      <a:lumOff val="40000"/>
                    </a:schemeClr>
                  </a:gs>
                  <a:gs pos="100000">
                    <a:schemeClr val="tx2">
                      <a:lumMod val="20000"/>
                      <a:lumOff val="80000"/>
                    </a:schemeClr>
                  </a:gs>
                </a:gsLst>
                <a:lin ang="2700000" scaled="0"/>
                <a:tileRect/>
              </a:gradFill>
              <a:ln>
                <a:solidFill>
                  <a:schemeClr val="bg1"/>
                </a:solidFill>
              </a:ln>
              <a:effectLst/>
            </c:spPr>
          </c:dPt>
          <c:cat>
            <c:strRef>
              <c:f>Sheet1!$A$2:$A$4</c:f>
              <c:strCache>
                <c:ptCount val="3"/>
                <c:pt idx="0">
                  <c:v> </c:v>
                </c:pt>
                <c:pt idx="1">
                  <c:v> </c:v>
                </c:pt>
                <c:pt idx="2">
                  <c:v> </c:v>
                </c:pt>
              </c:strCache>
            </c:strRef>
          </c:cat>
          <c:val>
            <c:numRef>
              <c:f>Sheet1!$B$2:$B$4</c:f>
              <c:numCache>
                <c:formatCode>General</c:formatCode>
                <c:ptCount val="3"/>
                <c:pt idx="0">
                  <c:v>60</c:v>
                </c:pt>
                <c:pt idx="1">
                  <c:v>28</c:v>
                </c:pt>
                <c:pt idx="2">
                  <c:v>12</c:v>
                </c:pt>
              </c:numCache>
            </c:numRef>
          </c:val>
        </c:ser>
        <c:dLbls>
          <c:showLegendKey val="0"/>
          <c:showVal val="0"/>
          <c:showCatName val="0"/>
          <c:showSerName val="0"/>
          <c:showPercent val="0"/>
          <c:showBubbleSize val="0"/>
          <c:showLeaderLines val="0"/>
        </c:dLbls>
        <c:firstSliceAng val="144"/>
      </c:pieChart>
    </c:plotArea>
    <c:plotVisOnly val="1"/>
    <c:dispBlanksAs val="zero"/>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57200" y="228600"/>
            <a:ext cx="5943600" cy="457200"/>
          </a:xfrm>
          <a:prstGeom prst="rect">
            <a:avLst/>
          </a:prstGeom>
        </p:spPr>
        <p:txBody>
          <a:bodyPr vert="horz" lIns="0" tIns="0" rIns="0" bIns="0" rtlCol="0"/>
          <a:lstStyle>
            <a:lvl1pPr algn="l">
              <a:defRPr sz="1200"/>
            </a:lvl1pPr>
          </a:lstStyle>
          <a:p>
            <a:pPr algn="ctr"/>
            <a:r>
              <a:rPr lang="en-US" sz="1400" dirty="0" smtClean="0">
                <a:latin typeface="Verdana"/>
              </a:rPr>
              <a:t>TITLE</a:t>
            </a:r>
          </a:p>
          <a:p>
            <a:pPr algn="ctr"/>
            <a:r>
              <a:rPr lang="en-US" sz="1000" i="1" dirty="0" smtClean="0">
                <a:latin typeface="Verdana"/>
              </a:rPr>
              <a:t>Month Year</a:t>
            </a:r>
            <a:endParaRPr lang="en-US" sz="1000" i="1" dirty="0">
              <a:latin typeface="Verdana"/>
            </a:endParaRPr>
          </a:p>
        </p:txBody>
      </p:sp>
      <p:sp>
        <p:nvSpPr>
          <p:cNvPr id="5" name="Slide Number Placeholder 4"/>
          <p:cNvSpPr>
            <a:spLocks noGrp="1"/>
          </p:cNvSpPr>
          <p:nvPr>
            <p:ph type="sldNum" sz="quarter" idx="3"/>
          </p:nvPr>
        </p:nvSpPr>
        <p:spPr>
          <a:xfrm>
            <a:off x="3161506" y="8915400"/>
            <a:ext cx="534987" cy="228600"/>
          </a:xfrm>
          <a:prstGeom prst="rect">
            <a:avLst/>
          </a:prstGeom>
        </p:spPr>
        <p:txBody>
          <a:bodyPr vert="horz" lIns="91440" tIns="45720" rIns="91440" bIns="45720" rtlCol="0" anchor="b"/>
          <a:lstStyle>
            <a:lvl1pPr algn="r">
              <a:defRPr sz="1200"/>
            </a:lvl1pPr>
          </a:lstStyle>
          <a:p>
            <a:pPr algn="ctr"/>
            <a:fld id="{F7B6D393-E4E3-D143-A14E-086EC3E10D5C}" type="slidenum">
              <a:rPr lang="en-US" sz="800" smtClean="0">
                <a:latin typeface="Verdana"/>
              </a:rPr>
              <a:pPr algn="ctr"/>
              <a:t>‹#›</a:t>
            </a:fld>
            <a:endParaRPr lang="en-US" sz="800" dirty="0">
              <a:latin typeface="Verdana"/>
            </a:endParaRPr>
          </a:p>
        </p:txBody>
      </p:sp>
    </p:spTree>
    <p:extLst>
      <p:ext uri="{BB962C8B-B14F-4D97-AF65-F5344CB8AC3E}">
        <p14:creationId xmlns:p14="http://schemas.microsoft.com/office/powerpoint/2010/main" val="11574357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58333" y="685800"/>
            <a:ext cx="4741333" cy="2667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57200" y="3581400"/>
            <a:ext cx="5943600" cy="5265170"/>
          </a:xfrm>
          <a:prstGeom prst="rect">
            <a:avLst/>
          </a:prstGeom>
        </p:spPr>
        <p:txBody>
          <a:bodyPr vert="horz" lIns="0" tIns="0" rIns="0" bIns="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extBox 2"/>
          <p:cNvSpPr txBox="1"/>
          <p:nvPr/>
        </p:nvSpPr>
        <p:spPr>
          <a:xfrm>
            <a:off x="3248101" y="8954292"/>
            <a:ext cx="361798" cy="215444"/>
          </a:xfrm>
          <a:prstGeom prst="rect">
            <a:avLst/>
          </a:prstGeom>
          <a:noFill/>
        </p:spPr>
        <p:txBody>
          <a:bodyPr wrap="none" lIns="91440" tIns="45720" rIns="91440" bIns="45720"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BC3221F6-DF1F-4F4D-A457-D497032B3BDC}" type="slidenum">
              <a:rPr lang="en-US" sz="800" smtClean="0"/>
              <a:pPr marL="0" marR="0" indent="0" algn="ctr" defTabSz="457200" rtl="0" eaLnBrk="1" fontAlgn="auto" latinLnBrk="0" hangingPunct="1">
                <a:lnSpc>
                  <a:spcPct val="100000"/>
                </a:lnSpc>
                <a:spcBef>
                  <a:spcPts val="0"/>
                </a:spcBef>
                <a:spcAft>
                  <a:spcPts val="0"/>
                </a:spcAft>
                <a:buClrTx/>
                <a:buSzTx/>
                <a:buFontTx/>
                <a:buNone/>
                <a:tabLst/>
                <a:defRPr/>
              </a:pPr>
              <a:t>‹#›</a:t>
            </a:fld>
            <a:endParaRPr lang="en-US" sz="800" dirty="0" smtClean="0"/>
          </a:p>
        </p:txBody>
      </p:sp>
      <p:sp>
        <p:nvSpPr>
          <p:cNvPr id="8" name="Header Placeholder 7"/>
          <p:cNvSpPr>
            <a:spLocks noGrp="1"/>
          </p:cNvSpPr>
          <p:nvPr>
            <p:ph type="hdr" sz="quarter"/>
          </p:nvPr>
        </p:nvSpPr>
        <p:spPr>
          <a:xfrm>
            <a:off x="457200" y="76200"/>
            <a:ext cx="5943600" cy="457200"/>
          </a:xfrm>
          <a:prstGeom prst="rect">
            <a:avLst/>
          </a:prstGeom>
        </p:spPr>
        <p:txBody>
          <a:bodyPr vert="horz" lIns="91440" tIns="45720" rIns="91440" bIns="45720" rtlCol="0"/>
          <a:lstStyle>
            <a:lvl1pPr marL="0" marR="0" indent="0" algn="ctr" defTabSz="457200" rtl="0" eaLnBrk="1" fontAlgn="auto" latinLnBrk="0" hangingPunct="1">
              <a:lnSpc>
                <a:spcPct val="100000"/>
              </a:lnSpc>
              <a:spcBef>
                <a:spcPts val="0"/>
              </a:spcBef>
              <a:spcAft>
                <a:spcPts val="0"/>
              </a:spcAft>
              <a:buClrTx/>
              <a:buSzTx/>
              <a:buFontTx/>
              <a:buNone/>
              <a:tabLst/>
              <a:defRPr sz="1200"/>
            </a:lvl1pPr>
          </a:lstStyle>
          <a:p>
            <a:r>
              <a:rPr lang="en-US" sz="1800" dirty="0" smtClean="0">
                <a:solidFill>
                  <a:srgbClr val="000000"/>
                </a:solidFill>
              </a:rPr>
              <a:t>TITLE</a:t>
            </a:r>
          </a:p>
          <a:p>
            <a:r>
              <a:rPr lang="en-US" sz="1000" i="1" dirty="0" smtClean="0">
                <a:solidFill>
                  <a:srgbClr val="000000"/>
                </a:solidFill>
              </a:rPr>
              <a:t>Month Year</a:t>
            </a:r>
          </a:p>
        </p:txBody>
      </p:sp>
    </p:spTree>
    <p:extLst>
      <p:ext uri="{BB962C8B-B14F-4D97-AF65-F5344CB8AC3E}">
        <p14:creationId xmlns:p14="http://schemas.microsoft.com/office/powerpoint/2010/main" val="1816467040"/>
      </p:ext>
    </p:extLst>
  </p:cSld>
  <p:clrMap bg1="lt1" tx1="dk1" bg2="lt2" tx2="dk2" accent1="accent1" accent2="accent2" accent3="accent3" accent4="accent4" accent5="accent5" accent6="accent6" hlink="hlink" folHlink="folHlink"/>
  <p:notesStyle>
    <a:lvl1pPr marL="0" algn="l" defTabSz="457200" rtl="0" eaLnBrk="1" latinLnBrk="0" hangingPunct="1">
      <a:spcBef>
        <a:spcPts val="1200"/>
      </a:spcBef>
      <a:defRPr sz="1200" kern="1200">
        <a:solidFill>
          <a:schemeClr val="tx1"/>
        </a:solidFill>
        <a:latin typeface="Verdana"/>
        <a:ea typeface="+mn-ea"/>
        <a:cs typeface="+mn-cs"/>
      </a:defRPr>
    </a:lvl1pPr>
    <a:lvl2pPr marL="344488" indent="-117475" algn="l" defTabSz="457200" rtl="0" eaLnBrk="1" latinLnBrk="0" hangingPunct="1">
      <a:spcBef>
        <a:spcPts val="600"/>
      </a:spcBef>
      <a:buFont typeface="Arial"/>
      <a:buChar char="•"/>
      <a:defRPr sz="1200" kern="1200">
        <a:solidFill>
          <a:schemeClr val="tx1"/>
        </a:solidFill>
        <a:latin typeface="Verdana"/>
        <a:ea typeface="+mn-ea"/>
        <a:cs typeface="+mn-cs"/>
      </a:defRPr>
    </a:lvl2pPr>
    <a:lvl3pPr marL="628650" indent="-174625" algn="l" defTabSz="457200" rtl="0" eaLnBrk="1" latinLnBrk="0" hangingPunct="1">
      <a:spcBef>
        <a:spcPts val="600"/>
      </a:spcBef>
      <a:buFont typeface="Lucida Grande"/>
      <a:buChar char="–"/>
      <a:tabLst/>
      <a:defRPr sz="1200" kern="1200">
        <a:solidFill>
          <a:schemeClr val="tx1"/>
        </a:solidFill>
        <a:latin typeface="Verdana"/>
        <a:ea typeface="+mn-ea"/>
        <a:cs typeface="+mn-cs"/>
      </a:defRPr>
    </a:lvl3pPr>
    <a:lvl4pPr marL="973138" indent="-174625" algn="l" defTabSz="457200" rtl="0" eaLnBrk="1" latinLnBrk="0" hangingPunct="1">
      <a:spcBef>
        <a:spcPts val="600"/>
      </a:spcBef>
      <a:buFont typeface="Wingdings" charset="2"/>
      <a:buChar char="§"/>
      <a:defRPr sz="1200" kern="1200">
        <a:solidFill>
          <a:schemeClr val="tx1"/>
        </a:solidFill>
        <a:latin typeface="Verdana"/>
        <a:ea typeface="+mn-ea"/>
        <a:cs typeface="+mn-cs"/>
      </a:defRPr>
    </a:lvl4pPr>
    <a:lvl5pPr marL="1258888" indent="-117475" algn="l" defTabSz="457200" rtl="0" eaLnBrk="1" latinLnBrk="0" hangingPunct="1">
      <a:spcBef>
        <a:spcPts val="600"/>
      </a:spcBef>
      <a:buFont typeface="Lucida Grande"/>
      <a:buChar char="–"/>
      <a:defRPr sz="1200" kern="1200">
        <a:solidFill>
          <a:schemeClr val="tx1"/>
        </a:solidFill>
        <a:latin typeface="Verdana"/>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lstStyle/>
          <a:p>
            <a:r>
              <a:rPr lang="en-US" sz="1200" dirty="0" smtClean="0"/>
              <a:t>Our point of view</a:t>
            </a:r>
          </a:p>
          <a:p>
            <a:r>
              <a:rPr lang="en-US" sz="1200" dirty="0" smtClean="0"/>
              <a:t>The world is digital; need the agility to build things like next gen apps quickly; IT needs to be a business enabler not a cost to reduce</a:t>
            </a:r>
          </a:p>
          <a:p>
            <a:r>
              <a:rPr lang="en-US" sz="1200" dirty="0" smtClean="0"/>
              <a:t>Transformation to </a:t>
            </a:r>
            <a:r>
              <a:rPr lang="en-US" sz="1200" dirty="0" err="1" smtClean="0"/>
              <a:t>ITaaS</a:t>
            </a:r>
            <a:r>
              <a:rPr lang="en-US" sz="1200" dirty="0" smtClean="0"/>
              <a:t> can build that agility; bridges between supporting existing IT requirements while providing the ability to develop new</a:t>
            </a:r>
            <a:endParaRPr lang="en-US" sz="1200"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598DCB44-F013-F642-AF68-7B600A9DAED2}" type="slidenum">
              <a:rPr lang="en-US" smtClean="0"/>
              <a:t>4</a:t>
            </a:fld>
            <a:endParaRPr lang="en-US"/>
          </a:p>
        </p:txBody>
      </p:sp>
    </p:spTree>
    <p:extLst>
      <p:ext uri="{BB962C8B-B14F-4D97-AF65-F5344CB8AC3E}">
        <p14:creationId xmlns:p14="http://schemas.microsoft.com/office/powerpoint/2010/main" val="32790578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lstStyle/>
          <a:p>
            <a:r>
              <a:rPr lang="en-US" sz="1200" dirty="0" smtClean="0"/>
              <a:t>Our point of view</a:t>
            </a:r>
          </a:p>
          <a:p>
            <a:r>
              <a:rPr lang="en-US" sz="1200" kern="1200" dirty="0" smtClean="0">
                <a:solidFill>
                  <a:schemeClr val="tx1"/>
                </a:solidFill>
                <a:effectLst/>
                <a:latin typeface="+mn-lt"/>
                <a:ea typeface="+mn-ea"/>
                <a:cs typeface="+mn-cs"/>
              </a:rPr>
              <a:t>You can</a:t>
            </a:r>
            <a:r>
              <a:rPr lang="en-US" sz="1200" kern="1200" baseline="0" dirty="0" smtClean="0">
                <a:solidFill>
                  <a:schemeClr val="tx1"/>
                </a:solidFill>
                <a:effectLst/>
                <a:latin typeface="+mn-lt"/>
                <a:ea typeface="+mn-ea"/>
                <a:cs typeface="+mn-cs"/>
              </a:rPr>
              <a:t> approach IT transformation through </a:t>
            </a:r>
            <a:r>
              <a:rPr lang="en-US" sz="1200" kern="1200" dirty="0" smtClean="0">
                <a:solidFill>
                  <a:schemeClr val="tx1"/>
                </a:solidFill>
                <a:effectLst/>
                <a:latin typeface="+mn-lt"/>
                <a:ea typeface="+mn-ea"/>
                <a:cs typeface="+mn-cs"/>
              </a:rPr>
              <a:t>a tops-down approach driven</a:t>
            </a:r>
            <a:r>
              <a:rPr lang="en-US" sz="1200" kern="1200" baseline="0" dirty="0" smtClean="0">
                <a:solidFill>
                  <a:schemeClr val="tx1"/>
                </a:solidFill>
                <a:effectLst/>
                <a:latin typeface="+mn-lt"/>
                <a:ea typeface="+mn-ea"/>
                <a:cs typeface="+mn-cs"/>
              </a:rPr>
              <a:t> by </a:t>
            </a:r>
            <a:r>
              <a:rPr lang="en-US" sz="1200" kern="1200" dirty="0" smtClean="0">
                <a:solidFill>
                  <a:schemeClr val="tx1"/>
                </a:solidFill>
                <a:effectLst/>
                <a:latin typeface="+mn-lt"/>
                <a:ea typeface="+mn-ea"/>
                <a:cs typeface="+mn-cs"/>
              </a:rPr>
              <a:t>senior management with a documented business case and roadmap; or you can take a step-by-step journey mapped out in a prioritized fashion.</a:t>
            </a:r>
            <a:endParaRPr lang="en-US" sz="1200" dirty="0" smtClean="0"/>
          </a:p>
          <a:p>
            <a:r>
              <a:rPr lang="en-US" sz="1200" kern="1200" dirty="0" smtClean="0">
                <a:solidFill>
                  <a:schemeClr val="tx1"/>
                </a:solidFill>
                <a:effectLst/>
                <a:latin typeface="+mn-lt"/>
                <a:ea typeface="+mn-ea"/>
                <a:cs typeface="+mn-cs"/>
              </a:rPr>
              <a:t>First we’ll discuss an ITTW that helps set priorities and drives alignment</a:t>
            </a:r>
            <a:r>
              <a:rPr lang="en-US" sz="1200" kern="1200" baseline="0" dirty="0" smtClean="0">
                <a:solidFill>
                  <a:schemeClr val="tx1"/>
                </a:solidFill>
                <a:effectLst/>
                <a:latin typeface="+mn-lt"/>
                <a:ea typeface="+mn-ea"/>
                <a:cs typeface="+mn-cs"/>
              </a:rPr>
              <a:t>.</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n we’ll review a tops-down approach with senior management driving an </a:t>
            </a:r>
            <a:r>
              <a:rPr lang="en-US" sz="1200" kern="1200" dirty="0" err="1" smtClean="0">
                <a:solidFill>
                  <a:schemeClr val="tx1"/>
                </a:solidFill>
                <a:effectLst/>
                <a:latin typeface="+mn-lt"/>
                <a:ea typeface="+mn-ea"/>
                <a:cs typeface="+mn-cs"/>
              </a:rPr>
              <a:t>ITaaS</a:t>
            </a:r>
            <a:r>
              <a:rPr lang="en-US" sz="1200" kern="1200" dirty="0" smtClean="0">
                <a:solidFill>
                  <a:schemeClr val="tx1"/>
                </a:solidFill>
                <a:effectLst/>
                <a:latin typeface="+mn-lt"/>
                <a:ea typeface="+mn-ea"/>
                <a:cs typeface="+mn-cs"/>
              </a:rPr>
              <a:t> roadmap and bus. case approach.</a:t>
            </a:r>
          </a:p>
          <a:p>
            <a:pPr lvl="0"/>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598DCB44-F013-F642-AF68-7B600A9DAED2}" type="slidenum">
              <a:rPr lang="en-US" smtClean="0"/>
              <a:t>17</a:t>
            </a:fld>
            <a:endParaRPr lang="en-US"/>
          </a:p>
        </p:txBody>
      </p:sp>
    </p:spTree>
    <p:extLst>
      <p:ext uri="{BB962C8B-B14F-4D97-AF65-F5344CB8AC3E}">
        <p14:creationId xmlns:p14="http://schemas.microsoft.com/office/powerpoint/2010/main" val="2196610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normAutofit/>
          </a:bodyPr>
          <a:lstStyle/>
          <a:p>
            <a:endParaRPr lang="en-US" dirty="0" smtClean="0"/>
          </a:p>
        </p:txBody>
      </p:sp>
    </p:spTree>
    <p:extLst>
      <p:ext uri="{BB962C8B-B14F-4D97-AF65-F5344CB8AC3E}">
        <p14:creationId xmlns:p14="http://schemas.microsoft.com/office/powerpoint/2010/main" val="700635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910376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bg2"/>
                </a:solidFill>
              </a:rPr>
              <a:t>Stable and Reliable Performance to Address the Daily Business Functioning of the Enterprise</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bg2"/>
                </a:solidFill>
              </a:rPr>
              <a:t>Flexibility and Agility to Deliver Innovative Results that Drive New Digitally Business Outcomes</a:t>
            </a:r>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745073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686116" y="4344030"/>
            <a:ext cx="5485772" cy="4114485"/>
          </a:xfrm>
          <a:prstGeom prst="rect">
            <a:avLst/>
          </a:prstGeom>
        </p:spPr>
        <p:txBody>
          <a:bodyPr lIns="90498" tIns="45249" rIns="90498" bIns="45249">
            <a:normAutofit fontScale="85000" lnSpcReduction="10000"/>
          </a:bodyPr>
          <a:lstStyle/>
          <a:p>
            <a:r>
              <a:rPr lang="en-US" dirty="0" smtClean="0"/>
              <a:t>The case for transformation is really rooted in our legacy – in how we’ve behaved, how we’ve been run, and how we’ve been organized in the past</a:t>
            </a:r>
          </a:p>
          <a:p>
            <a:r>
              <a:rPr lang="en-US" dirty="0" smtClean="0"/>
              <a:t>IT-as-a-Service means taking that virtual hosting platform and layering on top of that some key capabilities involving extensive automation</a:t>
            </a:r>
          </a:p>
          <a:p>
            <a:r>
              <a:rPr lang="en-US" dirty="0" smtClean="0"/>
              <a:t>The real goal is “optimizing IT production for business consumption” – what’s good for IT may not always be what’s good for the business</a:t>
            </a:r>
          </a:p>
          <a:p>
            <a:r>
              <a:rPr lang="en-US" dirty="0" smtClean="0"/>
              <a:t>If we are going to compete with external IT service providers, we have to be organized and operate like IT service providers that can win the business</a:t>
            </a:r>
          </a:p>
          <a:p>
            <a:r>
              <a:rPr lang="en-US" dirty="0" smtClean="0"/>
              <a:t>A New IT Business Model</a:t>
            </a:r>
          </a:p>
          <a:p>
            <a:pPr lvl="1"/>
            <a:r>
              <a:rPr lang="en-US" dirty="0" smtClean="0"/>
              <a:t>Now we will focus on transforming to a model that looks more like a professional services organization than a customer services organization</a:t>
            </a:r>
          </a:p>
          <a:p>
            <a:pPr lvl="1"/>
            <a:r>
              <a:rPr lang="en-US" dirty="0" smtClean="0"/>
              <a:t>We have to start with the services as opposed to the technology – our clients are not consuming a technology, they are consuming a “business capability”</a:t>
            </a:r>
          </a:p>
          <a:p>
            <a:r>
              <a:rPr lang="en-US" dirty="0" smtClean="0"/>
              <a:t>Enabling Technology</a:t>
            </a:r>
          </a:p>
          <a:p>
            <a:pPr lvl="1"/>
            <a:r>
              <a:rPr lang="en-US" dirty="0" smtClean="0"/>
              <a:t>This is probably the easiest of the three, and the main focus of our first two phases</a:t>
            </a:r>
          </a:p>
          <a:p>
            <a:r>
              <a:rPr lang="en-US" dirty="0" smtClean="0"/>
              <a:t>DNA, Skills, Roles &amp; Organizational Alignment – this is our focus now</a:t>
            </a:r>
          </a:p>
          <a:p>
            <a:pPr lvl="1"/>
            <a:r>
              <a:rPr lang="en-US" dirty="0" smtClean="0"/>
              <a:t>Important to focus on “front office” capabilities – “front office” meaning the marketing and sale of IT services</a:t>
            </a:r>
          </a:p>
        </p:txBody>
      </p:sp>
      <p:sp>
        <p:nvSpPr>
          <p:cNvPr id="5" name="Slide Image Placeholder 4"/>
          <p:cNvSpPr>
            <a:spLocks noGrp="1" noRot="1" noChangeAspect="1"/>
          </p:cNvSpPr>
          <p:nvPr>
            <p:ph type="sldImg"/>
          </p:nvPr>
        </p:nvSpPr>
        <p:spPr>
          <a:xfrm>
            <a:off x="1058863" y="685800"/>
            <a:ext cx="4740275" cy="2667000"/>
          </a:xfrm>
        </p:spPr>
      </p:sp>
    </p:spTree>
    <p:extLst>
      <p:ext uri="{BB962C8B-B14F-4D97-AF65-F5344CB8AC3E}">
        <p14:creationId xmlns:p14="http://schemas.microsoft.com/office/powerpoint/2010/main" val="1221203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25" name="Rectangle 2"/>
          <p:cNvSpPr>
            <a:spLocks noGrp="1" noRot="1" noChangeAspect="1" noTextEdit="1"/>
          </p:cNvSpPr>
          <p:nvPr>
            <p:ph type="sldImg"/>
          </p:nvPr>
        </p:nvSpPr>
        <p:spPr bwMode="auto">
          <a:xfrm>
            <a:off x="107950" y="763588"/>
            <a:ext cx="6613525" cy="3721100"/>
          </a:xfrm>
          <a:prstGeom prst="rect">
            <a:avLst/>
          </a:prstGeom>
          <a:noFill/>
          <a:ln>
            <a:solidFill>
              <a:srgbClr val="000000"/>
            </a:solidFill>
            <a:miter lim="800000"/>
            <a:headEnd/>
            <a:tailEnd/>
          </a:ln>
        </p:spPr>
      </p:sp>
      <p:sp>
        <p:nvSpPr>
          <p:cNvPr id="333826" name="Rectangle 3"/>
          <p:cNvSpPr>
            <a:spLocks noGrp="1"/>
          </p:cNvSpPr>
          <p:nvPr>
            <p:ph type="body" idx="1"/>
          </p:nvPr>
        </p:nvSpPr>
        <p:spPr bwMode="auto">
          <a:xfrm>
            <a:off x="562932" y="4962137"/>
            <a:ext cx="5918664" cy="3377689"/>
          </a:xfrm>
          <a:prstGeom prst="rect">
            <a:avLst/>
          </a:prstGeom>
          <a:noFill/>
        </p:spPr>
        <p:txBody>
          <a:bodyPr wrap="square" lIns="91430" tIns="45715" rIns="91430" bIns="45715" numCol="1" anchor="t" anchorCtr="0" compatLnSpc="1">
            <a:prstTxWarp prst="textNoShape">
              <a:avLst/>
            </a:prstTxWarp>
            <a:noAutofit/>
          </a:bodyPr>
          <a:lstStyle/>
          <a:p>
            <a:pPr lvl="0"/>
            <a:r>
              <a:rPr lang="en-US" dirty="0" smtClean="0">
                <a:cs typeface="Arial" charset="0"/>
              </a:rPr>
              <a:t>How much cost and agility benefit can IT expect from the delivery of IT as a Service?</a:t>
            </a:r>
          </a:p>
          <a:p>
            <a:pPr lvl="0"/>
            <a:r>
              <a:rPr lang="en-US" dirty="0" smtClean="0">
                <a:cs typeface="Arial" charset="0"/>
              </a:rPr>
              <a:t>Regarding cost, the left hand side of this page provides some insight about the amount and nature of costs benefits.  IT as a Service can save 20-25% over legacy IT.  Notice that the primary savings are not really in hardware, which is a relatively small part of the total budget (shown in light blue), but rather in what is spent on “internal services” and “external services” to customize and operate legacy IT environments.</a:t>
            </a:r>
          </a:p>
          <a:p>
            <a:pPr lvl="0"/>
            <a:r>
              <a:rPr lang="en-US" dirty="0" smtClean="0">
                <a:cs typeface="Arial" charset="0"/>
              </a:rPr>
              <a:t>In terms of agility, the right hand size of this page provides an indication of the amount of the IT budget can be spent on innovation vs. maintenance.  With IT as a Service, IT organizations can spend more than 40% of their budget on innovation vs. 28% in legacy IT environments.</a:t>
            </a:r>
          </a:p>
        </p:txBody>
      </p:sp>
    </p:spTree>
    <p:extLst>
      <p:ext uri="{BB962C8B-B14F-4D97-AF65-F5344CB8AC3E}">
        <p14:creationId xmlns:p14="http://schemas.microsoft.com/office/powerpoint/2010/main" val="7882062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New name; enterprise hybrid cloud is only for the VMware version.</a:t>
            </a:r>
          </a:p>
          <a:p>
            <a:pPr lvl="1"/>
            <a:r>
              <a:rPr lang="en-US" sz="1200" i="0" kern="1200" dirty="0" smtClean="0">
                <a:solidFill>
                  <a:schemeClr val="tx1"/>
                </a:solidFill>
                <a:effectLst/>
                <a:latin typeface="+mn-lt"/>
                <a:ea typeface="+mn-ea"/>
                <a:cs typeface="+mn-cs"/>
              </a:rPr>
              <a:t>“EMC Enterprise Hybrid Cloud, Federation SDDC Edition” is now simply called “Federation Enterprise Hybrid Cloud”.</a:t>
            </a:r>
          </a:p>
          <a:p>
            <a:pPr lvl="1"/>
            <a:r>
              <a:rPr lang="en-US" sz="1200" i="0" kern="1200" dirty="0" smtClean="0">
                <a:solidFill>
                  <a:schemeClr val="tx1"/>
                </a:solidFill>
                <a:effectLst/>
                <a:latin typeface="+mn-lt"/>
                <a:ea typeface="+mn-ea"/>
                <a:cs typeface="+mn-cs"/>
              </a:rPr>
              <a:t>In addition, the Federation solution formerly known as “Federation Software-Defined Data Center” will now also be called “Federation Enterprise Hybrid Cloud”. They are the same solution; hence they now have the same name.</a:t>
            </a:r>
          </a:p>
          <a:p>
            <a:pPr lvl="1"/>
            <a:endParaRPr lang="en-US" sz="1200" i="0" kern="1200" dirty="0" smtClean="0">
              <a:solidFill>
                <a:schemeClr val="tx1"/>
              </a:solidFill>
              <a:effectLst/>
              <a:latin typeface="+mn-lt"/>
              <a:ea typeface="+mn-ea"/>
              <a:cs typeface="+mn-cs"/>
            </a:endParaRPr>
          </a:p>
          <a:p>
            <a:pPr lvl="0"/>
            <a:r>
              <a:rPr lang="en-US" sz="1200" i="0" kern="1200" dirty="0" smtClean="0">
                <a:solidFill>
                  <a:schemeClr val="tx1"/>
                </a:solidFill>
                <a:effectLst/>
                <a:latin typeface="+mn-lt"/>
                <a:ea typeface="+mn-ea"/>
                <a:cs typeface="+mn-cs"/>
              </a:rPr>
              <a:t>And if you’ve been using the logo,</a:t>
            </a:r>
            <a:r>
              <a:rPr lang="en-US" sz="1200" i="0" kern="1200" baseline="0" dirty="0" smtClean="0">
                <a:solidFill>
                  <a:schemeClr val="tx1"/>
                </a:solidFill>
                <a:effectLst/>
                <a:latin typeface="+mn-lt"/>
                <a:ea typeface="+mn-ea"/>
                <a:cs typeface="+mn-cs"/>
              </a:rPr>
              <a:t> it’s changed.</a:t>
            </a:r>
            <a:endParaRPr lang="en-US" sz="120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598DCB44-F013-F642-AF68-7B600A9DAED2}" type="slidenum">
              <a:rPr lang="en-US" smtClean="0"/>
              <a:t>10</a:t>
            </a:fld>
            <a:endParaRPr lang="en-US"/>
          </a:p>
        </p:txBody>
      </p:sp>
    </p:spTree>
    <p:extLst>
      <p:ext uri="{BB962C8B-B14F-4D97-AF65-F5344CB8AC3E}">
        <p14:creationId xmlns:p14="http://schemas.microsoft.com/office/powerpoint/2010/main" val="34085564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New name; enterprise hybrid cloud is only for the VMware version.</a:t>
            </a:r>
          </a:p>
          <a:p>
            <a:pPr lvl="1"/>
            <a:r>
              <a:rPr lang="en-US" sz="1200" i="0" kern="1200" dirty="0" smtClean="0">
                <a:solidFill>
                  <a:schemeClr val="tx1"/>
                </a:solidFill>
                <a:effectLst/>
                <a:latin typeface="+mn-lt"/>
                <a:ea typeface="+mn-ea"/>
                <a:cs typeface="+mn-cs"/>
              </a:rPr>
              <a:t>“EMC Enterprise Hybrid Cloud, Federation SDDC Edition” is now simply called “Federation Enterprise Hybrid Cloud”.</a:t>
            </a:r>
          </a:p>
          <a:p>
            <a:pPr lvl="1"/>
            <a:r>
              <a:rPr lang="en-US" sz="1200" i="0" kern="1200" dirty="0" smtClean="0">
                <a:solidFill>
                  <a:schemeClr val="tx1"/>
                </a:solidFill>
                <a:effectLst/>
                <a:latin typeface="+mn-lt"/>
                <a:ea typeface="+mn-ea"/>
                <a:cs typeface="+mn-cs"/>
              </a:rPr>
              <a:t>In addition, the Federation solution formerly known as “Federation Software-Defined Data Center” will now also be called “Federation Enterprise Hybrid Cloud”. They are the same solution; hence they now have the same name.</a:t>
            </a:r>
          </a:p>
          <a:p>
            <a:pPr lvl="1"/>
            <a:endParaRPr lang="en-US" sz="1200" i="0" kern="1200" dirty="0" smtClean="0">
              <a:solidFill>
                <a:schemeClr val="tx1"/>
              </a:solidFill>
              <a:effectLst/>
              <a:latin typeface="+mn-lt"/>
              <a:ea typeface="+mn-ea"/>
              <a:cs typeface="+mn-cs"/>
            </a:endParaRPr>
          </a:p>
          <a:p>
            <a:pPr lvl="0"/>
            <a:r>
              <a:rPr lang="en-US" sz="1200" i="0" kern="1200" dirty="0" smtClean="0">
                <a:solidFill>
                  <a:schemeClr val="tx1"/>
                </a:solidFill>
                <a:effectLst/>
                <a:latin typeface="+mn-lt"/>
                <a:ea typeface="+mn-ea"/>
                <a:cs typeface="+mn-cs"/>
              </a:rPr>
              <a:t>And if you’ve been using the logo,</a:t>
            </a:r>
            <a:r>
              <a:rPr lang="en-US" sz="1200" i="0" kern="1200" baseline="0" dirty="0" smtClean="0">
                <a:solidFill>
                  <a:schemeClr val="tx1"/>
                </a:solidFill>
                <a:effectLst/>
                <a:latin typeface="+mn-lt"/>
                <a:ea typeface="+mn-ea"/>
                <a:cs typeface="+mn-cs"/>
              </a:rPr>
              <a:t> it’s changed.</a:t>
            </a:r>
            <a:endParaRPr lang="en-US" sz="120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598DCB44-F013-F642-AF68-7B600A9DAED2}" type="slidenum">
              <a:rPr lang="en-US" smtClean="0"/>
              <a:t>13</a:t>
            </a:fld>
            <a:endParaRPr lang="en-US"/>
          </a:p>
        </p:txBody>
      </p:sp>
    </p:spTree>
    <p:extLst>
      <p:ext uri="{BB962C8B-B14F-4D97-AF65-F5344CB8AC3E}">
        <p14:creationId xmlns:p14="http://schemas.microsoft.com/office/powerpoint/2010/main" val="31155207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lstStyle/>
          <a:p>
            <a:r>
              <a:rPr lang="en-US" dirty="0" smtClean="0"/>
              <a:t>New the IT Operating model is fundamentally about delivering value to the business</a:t>
            </a:r>
            <a:r>
              <a:rPr lang="en-US" baseline="0" dirty="0" smtClean="0"/>
              <a:t>. The principles of supply and demand are at its core as the Business Relationship Manager looks to capture and predict what the business needs (in their terms) and communicate that to the rest of the newly organized IT operations. Moving from the old model of order taking to a more proactive opportunity sharing approach.</a:t>
            </a:r>
          </a:p>
          <a:p>
            <a:endParaRPr lang="en-US" baseline="0" dirty="0" smtClean="0"/>
          </a:p>
          <a:p>
            <a:r>
              <a:rPr lang="en-US" baseline="0" dirty="0" smtClean="0"/>
              <a:t>The portfolio and ops groups sit in-between the BRM and the supply, or technology layer of IT. They ensure that the demand needs are met via a set of standardized services organized in a service catalog and delivered via a self-service portal. These standardized services reduce the tendency towards one off projects and shift towards managing a portfolio of service. </a:t>
            </a:r>
          </a:p>
          <a:p>
            <a:endParaRPr lang="en-US" baseline="0" dirty="0" smtClean="0"/>
          </a:p>
          <a:p>
            <a:r>
              <a:rPr lang="en-US" baseline="0" dirty="0" smtClean="0"/>
              <a:t>Operations ensures the day to day operations and timely delivery of services. No longer is IT seen as taking weeks to months to respond to changes, but rather a continuous delivery. Ops also focuses on the measurement of the service usage and reports back to the business units on how and where their services are being used to better serve the business. </a:t>
            </a:r>
          </a:p>
          <a:p>
            <a:endParaRPr lang="en-US" baseline="0" dirty="0" smtClean="0"/>
          </a:p>
          <a:p>
            <a:r>
              <a:rPr lang="en-US" baseline="0" dirty="0" smtClean="0"/>
              <a:t>At the foundation is the supply layer of IT Service Centers structured around important areas of focus. They work in tandem to share component parts and adjust capacity based on demand. These service centers can rely on internal or even external components and services to deliver back up to the business. Many customers choose to create a specific service center to aggregate external service providers so business unit usage of these resources is monitored and managed alongside internal operations. There is one view of IT and technology that the business interacts with.</a:t>
            </a:r>
          </a:p>
          <a:p>
            <a:endParaRPr lang="en-US" baseline="0" dirty="0" smtClean="0"/>
          </a:p>
          <a:p>
            <a:r>
              <a:rPr lang="en-US" baseline="0" dirty="0" smtClean="0"/>
              <a:t>This new operating model changes the dynamic of IT to all about delivering value to the business. </a:t>
            </a:r>
            <a:endParaRPr lang="en-US" dirty="0"/>
          </a:p>
        </p:txBody>
      </p:sp>
    </p:spTree>
    <p:extLst>
      <p:ext uri="{BB962C8B-B14F-4D97-AF65-F5344CB8AC3E}">
        <p14:creationId xmlns:p14="http://schemas.microsoft.com/office/powerpoint/2010/main" val="2484907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8863" y="685800"/>
            <a:ext cx="4740275" cy="2667000"/>
          </a:xfrm>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mn-lt"/>
                <a:ea typeface="+mn-ea"/>
                <a:cs typeface="+mn-cs"/>
              </a:rPr>
              <a:t>New name; enterprise hybrid cloud is only for the VMware version.</a:t>
            </a:r>
          </a:p>
          <a:p>
            <a:pPr lvl="1"/>
            <a:r>
              <a:rPr lang="en-US" sz="1200" i="0" kern="1200" dirty="0" smtClean="0">
                <a:solidFill>
                  <a:schemeClr val="tx1"/>
                </a:solidFill>
                <a:effectLst/>
                <a:latin typeface="+mn-lt"/>
                <a:ea typeface="+mn-ea"/>
                <a:cs typeface="+mn-cs"/>
              </a:rPr>
              <a:t>“EMC Enterprise Hybrid Cloud, Federation SDDC Edition” is now simply called “Federation Enterprise Hybrid Cloud”.</a:t>
            </a:r>
          </a:p>
          <a:p>
            <a:pPr lvl="1"/>
            <a:r>
              <a:rPr lang="en-US" sz="1200" i="0" kern="1200" dirty="0" smtClean="0">
                <a:solidFill>
                  <a:schemeClr val="tx1"/>
                </a:solidFill>
                <a:effectLst/>
                <a:latin typeface="+mn-lt"/>
                <a:ea typeface="+mn-ea"/>
                <a:cs typeface="+mn-cs"/>
              </a:rPr>
              <a:t>In addition, the Federation solution formerly known as “Federation Software-Defined Data Center” will now also be called “Federation Enterprise Hybrid Cloud”. They are the same solution; hence they now have the same name.</a:t>
            </a:r>
          </a:p>
          <a:p>
            <a:pPr lvl="1"/>
            <a:endParaRPr lang="en-US" sz="1200" i="0" kern="1200" dirty="0" smtClean="0">
              <a:solidFill>
                <a:schemeClr val="tx1"/>
              </a:solidFill>
              <a:effectLst/>
              <a:latin typeface="+mn-lt"/>
              <a:ea typeface="+mn-ea"/>
              <a:cs typeface="+mn-cs"/>
            </a:endParaRPr>
          </a:p>
          <a:p>
            <a:pPr lvl="0"/>
            <a:r>
              <a:rPr lang="en-US" sz="1200" i="0" kern="1200" dirty="0" smtClean="0">
                <a:solidFill>
                  <a:schemeClr val="tx1"/>
                </a:solidFill>
                <a:effectLst/>
                <a:latin typeface="+mn-lt"/>
                <a:ea typeface="+mn-ea"/>
                <a:cs typeface="+mn-cs"/>
              </a:rPr>
              <a:t>And if you’ve been using the logo,</a:t>
            </a:r>
            <a:r>
              <a:rPr lang="en-US" sz="1200" i="0" kern="1200" baseline="0" dirty="0" smtClean="0">
                <a:solidFill>
                  <a:schemeClr val="tx1"/>
                </a:solidFill>
                <a:effectLst/>
                <a:latin typeface="+mn-lt"/>
                <a:ea typeface="+mn-ea"/>
                <a:cs typeface="+mn-cs"/>
              </a:rPr>
              <a:t> it’s changed.</a:t>
            </a:r>
            <a:endParaRPr lang="en-US" sz="120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598DCB44-F013-F642-AF68-7B600A9DAED2}" type="slidenum">
              <a:rPr lang="en-US" smtClean="0"/>
              <a:t>15</a:t>
            </a:fld>
            <a:endParaRPr lang="en-US"/>
          </a:p>
        </p:txBody>
      </p:sp>
    </p:spTree>
    <p:extLst>
      <p:ext uri="{BB962C8B-B14F-4D97-AF65-F5344CB8AC3E}">
        <p14:creationId xmlns:p14="http://schemas.microsoft.com/office/powerpoint/2010/main" val="33673711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ottom Title centered">
    <p:spTree>
      <p:nvGrpSpPr>
        <p:cNvPr id="1" name=""/>
        <p:cNvGrpSpPr/>
        <p:nvPr/>
      </p:nvGrpSpPr>
      <p:grpSpPr>
        <a:xfrm>
          <a:off x="0" y="0"/>
          <a:ext cx="0" cy="0"/>
          <a:chOff x="0" y="0"/>
          <a:chExt cx="0" cy="0"/>
        </a:xfrm>
      </p:grpSpPr>
      <p:pic>
        <p:nvPicPr>
          <p:cNvPr id="3" name="Picture 2" descr="CIO-Summit-FED-0515 for ppt.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3646488"/>
          </a:xfrm>
          <a:prstGeom prst="rect">
            <a:avLst/>
          </a:prstGeom>
        </p:spPr>
      </p:pic>
      <p:sp>
        <p:nvSpPr>
          <p:cNvPr id="10" name="Rectangle 9"/>
          <p:cNvSpPr/>
          <p:nvPr userDrawn="1"/>
        </p:nvSpPr>
        <p:spPr>
          <a:xfrm>
            <a:off x="0" y="2823328"/>
            <a:ext cx="9144000" cy="845612"/>
          </a:xfrm>
          <a:prstGeom prst="rect">
            <a:avLst/>
          </a:prstGeom>
          <a:gradFill flip="none" rotWithShape="1">
            <a:gsLst>
              <a:gs pos="5000">
                <a:schemeClr val="bg1"/>
              </a:gs>
              <a:gs pos="100000">
                <a:schemeClr val="bg1">
                  <a:alpha val="0"/>
                </a:schemeClr>
              </a:gs>
            </a:gsLst>
            <a:lin ang="162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1000" y="3583344"/>
            <a:ext cx="8458200" cy="457200"/>
          </a:xfrm>
          <a:prstGeom prst="rect">
            <a:avLst/>
          </a:prstGeom>
        </p:spPr>
        <p:txBody>
          <a:bodyPr lIns="0" tIns="0" rIns="0" bIns="0" anchor="t" anchorCtr="0"/>
          <a:lstStyle>
            <a:lvl1pPr algn="ctr">
              <a:lnSpc>
                <a:spcPct val="90000"/>
              </a:lnSpc>
              <a:defRPr sz="3200">
                <a:solidFill>
                  <a:srgbClr val="000000"/>
                </a:solidFill>
              </a:defRPr>
            </a:lvl1pPr>
          </a:lstStyle>
          <a:p>
            <a:r>
              <a:rPr lang="en-US" dirty="0" smtClean="0"/>
              <a:t>CLICK TO EDIT MASTER TITLE STYLE</a:t>
            </a:r>
            <a:endParaRPr lang="en-US" dirty="0"/>
          </a:p>
        </p:txBody>
      </p:sp>
      <p:sp>
        <p:nvSpPr>
          <p:cNvPr id="4" name="Subtitle 2"/>
          <p:cNvSpPr>
            <a:spLocks noGrp="1"/>
          </p:cNvSpPr>
          <p:nvPr>
            <p:ph type="subTitle" idx="1" hasCustomPrompt="1"/>
          </p:nvPr>
        </p:nvSpPr>
        <p:spPr>
          <a:xfrm>
            <a:off x="389466" y="4040544"/>
            <a:ext cx="8449733" cy="302417"/>
          </a:xfrm>
          <a:prstGeom prst="rect">
            <a:avLst/>
          </a:prstGeom>
        </p:spPr>
        <p:txBody>
          <a:bodyPr lIns="0" tIns="0" rIns="0" bIns="0"/>
          <a:lstStyle>
            <a:lvl1pPr marL="0" indent="0" algn="ctr">
              <a:buNone/>
              <a:defRPr sz="20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3389897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grpSp>
        <p:nvGrpSpPr>
          <p:cNvPr id="5" name="Group 4"/>
          <p:cNvGrpSpPr/>
          <p:nvPr userDrawn="1"/>
        </p:nvGrpSpPr>
        <p:grpSpPr>
          <a:xfrm>
            <a:off x="1135142" y="3849727"/>
            <a:ext cx="6859693" cy="476172"/>
            <a:chOff x="1135142" y="3849727"/>
            <a:chExt cx="6859693" cy="476172"/>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6711700" y="3990255"/>
              <a:ext cx="1283135" cy="195116"/>
            </a:xfrm>
            <a:prstGeom prst="rect">
              <a:avLst/>
            </a:prstGeom>
          </p:spPr>
        </p:pic>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667843" y="3970703"/>
              <a:ext cx="1021665" cy="234219"/>
            </a:xfrm>
            <a:prstGeom prst="rect">
              <a:avLst/>
            </a:prstGeom>
          </p:spPr>
        </p:pic>
        <p:pic>
          <p:nvPicPr>
            <p:cNvPr id="17" name="Picture 16"/>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299446" y="3917891"/>
              <a:ext cx="727905" cy="339842"/>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35142" y="3936419"/>
              <a:ext cx="938880" cy="302786"/>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608160" y="3849727"/>
              <a:ext cx="476172" cy="476172"/>
            </a:xfrm>
            <a:prstGeom prst="rect">
              <a:avLst/>
            </a:prstGeom>
          </p:spPr>
        </p:pic>
      </p:grpSp>
      <p:pic>
        <p:nvPicPr>
          <p:cNvPr id="11" name="Picture 10" descr="Federation_Logo_Color.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174734" y="646881"/>
            <a:ext cx="2796726" cy="2792637"/>
          </a:xfrm>
          <a:prstGeom prst="rect">
            <a:avLst/>
          </a:prstGeom>
        </p:spPr>
      </p:pic>
    </p:spTree>
    <p:extLst>
      <p:ext uri="{BB962C8B-B14F-4D97-AF65-F5344CB8AC3E}">
        <p14:creationId xmlns:p14="http://schemas.microsoft.com/office/powerpoint/2010/main" val="259417839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Bottom Title centered">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9725" y="1828373"/>
            <a:ext cx="8458200" cy="1513549"/>
          </a:xfrm>
          <a:prstGeom prst="rect">
            <a:avLst/>
          </a:prstGeom>
        </p:spPr>
        <p:txBody>
          <a:bodyPr lIns="0" tIns="0" rIns="0" bIns="0" anchor="t" anchorCtr="0"/>
          <a:lstStyle>
            <a:lvl1pPr algn="ctr">
              <a:lnSpc>
                <a:spcPct val="90000"/>
              </a:lnSpc>
              <a:defRPr sz="48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7971879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Bottom Title centered">
    <p:spTree>
      <p:nvGrpSpPr>
        <p:cNvPr id="1" name=""/>
        <p:cNvGrpSpPr/>
        <p:nvPr/>
      </p:nvGrpSpPr>
      <p:grpSpPr>
        <a:xfrm>
          <a:off x="0" y="0"/>
          <a:ext cx="0" cy="0"/>
          <a:chOff x="0" y="0"/>
          <a:chExt cx="0" cy="0"/>
        </a:xfrm>
      </p:grpSpPr>
      <p:pic>
        <p:nvPicPr>
          <p:cNvPr id="3" name="Picture 2" descr="CIO-Summit-FED-0515 for ppt.jpg"/>
          <p:cNvPicPr>
            <a:picLocks noChangeAspect="1"/>
          </p:cNvPicPr>
          <p:nvPr userDrawn="1"/>
        </p:nvPicPr>
        <p:blipFill rotWithShape="1">
          <a:blip r:embed="rId2">
            <a:extLst>
              <a:ext uri="{28A0092B-C50C-407E-A947-70E740481C1C}">
                <a14:useLocalDpi xmlns:a14="http://schemas.microsoft.com/office/drawing/2010/main" val="0"/>
              </a:ext>
            </a:extLst>
          </a:blip>
          <a:srcRect b="20198"/>
          <a:stretch/>
        </p:blipFill>
        <p:spPr>
          <a:xfrm>
            <a:off x="0" y="0"/>
            <a:ext cx="9144000" cy="3646488"/>
          </a:xfrm>
          <a:prstGeom prst="rect">
            <a:avLst/>
          </a:prstGeom>
        </p:spPr>
      </p:pic>
      <p:sp>
        <p:nvSpPr>
          <p:cNvPr id="10" name="Rectangle 9"/>
          <p:cNvSpPr/>
          <p:nvPr userDrawn="1"/>
        </p:nvSpPr>
        <p:spPr>
          <a:xfrm>
            <a:off x="0" y="2823328"/>
            <a:ext cx="9144000" cy="845612"/>
          </a:xfrm>
          <a:prstGeom prst="rect">
            <a:avLst/>
          </a:prstGeom>
          <a:gradFill flip="none" rotWithShape="1">
            <a:gsLst>
              <a:gs pos="5000">
                <a:schemeClr val="bg1"/>
              </a:gs>
              <a:gs pos="100000">
                <a:schemeClr val="bg1">
                  <a:alpha val="0"/>
                </a:schemeClr>
              </a:gs>
            </a:gsLst>
            <a:lin ang="162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1000" y="3583344"/>
            <a:ext cx="8458200" cy="457200"/>
          </a:xfrm>
          <a:prstGeom prst="rect">
            <a:avLst/>
          </a:prstGeom>
        </p:spPr>
        <p:txBody>
          <a:bodyPr lIns="0" tIns="0" rIns="0" bIns="0" anchor="t" anchorCtr="0"/>
          <a:lstStyle>
            <a:lvl1pPr algn="ctr">
              <a:lnSpc>
                <a:spcPct val="90000"/>
              </a:lnSpc>
              <a:defRPr sz="3200">
                <a:solidFill>
                  <a:srgbClr val="000000"/>
                </a:solidFill>
              </a:defRPr>
            </a:lvl1pPr>
          </a:lstStyle>
          <a:p>
            <a:r>
              <a:rPr lang="en-US" dirty="0" smtClean="0"/>
              <a:t>CLICK TO EDIT MASTER TITLE STYLE</a:t>
            </a:r>
            <a:endParaRPr lang="en-US" dirty="0"/>
          </a:p>
        </p:txBody>
      </p:sp>
      <p:sp>
        <p:nvSpPr>
          <p:cNvPr id="4" name="Subtitle 2"/>
          <p:cNvSpPr>
            <a:spLocks noGrp="1"/>
          </p:cNvSpPr>
          <p:nvPr>
            <p:ph type="subTitle" idx="1" hasCustomPrompt="1"/>
          </p:nvPr>
        </p:nvSpPr>
        <p:spPr>
          <a:xfrm>
            <a:off x="389466" y="4040544"/>
            <a:ext cx="8449733" cy="302417"/>
          </a:xfrm>
          <a:prstGeom prst="rect">
            <a:avLst/>
          </a:prstGeom>
        </p:spPr>
        <p:txBody>
          <a:bodyPr lIns="0" tIns="0" rIns="0" bIns="0"/>
          <a:lstStyle>
            <a:lvl1pPr marL="0" indent="0" algn="ctr">
              <a:buNone/>
              <a:defRPr sz="20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38841502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341812" y="919861"/>
            <a:ext cx="4497387" cy="1194689"/>
          </a:xfrm>
          <a:prstGeom prst="rect">
            <a:avLst/>
          </a:prstGeom>
        </p:spPr>
        <p:txBody>
          <a:bodyPr lIns="0" tIns="0" rIns="0" bIns="0" anchor="b" anchorCtr="0"/>
          <a:lstStyle>
            <a:lvl1pPr algn="l">
              <a:lnSpc>
                <a:spcPct val="90000"/>
              </a:lnSpc>
              <a:defRPr sz="3200">
                <a:solidFill>
                  <a:srgbClr val="000000"/>
                </a:solidFill>
                <a:latin typeface="+mn-lt"/>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4341812" y="2190750"/>
            <a:ext cx="4497387" cy="816769"/>
          </a:xfrm>
          <a:prstGeom prst="rect">
            <a:avLst/>
          </a:prstGeom>
        </p:spPr>
        <p:txBody>
          <a:bodyPr lIns="0" tIns="0" rIns="0" bIns="0"/>
          <a:lstStyle>
            <a:lvl1pPr marL="0" indent="0" algn="l">
              <a:spcBef>
                <a:spcPts val="0"/>
              </a:spcBef>
              <a:buNone/>
              <a:defRPr sz="240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Content Placeholder 7"/>
          <p:cNvSpPr>
            <a:spLocks noGrp="1"/>
          </p:cNvSpPr>
          <p:nvPr>
            <p:ph sz="quarter" idx="10"/>
          </p:nvPr>
        </p:nvSpPr>
        <p:spPr>
          <a:xfrm>
            <a:off x="4341812" y="3160114"/>
            <a:ext cx="4497387" cy="304800"/>
          </a:xfrm>
          <a:prstGeom prst="rect">
            <a:avLst/>
          </a:prstGeom>
        </p:spPr>
        <p:txBody>
          <a:bodyPr vert="horz" lIns="0" tIns="0" rIns="0" bIns="0"/>
          <a:lstStyle>
            <a:lvl1pPr marL="0" indent="0">
              <a:spcBef>
                <a:spcPts val="0"/>
              </a:spcBef>
              <a:buNone/>
              <a:defRPr sz="1800">
                <a:solidFill>
                  <a:schemeClr val="bg2"/>
                </a:solidFill>
                <a:latin typeface="+mn-lt"/>
              </a:defRPr>
            </a:lvl1pPr>
            <a:lvl2pPr marL="457200" indent="0">
              <a:buNone/>
              <a:defRPr sz="2000"/>
            </a:lvl2pPr>
            <a:lvl3pPr>
              <a:defRPr sz="1800"/>
            </a:lvl3pPr>
            <a:lvl4pPr>
              <a:defRPr sz="1600"/>
            </a:lvl4pPr>
            <a:lvl5pPr>
              <a:defRPr sz="1600"/>
            </a:lvl5pPr>
          </a:lstStyle>
          <a:p>
            <a:pPr lvl="0"/>
            <a:r>
              <a:rPr lang="en-US" smtClean="0"/>
              <a:t>Click to edit Master text styles</a:t>
            </a:r>
          </a:p>
        </p:txBody>
      </p:sp>
      <p:pic>
        <p:nvPicPr>
          <p:cNvPr id="6" name="Picture 5" descr="CIO-Summit-FED-0515 for ppt.jpg"/>
          <p:cNvPicPr>
            <a:picLocks noChangeAspect="1"/>
          </p:cNvPicPr>
          <p:nvPr userDrawn="1"/>
        </p:nvPicPr>
        <p:blipFill rotWithShape="1">
          <a:blip r:embed="rId2">
            <a:extLst>
              <a:ext uri="{28A0092B-C50C-407E-A947-70E740481C1C}">
                <a14:useLocalDpi xmlns:a14="http://schemas.microsoft.com/office/drawing/2010/main" val="0"/>
              </a:ext>
            </a:extLst>
          </a:blip>
          <a:srcRect l="1879" r="64988" b="20198"/>
          <a:stretch/>
        </p:blipFill>
        <p:spPr>
          <a:xfrm>
            <a:off x="-1" y="-1"/>
            <a:ext cx="4078015" cy="4908331"/>
          </a:xfrm>
          <a:prstGeom prst="rect">
            <a:avLst/>
          </a:prstGeom>
        </p:spPr>
      </p:pic>
      <p:sp>
        <p:nvSpPr>
          <p:cNvPr id="7" name="Rectangle 6"/>
          <p:cNvSpPr/>
          <p:nvPr userDrawn="1"/>
        </p:nvSpPr>
        <p:spPr>
          <a:xfrm rot="5400000">
            <a:off x="1010307" y="1840623"/>
            <a:ext cx="2057400" cy="4078014"/>
          </a:xfrm>
          <a:prstGeom prst="rect">
            <a:avLst/>
          </a:prstGeom>
          <a:gradFill flip="none" rotWithShape="1">
            <a:gsLst>
              <a:gs pos="10000">
                <a:schemeClr val="bg1"/>
              </a:gs>
              <a:gs pos="100000">
                <a:schemeClr val="tx1">
                  <a:lumMod val="85000"/>
                  <a:lumOff val="15000"/>
                  <a:alpha val="0"/>
                </a:schemeClr>
              </a:gs>
            </a:gsLst>
            <a:lin ang="108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418210139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DC">
    <p:spTree>
      <p:nvGrpSpPr>
        <p:cNvPr id="1" name=""/>
        <p:cNvGrpSpPr/>
        <p:nvPr/>
      </p:nvGrpSpPr>
      <p:grpSpPr>
        <a:xfrm>
          <a:off x="0" y="0"/>
          <a:ext cx="0" cy="0"/>
          <a:chOff x="0" y="0"/>
          <a:chExt cx="0" cy="0"/>
        </a:xfrm>
      </p:grpSpPr>
      <p:pic>
        <p:nvPicPr>
          <p:cNvPr id="5" name="Picture 4" descr="IDC_logo.png"/>
          <p:cNvPicPr>
            <a:picLocks noChangeAspect="1"/>
          </p:cNvPicPr>
          <p:nvPr userDrawn="1"/>
        </p:nvPicPr>
        <p:blipFill rotWithShape="1">
          <a:blip r:embed="rId2"/>
          <a:srcRect l="-4695" r="-6610"/>
          <a:stretch/>
        </p:blipFill>
        <p:spPr>
          <a:xfrm>
            <a:off x="323273" y="4621533"/>
            <a:ext cx="1131454" cy="334896"/>
          </a:xfrm>
          <a:prstGeom prst="rect">
            <a:avLst/>
          </a:prstGeom>
          <a:solidFill>
            <a:schemeClr val="bg1"/>
          </a:solidFill>
          <a:effectLst/>
        </p:spPr>
      </p:pic>
      <p:sp>
        <p:nvSpPr>
          <p:cNvPr id="6" name="Footer Placeholder 4"/>
          <p:cNvSpPr txBox="1">
            <a:spLocks/>
          </p:cNvSpPr>
          <p:nvPr userDrawn="1"/>
        </p:nvSpPr>
        <p:spPr>
          <a:xfrm>
            <a:off x="360363" y="5032117"/>
            <a:ext cx="2312795" cy="92333"/>
          </a:xfrm>
          <a:prstGeom prst="rect">
            <a:avLst/>
          </a:prstGeom>
          <a:solidFill>
            <a:schemeClr val="bg1"/>
          </a:solidFill>
          <a:effectLst/>
        </p:spPr>
        <p:txBody>
          <a:bodyPr vert="horz" wrap="none" lIns="0" tIns="0" rIns="0" bIns="0" rtlCol="0" anchor="ctr">
            <a:spAutoFit/>
          </a:bodyPr>
          <a:lstStyle>
            <a:defPPr>
              <a:defRPr lang="en-US"/>
            </a:defPPr>
            <a:lvl1pPr marL="0" algn="ctr" defTabSz="457200" rtl="0" eaLnBrk="1" latinLnBrk="0" hangingPunct="1">
              <a:defRPr sz="8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600" dirty="0" smtClean="0">
                <a:solidFill>
                  <a:srgbClr val="717074"/>
                </a:solidFill>
              </a:rPr>
              <a:t>© IDC   Visit us at </a:t>
            </a:r>
            <a:r>
              <a:rPr lang="en-US" sz="600" dirty="0" err="1" smtClean="0">
                <a:solidFill>
                  <a:srgbClr val="717074"/>
                </a:solidFill>
              </a:rPr>
              <a:t>IDC.com</a:t>
            </a:r>
            <a:r>
              <a:rPr lang="en-US" sz="600" dirty="0" smtClean="0">
                <a:solidFill>
                  <a:srgbClr val="717074"/>
                </a:solidFill>
              </a:rPr>
              <a:t> and follow us on Twitter: @IDC</a:t>
            </a:r>
            <a:endParaRPr lang="en-US" sz="600" dirty="0">
              <a:solidFill>
                <a:srgbClr val="717074"/>
              </a:solidFill>
            </a:endParaRPr>
          </a:p>
        </p:txBody>
      </p:sp>
      <p:sp>
        <p:nvSpPr>
          <p:cNvPr id="7" name="Title 1"/>
          <p:cNvSpPr>
            <a:spLocks noGrp="1"/>
          </p:cNvSpPr>
          <p:nvPr>
            <p:ph type="ctrTitle" hasCustomPrompt="1"/>
          </p:nvPr>
        </p:nvSpPr>
        <p:spPr>
          <a:xfrm>
            <a:off x="381000" y="228601"/>
            <a:ext cx="8458200" cy="457200"/>
          </a:xfrm>
          <a:prstGeom prst="rect">
            <a:avLst/>
          </a:prstGeom>
          <a:effectLst/>
        </p:spPr>
        <p:txBody>
          <a:bodyPr lIns="0" tIns="0" rIns="0" bIns="0" anchor="t" anchorCtr="0"/>
          <a:lstStyle>
            <a:lvl1pPr algn="l">
              <a:lnSpc>
                <a:spcPct val="90000"/>
              </a:lnSpc>
              <a:defRPr sz="2800">
                <a:solidFill>
                  <a:schemeClr val="tx1"/>
                </a:solidFill>
                <a:latin typeface="+mj-lt"/>
              </a:defRPr>
            </a:lvl1pPr>
          </a:lstStyle>
          <a:p>
            <a:r>
              <a:rPr lang="en-US" dirty="0" smtClean="0"/>
              <a:t>CLICK TO EDIT MASTER TITLE STYLE</a:t>
            </a:r>
            <a:endParaRPr lang="en-US" dirty="0"/>
          </a:p>
        </p:txBody>
      </p:sp>
      <p:sp>
        <p:nvSpPr>
          <p:cNvPr id="8" name="Subtitle 2"/>
          <p:cNvSpPr>
            <a:spLocks noGrp="1"/>
          </p:cNvSpPr>
          <p:nvPr>
            <p:ph type="subTitle" idx="1" hasCustomPrompt="1"/>
          </p:nvPr>
        </p:nvSpPr>
        <p:spPr>
          <a:xfrm>
            <a:off x="389466" y="666543"/>
            <a:ext cx="8449733" cy="302417"/>
          </a:xfrm>
          <a:prstGeom prst="rect">
            <a:avLst/>
          </a:prstGeom>
          <a:effectLst/>
        </p:spPr>
        <p:txBody>
          <a:bodyPr lIns="0" tIns="0" rIns="0" bIns="0"/>
          <a:lstStyle>
            <a:lvl1pPr marL="0" indent="0" algn="l">
              <a:lnSpc>
                <a:spcPct val="100000"/>
              </a:lnSpc>
              <a:buNone/>
              <a:defRPr sz="16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58742470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ottom Title centered">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9725" y="1828373"/>
            <a:ext cx="8458200" cy="1513549"/>
          </a:xfrm>
          <a:prstGeom prst="rect">
            <a:avLst/>
          </a:prstGeom>
        </p:spPr>
        <p:txBody>
          <a:bodyPr lIns="0" tIns="0" rIns="0" bIns="0" anchor="t" anchorCtr="0"/>
          <a:lstStyle>
            <a:lvl1pPr algn="ctr">
              <a:lnSpc>
                <a:spcPct val="90000"/>
              </a:lnSpc>
              <a:defRPr sz="48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037203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ttom Title centered">
    <p:spTree>
      <p:nvGrpSpPr>
        <p:cNvPr id="1" name=""/>
        <p:cNvGrpSpPr/>
        <p:nvPr/>
      </p:nvGrpSpPr>
      <p:grpSpPr>
        <a:xfrm>
          <a:off x="0" y="0"/>
          <a:ext cx="0" cy="0"/>
          <a:chOff x="0" y="0"/>
          <a:chExt cx="0" cy="0"/>
        </a:xfrm>
      </p:grpSpPr>
      <p:grpSp>
        <p:nvGrpSpPr>
          <p:cNvPr id="15" name="Group 14"/>
          <p:cNvGrpSpPr/>
          <p:nvPr userDrawn="1"/>
        </p:nvGrpSpPr>
        <p:grpSpPr>
          <a:xfrm>
            <a:off x="5830094" y="4651595"/>
            <a:ext cx="2947194" cy="310172"/>
            <a:chOff x="4362003" y="4593555"/>
            <a:chExt cx="3946179" cy="415308"/>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7612039" y="4748281"/>
              <a:ext cx="696143" cy="105857"/>
            </a:xfrm>
            <a:prstGeom prst="rect">
              <a:avLst/>
            </a:prstGeom>
          </p:spPr>
        </p:pic>
        <p:pic>
          <p:nvPicPr>
            <p:cNvPr id="17" name="Picture 1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19739" y="4737673"/>
              <a:ext cx="554287" cy="127072"/>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6493812" y="4709021"/>
              <a:ext cx="394912" cy="184375"/>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987417" y="4719073"/>
              <a:ext cx="509373" cy="164271"/>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04614" y="4672040"/>
              <a:ext cx="258339" cy="258339"/>
            </a:xfrm>
            <a:prstGeom prst="rect">
              <a:avLst/>
            </a:prstGeom>
          </p:spPr>
        </p:pic>
        <p:pic>
          <p:nvPicPr>
            <p:cNvPr id="21" name="Picture 20" descr="Federation_Logo_Color.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62003" y="4593555"/>
              <a:ext cx="415916" cy="415308"/>
            </a:xfrm>
            <a:prstGeom prst="rect">
              <a:avLst/>
            </a:prstGeom>
          </p:spPr>
        </p:pic>
      </p:grpSp>
      <p:sp>
        <p:nvSpPr>
          <p:cNvPr id="2" name="Title 1"/>
          <p:cNvSpPr>
            <a:spLocks noGrp="1"/>
          </p:cNvSpPr>
          <p:nvPr>
            <p:ph type="ctrTitle" hasCustomPrompt="1"/>
          </p:nvPr>
        </p:nvSpPr>
        <p:spPr>
          <a:xfrm>
            <a:off x="341313" y="3881967"/>
            <a:ext cx="8458200" cy="457200"/>
          </a:xfrm>
          <a:prstGeom prst="rect">
            <a:avLst/>
          </a:prstGeom>
        </p:spPr>
        <p:txBody>
          <a:bodyPr lIns="0" tIns="0" rIns="0" bIns="0" anchor="t" anchorCtr="0"/>
          <a:lstStyle>
            <a:lvl1pPr algn="ctr">
              <a:lnSpc>
                <a:spcPct val="90000"/>
              </a:lnSpc>
              <a:defRPr sz="32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059279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1553544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67" y="228600"/>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990600"/>
            <a:ext cx="84582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867594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624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2271362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341812" y="919861"/>
            <a:ext cx="4497387" cy="1194689"/>
          </a:xfrm>
          <a:prstGeom prst="rect">
            <a:avLst/>
          </a:prstGeom>
        </p:spPr>
        <p:txBody>
          <a:bodyPr lIns="0" tIns="0" rIns="0" bIns="0" anchor="b" anchorCtr="0"/>
          <a:lstStyle>
            <a:lvl1pPr algn="l">
              <a:lnSpc>
                <a:spcPct val="100000"/>
              </a:lnSpc>
              <a:defRPr sz="3200" b="0">
                <a:solidFill>
                  <a:srgbClr val="000000"/>
                </a:solidFill>
                <a:latin typeface="+mn-lt"/>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4341812" y="2190750"/>
            <a:ext cx="4497387" cy="816769"/>
          </a:xfrm>
          <a:prstGeom prst="rect">
            <a:avLst/>
          </a:prstGeom>
        </p:spPr>
        <p:txBody>
          <a:bodyPr lIns="0" tIns="0" rIns="0" bIns="0"/>
          <a:lstStyle>
            <a:lvl1pPr marL="0" indent="0" algn="l">
              <a:spcBef>
                <a:spcPts val="0"/>
              </a:spcBef>
              <a:buNone/>
              <a:defRPr sz="240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Content Placeholder 7"/>
          <p:cNvSpPr>
            <a:spLocks noGrp="1"/>
          </p:cNvSpPr>
          <p:nvPr>
            <p:ph sz="quarter" idx="10"/>
          </p:nvPr>
        </p:nvSpPr>
        <p:spPr>
          <a:xfrm>
            <a:off x="4341812" y="3083719"/>
            <a:ext cx="4497387" cy="304800"/>
          </a:xfrm>
          <a:prstGeom prst="rect">
            <a:avLst/>
          </a:prstGeom>
        </p:spPr>
        <p:txBody>
          <a:bodyPr vert="horz" lIns="0" tIns="0" rIns="0" bIns="0"/>
          <a:lstStyle>
            <a:lvl1pPr marL="0" indent="0">
              <a:spcBef>
                <a:spcPts val="0"/>
              </a:spcBef>
              <a:buNone/>
              <a:defRPr sz="1800">
                <a:solidFill>
                  <a:schemeClr val="bg2"/>
                </a:solidFill>
                <a:latin typeface="+mn-lt"/>
              </a:defRPr>
            </a:lvl1pPr>
            <a:lvl2pPr marL="457200" indent="0">
              <a:buNone/>
              <a:defRPr sz="2000"/>
            </a:lvl2pPr>
            <a:lvl3pPr>
              <a:defRPr sz="1800"/>
            </a:lvl3pPr>
            <a:lvl4pPr>
              <a:defRPr sz="1600"/>
            </a:lvl4pPr>
            <a:lvl5pPr>
              <a:defRPr sz="1600"/>
            </a:lvl5pPr>
          </a:lstStyle>
          <a:p>
            <a:pPr lvl="0"/>
            <a:r>
              <a:rPr lang="en-US" smtClean="0"/>
              <a:t>Click to edit Master text styles</a:t>
            </a:r>
          </a:p>
        </p:txBody>
      </p:sp>
      <p:pic>
        <p:nvPicPr>
          <p:cNvPr id="6" name="Picture 5" descr="CIO-Summit-FED-0515 for ppt.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4078015" cy="4908331"/>
          </a:xfrm>
          <a:prstGeom prst="rect">
            <a:avLst/>
          </a:prstGeom>
        </p:spPr>
      </p:pic>
      <p:sp>
        <p:nvSpPr>
          <p:cNvPr id="7" name="Rectangle 6"/>
          <p:cNvSpPr/>
          <p:nvPr userDrawn="1"/>
        </p:nvSpPr>
        <p:spPr>
          <a:xfrm rot="5400000">
            <a:off x="1010307" y="1840623"/>
            <a:ext cx="2057400" cy="4078014"/>
          </a:xfrm>
          <a:prstGeom prst="rect">
            <a:avLst/>
          </a:prstGeom>
          <a:gradFill flip="none" rotWithShape="1">
            <a:gsLst>
              <a:gs pos="10000">
                <a:schemeClr val="bg1"/>
              </a:gs>
              <a:gs pos="100000">
                <a:schemeClr val="tx1">
                  <a:lumMod val="85000"/>
                  <a:lumOff val="15000"/>
                  <a:alpha val="0"/>
                </a:schemeClr>
              </a:gs>
            </a:gsLst>
            <a:lin ang="108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6946253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chemeClr val="tx1"/>
                </a:solidFill>
                <a:latin typeface="+mj-lt"/>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389466" y="703000"/>
            <a:ext cx="8449733" cy="302417"/>
          </a:xfrm>
          <a:prstGeom prst="rect">
            <a:avLst/>
          </a:prstGeom>
        </p:spPr>
        <p:txBody>
          <a:bodyPr lIns="0" tIns="0" rIns="0" bIns="0"/>
          <a:lstStyle>
            <a:lvl1pPr marL="0" indent="0" algn="l">
              <a:buNone/>
              <a:defRPr sz="16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98901011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0"/>
            <a:ext cx="8458200" cy="457200"/>
          </a:xfrm>
          <a:prstGeom prst="rect">
            <a:avLst/>
          </a:prstGeom>
        </p:spPr>
        <p:txBody>
          <a:bodyPr lIns="0" tIns="0" rIns="0" bIns="0" anchor="t" anchorCtr="0"/>
          <a:lstStyle>
            <a:lvl1pPr algn="l">
              <a:lnSpc>
                <a:spcPct val="90000"/>
              </a:lnSpc>
              <a:defRPr sz="2800">
                <a:solidFill>
                  <a:srgbClr val="000000"/>
                </a:solidFill>
                <a:latin typeface="+mj-lt"/>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1295400"/>
            <a:ext cx="8458200" cy="31242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a:xfrm>
            <a:off x="389466" y="703000"/>
            <a:ext cx="8449733" cy="302417"/>
          </a:xfrm>
          <a:prstGeom prst="rect">
            <a:avLst/>
          </a:prstGeom>
        </p:spPr>
        <p:txBody>
          <a:bodyPr lIns="0" tIns="0" rIns="0" bIns="0"/>
          <a:lstStyle>
            <a:lvl1pPr marL="0" indent="0" algn="l">
              <a:buNone/>
              <a:defRPr sz="16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90668645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990600"/>
            <a:ext cx="40386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4"/>
          <p:cNvSpPr>
            <a:spLocks noGrp="1"/>
          </p:cNvSpPr>
          <p:nvPr>
            <p:ph sz="quarter" idx="11"/>
          </p:nvPr>
        </p:nvSpPr>
        <p:spPr>
          <a:xfrm>
            <a:off x="4800600" y="990600"/>
            <a:ext cx="40386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9703924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wo columns with subtit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hasCustomPrompt="1"/>
          </p:nvPr>
        </p:nvSpPr>
        <p:spPr>
          <a:xfrm>
            <a:off x="381000" y="1011766"/>
            <a:ext cx="4038600" cy="3407833"/>
          </a:xfrm>
          <a:prstGeom prst="rect">
            <a:avLst/>
          </a:prstGeom>
        </p:spPr>
        <p:txBody>
          <a:bodyPr vert="horz" lIns="0" tIns="0" rIns="0" bIns="0"/>
          <a:lstStyle>
            <a:lvl1pPr marL="0" indent="0">
              <a:spcBef>
                <a:spcPts val="1200"/>
              </a:spcBef>
              <a:buClr>
                <a:schemeClr val="tx2"/>
              </a:buClr>
              <a:buNone/>
              <a:defRPr sz="2000">
                <a:solidFill>
                  <a:srgbClr val="000000"/>
                </a:solidFill>
              </a:defRPr>
            </a:lvl1pPr>
            <a:lvl2pPr marL="169863" indent="-169863">
              <a:spcBef>
                <a:spcPts val="1200"/>
              </a:spcBef>
              <a:buClr>
                <a:schemeClr val="tx1"/>
              </a:buClr>
              <a:buFont typeface="Arial"/>
              <a:buChar char="•"/>
              <a:defRPr sz="1800">
                <a:solidFill>
                  <a:srgbClr val="717073"/>
                </a:solidFill>
              </a:defRPr>
            </a:lvl2pPr>
            <a:lvl3pPr marL="515938" indent="-168275">
              <a:spcBef>
                <a:spcPts val="300"/>
              </a:spcBef>
              <a:buClr>
                <a:schemeClr val="tx1"/>
              </a:buClr>
              <a:buFont typeface="Lucida Grande"/>
              <a:buChar char="­"/>
              <a:defRPr sz="1400">
                <a:solidFill>
                  <a:srgbClr val="717073"/>
                </a:solidFill>
              </a:defRPr>
            </a:lvl3pPr>
            <a:lvl4pPr marL="855663" indent="-169863">
              <a:spcBef>
                <a:spcPts val="300"/>
              </a:spcBef>
              <a:buClr>
                <a:schemeClr val="tx1"/>
              </a:buClr>
              <a:buFont typeface="Arial"/>
              <a:buChar char="•"/>
              <a:defRPr sz="1100">
                <a:solidFill>
                  <a:srgbClr val="717073"/>
                </a:solidFill>
              </a:defRPr>
            </a:lvl4pPr>
            <a:lvl5pPr marL="1201738" indent="-168275">
              <a:spcBef>
                <a:spcPts val="300"/>
              </a:spcBef>
              <a:buClr>
                <a:schemeClr val="tx1"/>
              </a:buClr>
              <a:buFont typeface="Arial"/>
              <a:buChar char="–"/>
              <a:defRPr sz="1050">
                <a:solidFill>
                  <a:srgbClr val="71707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4"/>
          <p:cNvSpPr>
            <a:spLocks noGrp="1"/>
          </p:cNvSpPr>
          <p:nvPr>
            <p:ph sz="quarter" idx="11" hasCustomPrompt="1"/>
          </p:nvPr>
        </p:nvSpPr>
        <p:spPr>
          <a:xfrm>
            <a:off x="4809067" y="1011766"/>
            <a:ext cx="4038600" cy="3407833"/>
          </a:xfrm>
          <a:prstGeom prst="rect">
            <a:avLst/>
          </a:prstGeom>
        </p:spPr>
        <p:txBody>
          <a:bodyPr vert="horz" lIns="0" tIns="0" rIns="0" bIns="0"/>
          <a:lstStyle>
            <a:lvl1pPr marL="0" indent="0">
              <a:spcBef>
                <a:spcPts val="1200"/>
              </a:spcBef>
              <a:buClr>
                <a:schemeClr val="tx2"/>
              </a:buClr>
              <a:buNone/>
              <a:defRPr sz="2000">
                <a:solidFill>
                  <a:srgbClr val="000000"/>
                </a:solidFill>
              </a:defRPr>
            </a:lvl1pPr>
            <a:lvl2pPr marL="169863" indent="-169863">
              <a:spcBef>
                <a:spcPts val="1200"/>
              </a:spcBef>
              <a:buClr>
                <a:schemeClr val="tx1"/>
              </a:buClr>
              <a:buFont typeface="Arial"/>
              <a:buChar char="•"/>
              <a:defRPr sz="1800">
                <a:solidFill>
                  <a:srgbClr val="717073"/>
                </a:solidFill>
              </a:defRPr>
            </a:lvl2pPr>
            <a:lvl3pPr marL="515938" indent="-168275">
              <a:spcBef>
                <a:spcPts val="300"/>
              </a:spcBef>
              <a:buClr>
                <a:schemeClr val="tx1"/>
              </a:buClr>
              <a:buFont typeface="Lucida Grande"/>
              <a:buChar char="­"/>
              <a:defRPr sz="1400">
                <a:solidFill>
                  <a:srgbClr val="717073"/>
                </a:solidFill>
              </a:defRPr>
            </a:lvl3pPr>
            <a:lvl4pPr marL="855663" indent="-169863">
              <a:spcBef>
                <a:spcPts val="300"/>
              </a:spcBef>
              <a:buClr>
                <a:schemeClr val="tx1"/>
              </a:buClr>
              <a:buFont typeface="Arial"/>
              <a:buChar char="•"/>
              <a:defRPr sz="1100">
                <a:solidFill>
                  <a:srgbClr val="717073"/>
                </a:solidFill>
              </a:defRPr>
            </a:lvl4pPr>
            <a:lvl5pPr marL="1201738" indent="-168275">
              <a:spcBef>
                <a:spcPts val="300"/>
              </a:spcBef>
              <a:buClr>
                <a:schemeClr val="tx1"/>
              </a:buClr>
              <a:buFont typeface="Arial"/>
              <a:buChar char="–"/>
              <a:defRPr sz="1050">
                <a:solidFill>
                  <a:srgbClr val="71707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900077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grpSp>
        <p:nvGrpSpPr>
          <p:cNvPr id="5" name="Group 4"/>
          <p:cNvGrpSpPr/>
          <p:nvPr userDrawn="1"/>
        </p:nvGrpSpPr>
        <p:grpSpPr>
          <a:xfrm>
            <a:off x="1135142" y="3849727"/>
            <a:ext cx="6859693" cy="476172"/>
            <a:chOff x="1135142" y="3849727"/>
            <a:chExt cx="6859693" cy="476172"/>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6711700" y="3990255"/>
              <a:ext cx="1283135" cy="195116"/>
            </a:xfrm>
            <a:prstGeom prst="rect">
              <a:avLst/>
            </a:prstGeom>
          </p:spPr>
        </p:pic>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667843" y="3970703"/>
              <a:ext cx="1021665" cy="234219"/>
            </a:xfrm>
            <a:prstGeom prst="rect">
              <a:avLst/>
            </a:prstGeom>
          </p:spPr>
        </p:pic>
        <p:pic>
          <p:nvPicPr>
            <p:cNvPr id="17" name="Picture 16"/>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299446" y="3917891"/>
              <a:ext cx="727905" cy="339842"/>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35142" y="3936419"/>
              <a:ext cx="938880" cy="302786"/>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608160" y="3849727"/>
              <a:ext cx="476172" cy="476172"/>
            </a:xfrm>
            <a:prstGeom prst="rect">
              <a:avLst/>
            </a:prstGeom>
          </p:spPr>
        </p:pic>
      </p:grpSp>
      <p:pic>
        <p:nvPicPr>
          <p:cNvPr id="11" name="Picture 10" descr="Federation_Logo_Color.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174734" y="646881"/>
            <a:ext cx="2796726" cy="2792637"/>
          </a:xfrm>
          <a:prstGeom prst="rect">
            <a:avLst/>
          </a:prstGeom>
        </p:spPr>
      </p:pic>
    </p:spTree>
    <p:extLst>
      <p:ext uri="{BB962C8B-B14F-4D97-AF65-F5344CB8AC3E}">
        <p14:creationId xmlns:p14="http://schemas.microsoft.com/office/powerpoint/2010/main" val="214660172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ottom Title centered">
    <p:spTree>
      <p:nvGrpSpPr>
        <p:cNvPr id="1" name=""/>
        <p:cNvGrpSpPr/>
        <p:nvPr/>
      </p:nvGrpSpPr>
      <p:grpSpPr>
        <a:xfrm>
          <a:off x="0" y="0"/>
          <a:ext cx="0" cy="0"/>
          <a:chOff x="0" y="0"/>
          <a:chExt cx="0" cy="0"/>
        </a:xfrm>
      </p:grpSpPr>
      <p:pic>
        <p:nvPicPr>
          <p:cNvPr id="3" name="Picture 2" descr="CIO-Summit-FED-0515 for ppt.jpg"/>
          <p:cNvPicPr>
            <a:picLocks noChangeAspect="1"/>
          </p:cNvPicPr>
          <p:nvPr userDrawn="1"/>
        </p:nvPicPr>
        <p:blipFill rotWithShape="1">
          <a:blip r:embed="rId2">
            <a:extLst>
              <a:ext uri="{28A0092B-C50C-407E-A947-70E740481C1C}">
                <a14:useLocalDpi xmlns:a14="http://schemas.microsoft.com/office/drawing/2010/main" val="0"/>
              </a:ext>
            </a:extLst>
          </a:blip>
          <a:srcRect b="20198"/>
          <a:stretch/>
        </p:blipFill>
        <p:spPr>
          <a:xfrm>
            <a:off x="0" y="0"/>
            <a:ext cx="9144000" cy="3646488"/>
          </a:xfrm>
          <a:prstGeom prst="rect">
            <a:avLst/>
          </a:prstGeom>
        </p:spPr>
      </p:pic>
      <p:sp>
        <p:nvSpPr>
          <p:cNvPr id="10" name="Rectangle 9"/>
          <p:cNvSpPr/>
          <p:nvPr userDrawn="1"/>
        </p:nvSpPr>
        <p:spPr>
          <a:xfrm>
            <a:off x="0" y="2823328"/>
            <a:ext cx="9144000" cy="845612"/>
          </a:xfrm>
          <a:prstGeom prst="rect">
            <a:avLst/>
          </a:prstGeom>
          <a:gradFill flip="none" rotWithShape="1">
            <a:gsLst>
              <a:gs pos="5000">
                <a:schemeClr val="bg1"/>
              </a:gs>
              <a:gs pos="100000">
                <a:schemeClr val="bg1">
                  <a:alpha val="0"/>
                </a:schemeClr>
              </a:gs>
            </a:gsLst>
            <a:lin ang="162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1000" y="3583344"/>
            <a:ext cx="8458200" cy="457200"/>
          </a:xfrm>
          <a:prstGeom prst="rect">
            <a:avLst/>
          </a:prstGeom>
        </p:spPr>
        <p:txBody>
          <a:bodyPr lIns="0" tIns="0" rIns="0" bIns="0" anchor="t" anchorCtr="0"/>
          <a:lstStyle>
            <a:lvl1pPr algn="ctr">
              <a:lnSpc>
                <a:spcPct val="90000"/>
              </a:lnSpc>
              <a:defRPr sz="3200">
                <a:solidFill>
                  <a:srgbClr val="000000"/>
                </a:solidFill>
              </a:defRPr>
            </a:lvl1pPr>
          </a:lstStyle>
          <a:p>
            <a:r>
              <a:rPr lang="en-US" dirty="0" smtClean="0"/>
              <a:t>CLICK TO EDIT MASTER TITLE STYLE</a:t>
            </a:r>
            <a:endParaRPr lang="en-US" dirty="0"/>
          </a:p>
        </p:txBody>
      </p:sp>
      <p:sp>
        <p:nvSpPr>
          <p:cNvPr id="4" name="Subtitle 2"/>
          <p:cNvSpPr>
            <a:spLocks noGrp="1"/>
          </p:cNvSpPr>
          <p:nvPr>
            <p:ph type="subTitle" idx="1" hasCustomPrompt="1"/>
          </p:nvPr>
        </p:nvSpPr>
        <p:spPr>
          <a:xfrm>
            <a:off x="389466" y="4040544"/>
            <a:ext cx="8449733" cy="302417"/>
          </a:xfrm>
          <a:prstGeom prst="rect">
            <a:avLst/>
          </a:prstGeom>
        </p:spPr>
        <p:txBody>
          <a:bodyPr lIns="0" tIns="0" rIns="0" bIns="0"/>
          <a:lstStyle>
            <a:lvl1pPr marL="0" indent="0" algn="ctr">
              <a:buNone/>
              <a:defRPr sz="20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07012768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Bottom Title centered">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9725" y="1828373"/>
            <a:ext cx="8458200" cy="1513549"/>
          </a:xfrm>
          <a:prstGeom prst="rect">
            <a:avLst/>
          </a:prstGeom>
        </p:spPr>
        <p:txBody>
          <a:bodyPr lIns="0" tIns="0" rIns="0" bIns="0" anchor="t" anchorCtr="0"/>
          <a:lstStyle>
            <a:lvl1pPr algn="ctr">
              <a:lnSpc>
                <a:spcPct val="90000"/>
              </a:lnSpc>
              <a:defRPr sz="48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3378019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341812" y="919861"/>
            <a:ext cx="4497387" cy="1194689"/>
          </a:xfrm>
          <a:prstGeom prst="rect">
            <a:avLst/>
          </a:prstGeom>
        </p:spPr>
        <p:txBody>
          <a:bodyPr lIns="0" tIns="0" rIns="0" bIns="0" anchor="b" anchorCtr="0"/>
          <a:lstStyle>
            <a:lvl1pPr algn="l">
              <a:lnSpc>
                <a:spcPct val="90000"/>
              </a:lnSpc>
              <a:defRPr sz="3200">
                <a:solidFill>
                  <a:srgbClr val="000000"/>
                </a:solidFill>
                <a:latin typeface="+mn-lt"/>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4341812" y="2190750"/>
            <a:ext cx="4497387" cy="816769"/>
          </a:xfrm>
          <a:prstGeom prst="rect">
            <a:avLst/>
          </a:prstGeom>
        </p:spPr>
        <p:txBody>
          <a:bodyPr lIns="0" tIns="0" rIns="0" bIns="0"/>
          <a:lstStyle>
            <a:lvl1pPr marL="0" indent="0" algn="l">
              <a:spcBef>
                <a:spcPts val="0"/>
              </a:spcBef>
              <a:buNone/>
              <a:defRPr sz="240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Content Placeholder 7"/>
          <p:cNvSpPr>
            <a:spLocks noGrp="1"/>
          </p:cNvSpPr>
          <p:nvPr>
            <p:ph sz="quarter" idx="10"/>
          </p:nvPr>
        </p:nvSpPr>
        <p:spPr>
          <a:xfrm>
            <a:off x="4341812" y="3167609"/>
            <a:ext cx="4497387" cy="304800"/>
          </a:xfrm>
          <a:prstGeom prst="rect">
            <a:avLst/>
          </a:prstGeom>
        </p:spPr>
        <p:txBody>
          <a:bodyPr vert="horz" lIns="0" tIns="0" rIns="0" bIns="0"/>
          <a:lstStyle>
            <a:lvl1pPr marL="0" indent="0">
              <a:spcBef>
                <a:spcPts val="0"/>
              </a:spcBef>
              <a:buNone/>
              <a:defRPr sz="1800">
                <a:solidFill>
                  <a:schemeClr val="bg2"/>
                </a:solidFill>
                <a:latin typeface="+mn-lt"/>
              </a:defRPr>
            </a:lvl1pPr>
            <a:lvl2pPr marL="457200" indent="0">
              <a:buNone/>
              <a:defRPr sz="2000"/>
            </a:lvl2pPr>
            <a:lvl3pPr>
              <a:defRPr sz="1800"/>
            </a:lvl3pPr>
            <a:lvl4pPr>
              <a:defRPr sz="1600"/>
            </a:lvl4pPr>
            <a:lvl5pPr>
              <a:defRPr sz="1600"/>
            </a:lvl5pPr>
          </a:lstStyle>
          <a:p>
            <a:pPr lvl="0"/>
            <a:r>
              <a:rPr lang="en-US" dirty="0" smtClean="0"/>
              <a:t>Click to edit Master text styles</a:t>
            </a:r>
          </a:p>
        </p:txBody>
      </p:sp>
      <p:pic>
        <p:nvPicPr>
          <p:cNvPr id="6" name="Picture 5" descr="CIO-Summit-FED-0515 for ppt.jpg"/>
          <p:cNvPicPr>
            <a:picLocks noChangeAspect="1"/>
          </p:cNvPicPr>
          <p:nvPr userDrawn="1"/>
        </p:nvPicPr>
        <p:blipFill rotWithShape="1">
          <a:blip r:embed="rId2">
            <a:extLst>
              <a:ext uri="{28A0092B-C50C-407E-A947-70E740481C1C}">
                <a14:useLocalDpi xmlns:a14="http://schemas.microsoft.com/office/drawing/2010/main" val="0"/>
              </a:ext>
            </a:extLst>
          </a:blip>
          <a:srcRect l="1879" r="64988" b="20198"/>
          <a:stretch/>
        </p:blipFill>
        <p:spPr>
          <a:xfrm>
            <a:off x="-1" y="-1"/>
            <a:ext cx="4078015" cy="4908331"/>
          </a:xfrm>
          <a:prstGeom prst="rect">
            <a:avLst/>
          </a:prstGeom>
        </p:spPr>
      </p:pic>
      <p:sp>
        <p:nvSpPr>
          <p:cNvPr id="7" name="Rectangle 6"/>
          <p:cNvSpPr/>
          <p:nvPr userDrawn="1"/>
        </p:nvSpPr>
        <p:spPr>
          <a:xfrm rot="5400000">
            <a:off x="1010307" y="1840623"/>
            <a:ext cx="2057400" cy="4078014"/>
          </a:xfrm>
          <a:prstGeom prst="rect">
            <a:avLst/>
          </a:prstGeom>
          <a:gradFill flip="none" rotWithShape="1">
            <a:gsLst>
              <a:gs pos="10000">
                <a:schemeClr val="bg1"/>
              </a:gs>
              <a:gs pos="100000">
                <a:schemeClr val="tx1">
                  <a:lumMod val="85000"/>
                  <a:lumOff val="15000"/>
                  <a:alpha val="0"/>
                </a:schemeClr>
              </a:gs>
            </a:gsLst>
            <a:lin ang="108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355130450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ottom Title centered">
    <p:spTree>
      <p:nvGrpSpPr>
        <p:cNvPr id="1" name=""/>
        <p:cNvGrpSpPr/>
        <p:nvPr/>
      </p:nvGrpSpPr>
      <p:grpSpPr>
        <a:xfrm>
          <a:off x="0" y="0"/>
          <a:ext cx="0" cy="0"/>
          <a:chOff x="0" y="0"/>
          <a:chExt cx="0" cy="0"/>
        </a:xfrm>
      </p:grpSpPr>
      <p:grpSp>
        <p:nvGrpSpPr>
          <p:cNvPr id="15" name="Group 14"/>
          <p:cNvGrpSpPr/>
          <p:nvPr userDrawn="1"/>
        </p:nvGrpSpPr>
        <p:grpSpPr>
          <a:xfrm>
            <a:off x="5830094" y="4651595"/>
            <a:ext cx="2947194" cy="310172"/>
            <a:chOff x="4362003" y="4593555"/>
            <a:chExt cx="3946179" cy="415308"/>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7612039" y="4748281"/>
              <a:ext cx="696143" cy="105857"/>
            </a:xfrm>
            <a:prstGeom prst="rect">
              <a:avLst/>
            </a:prstGeom>
          </p:spPr>
        </p:pic>
        <p:pic>
          <p:nvPicPr>
            <p:cNvPr id="17" name="Picture 1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19739" y="4737673"/>
              <a:ext cx="554287" cy="127072"/>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6493812" y="4709021"/>
              <a:ext cx="394912" cy="184375"/>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987417" y="4719073"/>
              <a:ext cx="509373" cy="164271"/>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04614" y="4672040"/>
              <a:ext cx="258339" cy="258339"/>
            </a:xfrm>
            <a:prstGeom prst="rect">
              <a:avLst/>
            </a:prstGeom>
          </p:spPr>
        </p:pic>
        <p:pic>
          <p:nvPicPr>
            <p:cNvPr id="21" name="Picture 20" descr="Federation_Logo_Color.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62003" y="4593555"/>
              <a:ext cx="415916" cy="415308"/>
            </a:xfrm>
            <a:prstGeom prst="rect">
              <a:avLst/>
            </a:prstGeom>
          </p:spPr>
        </p:pic>
      </p:grpSp>
      <p:sp>
        <p:nvSpPr>
          <p:cNvPr id="2" name="Title 1"/>
          <p:cNvSpPr>
            <a:spLocks noGrp="1"/>
          </p:cNvSpPr>
          <p:nvPr>
            <p:ph type="ctrTitle" hasCustomPrompt="1"/>
          </p:nvPr>
        </p:nvSpPr>
        <p:spPr>
          <a:xfrm>
            <a:off x="341313" y="3881967"/>
            <a:ext cx="8458200" cy="457200"/>
          </a:xfrm>
          <a:prstGeom prst="rect">
            <a:avLst/>
          </a:prstGeom>
        </p:spPr>
        <p:txBody>
          <a:bodyPr lIns="0" tIns="0" rIns="0" bIns="0" anchor="t" anchorCtr="0"/>
          <a:lstStyle>
            <a:lvl1pPr algn="ctr">
              <a:lnSpc>
                <a:spcPct val="90000"/>
              </a:lnSpc>
              <a:defRPr sz="32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72229059"/>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2388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23581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67" y="228600"/>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990600"/>
            <a:ext cx="84582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203912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624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3552396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chemeClr val="tx1"/>
                </a:solidFill>
                <a:latin typeface="+mj-lt"/>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389466" y="703000"/>
            <a:ext cx="8449733" cy="302417"/>
          </a:xfrm>
          <a:prstGeom prst="rect">
            <a:avLst/>
          </a:prstGeom>
        </p:spPr>
        <p:txBody>
          <a:bodyPr lIns="0" tIns="0" rIns="0" bIns="0"/>
          <a:lstStyle>
            <a:lvl1pPr marL="0" indent="0" algn="l">
              <a:buNone/>
              <a:defRPr sz="16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137809855"/>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0"/>
            <a:ext cx="8458200" cy="457200"/>
          </a:xfrm>
          <a:prstGeom prst="rect">
            <a:avLst/>
          </a:prstGeom>
        </p:spPr>
        <p:txBody>
          <a:bodyPr lIns="0" tIns="0" rIns="0" bIns="0" anchor="t" anchorCtr="0"/>
          <a:lstStyle>
            <a:lvl1pPr algn="l">
              <a:lnSpc>
                <a:spcPct val="90000"/>
              </a:lnSpc>
              <a:defRPr sz="2800">
                <a:solidFill>
                  <a:srgbClr val="000000"/>
                </a:solidFill>
                <a:latin typeface="+mj-lt"/>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1295400"/>
            <a:ext cx="8458200" cy="31242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a:xfrm>
            <a:off x="389466" y="703000"/>
            <a:ext cx="8449733" cy="302417"/>
          </a:xfrm>
          <a:prstGeom prst="rect">
            <a:avLst/>
          </a:prstGeom>
        </p:spPr>
        <p:txBody>
          <a:bodyPr lIns="0" tIns="0" rIns="0" bIns="0"/>
          <a:lstStyle>
            <a:lvl1pPr marL="0" indent="0" algn="l">
              <a:buNone/>
              <a:defRPr sz="16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7861364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990600"/>
            <a:ext cx="40386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4"/>
          <p:cNvSpPr>
            <a:spLocks noGrp="1"/>
          </p:cNvSpPr>
          <p:nvPr>
            <p:ph sz="quarter" idx="11"/>
          </p:nvPr>
        </p:nvSpPr>
        <p:spPr>
          <a:xfrm>
            <a:off x="4800600" y="990600"/>
            <a:ext cx="40386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134774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lumns with subtit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hasCustomPrompt="1"/>
          </p:nvPr>
        </p:nvSpPr>
        <p:spPr>
          <a:xfrm>
            <a:off x="381000" y="1011766"/>
            <a:ext cx="4038600" cy="3407833"/>
          </a:xfrm>
          <a:prstGeom prst="rect">
            <a:avLst/>
          </a:prstGeom>
        </p:spPr>
        <p:txBody>
          <a:bodyPr vert="horz" lIns="0" tIns="0" rIns="0" bIns="0"/>
          <a:lstStyle>
            <a:lvl1pPr marL="0" indent="0">
              <a:spcBef>
                <a:spcPts val="1200"/>
              </a:spcBef>
              <a:buClr>
                <a:schemeClr val="tx2"/>
              </a:buClr>
              <a:buNone/>
              <a:defRPr sz="2000">
                <a:solidFill>
                  <a:srgbClr val="000000"/>
                </a:solidFill>
              </a:defRPr>
            </a:lvl1pPr>
            <a:lvl2pPr marL="169863" indent="-169863">
              <a:spcBef>
                <a:spcPts val="1200"/>
              </a:spcBef>
              <a:buClr>
                <a:schemeClr val="tx1"/>
              </a:buClr>
              <a:buFont typeface="Arial"/>
              <a:buChar char="•"/>
              <a:defRPr sz="1800">
                <a:solidFill>
                  <a:srgbClr val="717073"/>
                </a:solidFill>
              </a:defRPr>
            </a:lvl2pPr>
            <a:lvl3pPr marL="515938" indent="-168275">
              <a:spcBef>
                <a:spcPts val="300"/>
              </a:spcBef>
              <a:buClr>
                <a:schemeClr val="tx1"/>
              </a:buClr>
              <a:buFont typeface="Lucida Grande"/>
              <a:buChar char="­"/>
              <a:defRPr sz="1400">
                <a:solidFill>
                  <a:srgbClr val="717073"/>
                </a:solidFill>
              </a:defRPr>
            </a:lvl3pPr>
            <a:lvl4pPr marL="855663" indent="-169863">
              <a:spcBef>
                <a:spcPts val="300"/>
              </a:spcBef>
              <a:buClr>
                <a:schemeClr val="tx1"/>
              </a:buClr>
              <a:buFont typeface="Arial"/>
              <a:buChar char="•"/>
              <a:defRPr sz="1100">
                <a:solidFill>
                  <a:srgbClr val="717073"/>
                </a:solidFill>
              </a:defRPr>
            </a:lvl4pPr>
            <a:lvl5pPr marL="1201738" indent="-168275">
              <a:spcBef>
                <a:spcPts val="300"/>
              </a:spcBef>
              <a:buClr>
                <a:schemeClr val="tx1"/>
              </a:buClr>
              <a:buFont typeface="Arial"/>
              <a:buChar char="–"/>
              <a:defRPr sz="1050">
                <a:solidFill>
                  <a:srgbClr val="71707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4"/>
          <p:cNvSpPr>
            <a:spLocks noGrp="1"/>
          </p:cNvSpPr>
          <p:nvPr>
            <p:ph sz="quarter" idx="11" hasCustomPrompt="1"/>
          </p:nvPr>
        </p:nvSpPr>
        <p:spPr>
          <a:xfrm>
            <a:off x="4809067" y="1011766"/>
            <a:ext cx="4038600" cy="3407833"/>
          </a:xfrm>
          <a:prstGeom prst="rect">
            <a:avLst/>
          </a:prstGeom>
        </p:spPr>
        <p:txBody>
          <a:bodyPr vert="horz" lIns="0" tIns="0" rIns="0" bIns="0"/>
          <a:lstStyle>
            <a:lvl1pPr marL="0" indent="0">
              <a:spcBef>
                <a:spcPts val="1200"/>
              </a:spcBef>
              <a:buClr>
                <a:schemeClr val="tx2"/>
              </a:buClr>
              <a:buNone/>
              <a:defRPr sz="2000">
                <a:solidFill>
                  <a:srgbClr val="000000"/>
                </a:solidFill>
              </a:defRPr>
            </a:lvl1pPr>
            <a:lvl2pPr marL="169863" indent="-169863">
              <a:spcBef>
                <a:spcPts val="1200"/>
              </a:spcBef>
              <a:buClr>
                <a:schemeClr val="tx1"/>
              </a:buClr>
              <a:buFont typeface="Arial"/>
              <a:buChar char="•"/>
              <a:defRPr sz="1800">
                <a:solidFill>
                  <a:srgbClr val="717073"/>
                </a:solidFill>
              </a:defRPr>
            </a:lvl2pPr>
            <a:lvl3pPr marL="515938" indent="-168275">
              <a:spcBef>
                <a:spcPts val="300"/>
              </a:spcBef>
              <a:buClr>
                <a:schemeClr val="tx1"/>
              </a:buClr>
              <a:buFont typeface="Lucida Grande"/>
              <a:buChar char="­"/>
              <a:defRPr sz="1400">
                <a:solidFill>
                  <a:srgbClr val="717073"/>
                </a:solidFill>
              </a:defRPr>
            </a:lvl3pPr>
            <a:lvl4pPr marL="855663" indent="-169863">
              <a:spcBef>
                <a:spcPts val="300"/>
              </a:spcBef>
              <a:buClr>
                <a:schemeClr val="tx1"/>
              </a:buClr>
              <a:buFont typeface="Arial"/>
              <a:buChar char="•"/>
              <a:defRPr sz="1100">
                <a:solidFill>
                  <a:srgbClr val="717073"/>
                </a:solidFill>
              </a:defRPr>
            </a:lvl4pPr>
            <a:lvl5pPr marL="1201738" indent="-168275">
              <a:spcBef>
                <a:spcPts val="300"/>
              </a:spcBef>
              <a:buClr>
                <a:schemeClr val="tx1"/>
              </a:buClr>
              <a:buFont typeface="Arial"/>
              <a:buChar char="–"/>
              <a:defRPr sz="1050">
                <a:solidFill>
                  <a:srgbClr val="71707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8871752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grpSp>
        <p:nvGrpSpPr>
          <p:cNvPr id="5" name="Group 4"/>
          <p:cNvGrpSpPr/>
          <p:nvPr userDrawn="1"/>
        </p:nvGrpSpPr>
        <p:grpSpPr>
          <a:xfrm>
            <a:off x="1135142" y="3849727"/>
            <a:ext cx="6859693" cy="476172"/>
            <a:chOff x="1135142" y="3849727"/>
            <a:chExt cx="6859693" cy="476172"/>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6711700" y="3990255"/>
              <a:ext cx="1283135" cy="195116"/>
            </a:xfrm>
            <a:prstGeom prst="rect">
              <a:avLst/>
            </a:prstGeom>
          </p:spPr>
        </p:pic>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667843" y="3970703"/>
              <a:ext cx="1021665" cy="234219"/>
            </a:xfrm>
            <a:prstGeom prst="rect">
              <a:avLst/>
            </a:prstGeom>
          </p:spPr>
        </p:pic>
        <p:pic>
          <p:nvPicPr>
            <p:cNvPr id="17" name="Picture 16"/>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299446" y="3917891"/>
              <a:ext cx="727905" cy="339842"/>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35142" y="3936419"/>
              <a:ext cx="938880" cy="302786"/>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608160" y="3849727"/>
              <a:ext cx="476172" cy="476172"/>
            </a:xfrm>
            <a:prstGeom prst="rect">
              <a:avLst/>
            </a:prstGeom>
          </p:spPr>
        </p:pic>
      </p:grpSp>
      <p:pic>
        <p:nvPicPr>
          <p:cNvPr id="11" name="Picture 10" descr="Federation_Logo_Color.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174734" y="646881"/>
            <a:ext cx="2796726" cy="2792637"/>
          </a:xfrm>
          <a:prstGeom prst="rect">
            <a:avLst/>
          </a:prstGeom>
        </p:spPr>
      </p:pic>
    </p:spTree>
    <p:extLst>
      <p:ext uri="{BB962C8B-B14F-4D97-AF65-F5344CB8AC3E}">
        <p14:creationId xmlns:p14="http://schemas.microsoft.com/office/powerpoint/2010/main" val="262878935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892969" y="863947"/>
            <a:ext cx="7358063" cy="1741289"/>
          </a:xfrm>
          <a:prstGeom prst="rect">
            <a:avLst/>
          </a:prstGeom>
        </p:spPr>
        <p:txBody>
          <a:bodyPr lIns="57397" tIns="28698" rIns="57397" bIns="28698" anchor="b"/>
          <a:lstStyle/>
          <a:p>
            <a:pPr lvl="0">
              <a:defRPr sz="1800">
                <a:solidFill>
                  <a:srgbClr val="000000"/>
                </a:solidFill>
              </a:defRPr>
            </a:pPr>
            <a:r>
              <a:rPr sz="5000">
                <a:solidFill>
                  <a:srgbClr val="FFFFFF"/>
                </a:solidFill>
              </a:rPr>
              <a:t>Title Text</a:t>
            </a:r>
          </a:p>
        </p:txBody>
      </p:sp>
      <p:sp>
        <p:nvSpPr>
          <p:cNvPr id="6" name="Shape 6"/>
          <p:cNvSpPr>
            <a:spLocks noGrp="1"/>
          </p:cNvSpPr>
          <p:nvPr>
            <p:ph type="body" idx="1"/>
          </p:nvPr>
        </p:nvSpPr>
        <p:spPr>
          <a:xfrm>
            <a:off x="892969" y="2652117"/>
            <a:ext cx="7358063" cy="596057"/>
          </a:xfrm>
          <a:prstGeom prst="rect">
            <a:avLst/>
          </a:prstGeom>
        </p:spPr>
        <p:txBody>
          <a:bodyPr lIns="57397" tIns="28698" rIns="57397" bIns="28698" anchor="t"/>
          <a:lstStyle>
            <a:lvl1pPr marL="0" indent="0" algn="ctr">
              <a:spcBef>
                <a:spcPts val="0"/>
              </a:spcBef>
              <a:buSzTx/>
              <a:buNone/>
              <a:defRPr sz="2000"/>
            </a:lvl1pPr>
            <a:lvl2pPr marL="0" indent="143492" algn="ctr">
              <a:spcBef>
                <a:spcPts val="0"/>
              </a:spcBef>
              <a:buSzTx/>
              <a:buNone/>
              <a:defRPr sz="2000"/>
            </a:lvl2pPr>
            <a:lvl3pPr marL="0" indent="286984" algn="ctr">
              <a:spcBef>
                <a:spcPts val="0"/>
              </a:spcBef>
              <a:buSzTx/>
              <a:buNone/>
              <a:defRPr sz="2000"/>
            </a:lvl3pPr>
            <a:lvl4pPr marL="0" indent="430477" algn="ctr">
              <a:spcBef>
                <a:spcPts val="0"/>
              </a:spcBef>
              <a:buSzTx/>
              <a:buNone/>
              <a:defRPr sz="2000"/>
            </a:lvl4pPr>
            <a:lvl5pPr marL="0" indent="573969" algn="ctr">
              <a:spcBef>
                <a:spcPts val="0"/>
              </a:spcBef>
              <a:buSzTx/>
              <a:buNone/>
              <a:defRPr sz="2000"/>
            </a:lvl5pPr>
          </a:lstStyle>
          <a:p>
            <a:pPr lvl="0">
              <a:defRPr sz="1800">
                <a:solidFill>
                  <a:srgbClr val="000000"/>
                </a:solidFill>
              </a:defRPr>
            </a:pPr>
            <a:r>
              <a:rPr sz="2000">
                <a:solidFill>
                  <a:srgbClr val="FFFFFF"/>
                </a:solidFill>
              </a:rPr>
              <a:t>Body Level One</a:t>
            </a:r>
          </a:p>
          <a:p>
            <a:pPr lvl="1">
              <a:defRPr sz="1800">
                <a:solidFill>
                  <a:srgbClr val="000000"/>
                </a:solidFill>
              </a:defRPr>
            </a:pPr>
            <a:r>
              <a:rPr sz="2000">
                <a:solidFill>
                  <a:srgbClr val="FFFFFF"/>
                </a:solidFill>
              </a:rPr>
              <a:t>Body Level Two</a:t>
            </a:r>
          </a:p>
          <a:p>
            <a:pPr lvl="2">
              <a:defRPr sz="1800">
                <a:solidFill>
                  <a:srgbClr val="000000"/>
                </a:solidFill>
              </a:defRPr>
            </a:pPr>
            <a:r>
              <a:rPr sz="2000">
                <a:solidFill>
                  <a:srgbClr val="FFFFFF"/>
                </a:solidFill>
              </a:rPr>
              <a:t>Body Level Three</a:t>
            </a:r>
          </a:p>
          <a:p>
            <a:pPr lvl="3">
              <a:defRPr sz="1800">
                <a:solidFill>
                  <a:srgbClr val="000000"/>
                </a:solidFill>
              </a:defRPr>
            </a:pPr>
            <a:r>
              <a:rPr sz="2000">
                <a:solidFill>
                  <a:srgbClr val="FFFFFF"/>
                </a:solidFill>
              </a:rPr>
              <a:t>Body Level Four</a:t>
            </a:r>
          </a:p>
          <a:p>
            <a:pPr lvl="4">
              <a:defRPr sz="1800">
                <a:solidFill>
                  <a:srgbClr val="000000"/>
                </a:solidFill>
              </a:defRPr>
            </a:pPr>
            <a:r>
              <a:rPr sz="2000">
                <a:solidFill>
                  <a:srgbClr val="FFFFFF"/>
                </a:solidFill>
              </a:rPr>
              <a:t>Body Level Five</a:t>
            </a:r>
          </a:p>
        </p:txBody>
      </p:sp>
    </p:spTree>
    <p:extLst>
      <p:ext uri="{BB962C8B-B14F-4D97-AF65-F5344CB8AC3E}">
        <p14:creationId xmlns:p14="http://schemas.microsoft.com/office/powerpoint/2010/main" val="380612818"/>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11" name="Shape 11"/>
          <p:cNvSpPr>
            <a:spLocks noGrp="1"/>
          </p:cNvSpPr>
          <p:nvPr>
            <p:ph type="title"/>
          </p:nvPr>
        </p:nvSpPr>
        <p:spPr>
          <a:xfrm>
            <a:off x="892969" y="1701106"/>
            <a:ext cx="7358063" cy="1741289"/>
          </a:xfrm>
          <a:prstGeom prst="rect">
            <a:avLst/>
          </a:prstGeom>
        </p:spPr>
        <p:txBody>
          <a:bodyPr lIns="57397" tIns="28698" rIns="57397" bIns="28698"/>
          <a:lstStyle/>
          <a:p>
            <a:pPr lvl="0">
              <a:defRPr sz="1800">
                <a:solidFill>
                  <a:srgbClr val="000000"/>
                </a:solidFill>
              </a:defRPr>
            </a:pPr>
            <a:r>
              <a:rPr sz="5000">
                <a:solidFill>
                  <a:srgbClr val="FFFFFF"/>
                </a:solidFill>
              </a:rPr>
              <a:t>Title Text</a:t>
            </a:r>
          </a:p>
        </p:txBody>
      </p:sp>
    </p:spTree>
    <p:extLst>
      <p:ext uri="{BB962C8B-B14F-4D97-AF65-F5344CB8AC3E}">
        <p14:creationId xmlns:p14="http://schemas.microsoft.com/office/powerpoint/2010/main" val="4189388006"/>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ottom Title centered">
    <p:spTree>
      <p:nvGrpSpPr>
        <p:cNvPr id="1" name=""/>
        <p:cNvGrpSpPr/>
        <p:nvPr/>
      </p:nvGrpSpPr>
      <p:grpSpPr>
        <a:xfrm>
          <a:off x="0" y="0"/>
          <a:ext cx="0" cy="0"/>
          <a:chOff x="0" y="0"/>
          <a:chExt cx="0" cy="0"/>
        </a:xfrm>
      </p:grpSpPr>
      <p:pic>
        <p:nvPicPr>
          <p:cNvPr id="3" name="Picture 2" descr="CIO-Summit-FED-0515 for ppt.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44000" cy="3646488"/>
          </a:xfrm>
          <a:prstGeom prst="rect">
            <a:avLst/>
          </a:prstGeom>
        </p:spPr>
      </p:pic>
      <p:sp>
        <p:nvSpPr>
          <p:cNvPr id="10" name="Rectangle 9"/>
          <p:cNvSpPr/>
          <p:nvPr userDrawn="1"/>
        </p:nvSpPr>
        <p:spPr>
          <a:xfrm>
            <a:off x="0" y="2823328"/>
            <a:ext cx="9144000" cy="845612"/>
          </a:xfrm>
          <a:prstGeom prst="rect">
            <a:avLst/>
          </a:prstGeom>
          <a:gradFill flip="none" rotWithShape="1">
            <a:gsLst>
              <a:gs pos="5000">
                <a:schemeClr val="bg1"/>
              </a:gs>
              <a:gs pos="100000">
                <a:schemeClr val="bg1">
                  <a:alpha val="0"/>
                </a:schemeClr>
              </a:gs>
            </a:gsLst>
            <a:lin ang="162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1000" y="3583344"/>
            <a:ext cx="8458200" cy="457200"/>
          </a:xfrm>
          <a:prstGeom prst="rect">
            <a:avLst/>
          </a:prstGeom>
        </p:spPr>
        <p:txBody>
          <a:bodyPr lIns="0" tIns="0" rIns="0" bIns="0" anchor="t" anchorCtr="0"/>
          <a:lstStyle>
            <a:lvl1pPr algn="ctr">
              <a:lnSpc>
                <a:spcPct val="90000"/>
              </a:lnSpc>
              <a:defRPr sz="3200">
                <a:solidFill>
                  <a:srgbClr val="000000"/>
                </a:solidFill>
              </a:defRPr>
            </a:lvl1pPr>
          </a:lstStyle>
          <a:p>
            <a:r>
              <a:rPr lang="en-US" dirty="0" smtClean="0"/>
              <a:t>CLICK TO EDIT MASTER TITLE STYLE</a:t>
            </a:r>
            <a:endParaRPr lang="en-US" dirty="0"/>
          </a:p>
        </p:txBody>
      </p:sp>
      <p:sp>
        <p:nvSpPr>
          <p:cNvPr id="4" name="Subtitle 2"/>
          <p:cNvSpPr>
            <a:spLocks noGrp="1"/>
          </p:cNvSpPr>
          <p:nvPr>
            <p:ph type="subTitle" idx="1" hasCustomPrompt="1"/>
          </p:nvPr>
        </p:nvSpPr>
        <p:spPr>
          <a:xfrm>
            <a:off x="389466" y="4040544"/>
            <a:ext cx="8449733" cy="302417"/>
          </a:xfrm>
          <a:prstGeom prst="rect">
            <a:avLst/>
          </a:prstGeom>
        </p:spPr>
        <p:txBody>
          <a:bodyPr lIns="0" tIns="0" rIns="0" bIns="0"/>
          <a:lstStyle>
            <a:lvl1pPr marL="0" indent="0" algn="ctr">
              <a:buNone/>
              <a:defRPr sz="20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65848046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67" y="228600"/>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990600"/>
            <a:ext cx="84582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0596309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Bottom Title centered">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39725" y="1828373"/>
            <a:ext cx="8458200" cy="1513549"/>
          </a:xfrm>
          <a:prstGeom prst="rect">
            <a:avLst/>
          </a:prstGeom>
        </p:spPr>
        <p:txBody>
          <a:bodyPr lIns="0" tIns="0" rIns="0" bIns="0" anchor="t" anchorCtr="0"/>
          <a:lstStyle>
            <a:lvl1pPr algn="ctr">
              <a:lnSpc>
                <a:spcPct val="90000"/>
              </a:lnSpc>
              <a:defRPr sz="48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8979205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341812" y="919861"/>
            <a:ext cx="4497387" cy="1194689"/>
          </a:xfrm>
          <a:prstGeom prst="rect">
            <a:avLst/>
          </a:prstGeom>
        </p:spPr>
        <p:txBody>
          <a:bodyPr lIns="0" tIns="0" rIns="0" bIns="0" anchor="b" anchorCtr="0"/>
          <a:lstStyle>
            <a:lvl1pPr algn="l">
              <a:lnSpc>
                <a:spcPct val="90000"/>
              </a:lnSpc>
              <a:defRPr sz="3200">
                <a:solidFill>
                  <a:srgbClr val="000000"/>
                </a:solidFill>
                <a:latin typeface="+mn-lt"/>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4341812" y="2190750"/>
            <a:ext cx="4497387" cy="816769"/>
          </a:xfrm>
          <a:prstGeom prst="rect">
            <a:avLst/>
          </a:prstGeom>
        </p:spPr>
        <p:txBody>
          <a:bodyPr lIns="0" tIns="0" rIns="0" bIns="0"/>
          <a:lstStyle>
            <a:lvl1pPr marL="0" indent="0" algn="l">
              <a:spcBef>
                <a:spcPts val="0"/>
              </a:spcBef>
              <a:buNone/>
              <a:defRPr sz="240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Content Placeholder 7"/>
          <p:cNvSpPr>
            <a:spLocks noGrp="1"/>
          </p:cNvSpPr>
          <p:nvPr>
            <p:ph sz="quarter" idx="10"/>
          </p:nvPr>
        </p:nvSpPr>
        <p:spPr>
          <a:xfrm>
            <a:off x="4341812" y="3152619"/>
            <a:ext cx="4497387" cy="304800"/>
          </a:xfrm>
          <a:prstGeom prst="rect">
            <a:avLst/>
          </a:prstGeom>
        </p:spPr>
        <p:txBody>
          <a:bodyPr vert="horz" lIns="0" tIns="0" rIns="0" bIns="0"/>
          <a:lstStyle>
            <a:lvl1pPr marL="0" indent="0">
              <a:spcBef>
                <a:spcPts val="0"/>
              </a:spcBef>
              <a:buNone/>
              <a:defRPr sz="1800">
                <a:solidFill>
                  <a:schemeClr val="bg2"/>
                </a:solidFill>
                <a:latin typeface="+mn-lt"/>
              </a:defRPr>
            </a:lvl1pPr>
            <a:lvl2pPr marL="457200" indent="0">
              <a:buNone/>
              <a:defRPr sz="2000"/>
            </a:lvl2pPr>
            <a:lvl3pPr>
              <a:defRPr sz="1800"/>
            </a:lvl3pPr>
            <a:lvl4pPr>
              <a:defRPr sz="1600"/>
            </a:lvl4pPr>
            <a:lvl5pPr>
              <a:defRPr sz="1600"/>
            </a:lvl5pPr>
          </a:lstStyle>
          <a:p>
            <a:pPr lvl="0"/>
            <a:r>
              <a:rPr lang="en-US" smtClean="0"/>
              <a:t>Click to edit Master text styles</a:t>
            </a:r>
          </a:p>
        </p:txBody>
      </p:sp>
      <p:pic>
        <p:nvPicPr>
          <p:cNvPr id="6" name="Picture 5" descr="CIO-Summit-FED-0515 for ppt.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4078015" cy="4908331"/>
          </a:xfrm>
          <a:prstGeom prst="rect">
            <a:avLst/>
          </a:prstGeom>
        </p:spPr>
      </p:pic>
      <p:sp>
        <p:nvSpPr>
          <p:cNvPr id="7" name="Rectangle 6"/>
          <p:cNvSpPr/>
          <p:nvPr userDrawn="1"/>
        </p:nvSpPr>
        <p:spPr>
          <a:xfrm rot="5400000">
            <a:off x="1010307" y="1840623"/>
            <a:ext cx="2057400" cy="4078014"/>
          </a:xfrm>
          <a:prstGeom prst="rect">
            <a:avLst/>
          </a:prstGeom>
          <a:gradFill flip="none" rotWithShape="1">
            <a:gsLst>
              <a:gs pos="10000">
                <a:schemeClr val="bg1"/>
              </a:gs>
              <a:gs pos="100000">
                <a:schemeClr val="tx1">
                  <a:lumMod val="85000"/>
                  <a:lumOff val="15000"/>
                  <a:alpha val="0"/>
                </a:schemeClr>
              </a:gs>
            </a:gsLst>
            <a:lin ang="108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Tree>
    <p:extLst>
      <p:ext uri="{BB962C8B-B14F-4D97-AF65-F5344CB8AC3E}">
        <p14:creationId xmlns:p14="http://schemas.microsoft.com/office/powerpoint/2010/main" val="227400054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ttom Title centered">
    <p:spTree>
      <p:nvGrpSpPr>
        <p:cNvPr id="1" name=""/>
        <p:cNvGrpSpPr/>
        <p:nvPr/>
      </p:nvGrpSpPr>
      <p:grpSpPr>
        <a:xfrm>
          <a:off x="0" y="0"/>
          <a:ext cx="0" cy="0"/>
          <a:chOff x="0" y="0"/>
          <a:chExt cx="0" cy="0"/>
        </a:xfrm>
      </p:grpSpPr>
      <p:grpSp>
        <p:nvGrpSpPr>
          <p:cNvPr id="15" name="Group 14"/>
          <p:cNvGrpSpPr/>
          <p:nvPr userDrawn="1"/>
        </p:nvGrpSpPr>
        <p:grpSpPr>
          <a:xfrm>
            <a:off x="5830094" y="4651595"/>
            <a:ext cx="2947194" cy="310172"/>
            <a:chOff x="4362003" y="4593555"/>
            <a:chExt cx="3946179" cy="415308"/>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7612039" y="4748281"/>
              <a:ext cx="696143" cy="105857"/>
            </a:xfrm>
            <a:prstGeom prst="rect">
              <a:avLst/>
            </a:prstGeom>
          </p:spPr>
        </p:pic>
        <p:pic>
          <p:nvPicPr>
            <p:cNvPr id="17" name="Picture 1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719739" y="4737673"/>
              <a:ext cx="554287" cy="127072"/>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6493812" y="4709021"/>
              <a:ext cx="394912" cy="184375"/>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987417" y="4719073"/>
              <a:ext cx="509373" cy="164271"/>
            </a:xfrm>
            <a:prstGeom prst="rect">
              <a:avLst/>
            </a:prstGeom>
          </p:spPr>
        </p:pic>
        <p:pic>
          <p:nvPicPr>
            <p:cNvPr id="20" name="Picture 1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104614" y="4672040"/>
              <a:ext cx="258339" cy="258339"/>
            </a:xfrm>
            <a:prstGeom prst="rect">
              <a:avLst/>
            </a:prstGeom>
          </p:spPr>
        </p:pic>
        <p:pic>
          <p:nvPicPr>
            <p:cNvPr id="21" name="Picture 20" descr="Federation_Logo_Color.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62003" y="4593555"/>
              <a:ext cx="415916" cy="415308"/>
            </a:xfrm>
            <a:prstGeom prst="rect">
              <a:avLst/>
            </a:prstGeom>
          </p:spPr>
        </p:pic>
      </p:grpSp>
      <p:sp>
        <p:nvSpPr>
          <p:cNvPr id="2" name="Title 1"/>
          <p:cNvSpPr>
            <a:spLocks noGrp="1"/>
          </p:cNvSpPr>
          <p:nvPr>
            <p:ph type="ctrTitle" hasCustomPrompt="1"/>
          </p:nvPr>
        </p:nvSpPr>
        <p:spPr>
          <a:xfrm>
            <a:off x="341313" y="3881967"/>
            <a:ext cx="8458200" cy="457200"/>
          </a:xfrm>
          <a:prstGeom prst="rect">
            <a:avLst/>
          </a:prstGeom>
        </p:spPr>
        <p:txBody>
          <a:bodyPr lIns="0" tIns="0" rIns="0" bIns="0" anchor="t" anchorCtr="0"/>
          <a:lstStyle>
            <a:lvl1pPr algn="ctr">
              <a:lnSpc>
                <a:spcPct val="90000"/>
              </a:lnSpc>
              <a:defRPr sz="32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2266037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466787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67" y="228600"/>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990600"/>
            <a:ext cx="84582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7667577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624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534808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chemeClr val="tx1"/>
                </a:solidFill>
                <a:latin typeface="+mj-lt"/>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389466" y="703000"/>
            <a:ext cx="8449733" cy="302417"/>
          </a:xfrm>
          <a:prstGeom prst="rect">
            <a:avLst/>
          </a:prstGeom>
        </p:spPr>
        <p:txBody>
          <a:bodyPr lIns="0" tIns="0" rIns="0" bIns="0"/>
          <a:lstStyle>
            <a:lvl1pPr marL="0" indent="0" algn="l">
              <a:buNone/>
              <a:defRPr sz="16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5312001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0"/>
            <a:ext cx="8458200" cy="457200"/>
          </a:xfrm>
          <a:prstGeom prst="rect">
            <a:avLst/>
          </a:prstGeom>
        </p:spPr>
        <p:txBody>
          <a:bodyPr lIns="0" tIns="0" rIns="0" bIns="0" anchor="t" anchorCtr="0"/>
          <a:lstStyle>
            <a:lvl1pPr algn="l">
              <a:lnSpc>
                <a:spcPct val="90000"/>
              </a:lnSpc>
              <a:defRPr sz="2800">
                <a:solidFill>
                  <a:srgbClr val="000000"/>
                </a:solidFill>
                <a:latin typeface="+mj-lt"/>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1295400"/>
            <a:ext cx="8458200" cy="31242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a:xfrm>
            <a:off x="389466" y="703000"/>
            <a:ext cx="8449733" cy="302417"/>
          </a:xfrm>
          <a:prstGeom prst="rect">
            <a:avLst/>
          </a:prstGeom>
        </p:spPr>
        <p:txBody>
          <a:bodyPr lIns="0" tIns="0" rIns="0" bIns="0"/>
          <a:lstStyle>
            <a:lvl1pPr marL="0" indent="0" algn="l">
              <a:buNone/>
              <a:defRPr sz="16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27253800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990600"/>
            <a:ext cx="40386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4"/>
          <p:cNvSpPr>
            <a:spLocks noGrp="1"/>
          </p:cNvSpPr>
          <p:nvPr>
            <p:ph sz="quarter" idx="11"/>
          </p:nvPr>
        </p:nvSpPr>
        <p:spPr>
          <a:xfrm>
            <a:off x="4800600" y="990600"/>
            <a:ext cx="40386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734352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s with subtit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hasCustomPrompt="1"/>
          </p:nvPr>
        </p:nvSpPr>
        <p:spPr>
          <a:xfrm>
            <a:off x="381000" y="1011766"/>
            <a:ext cx="4038600" cy="3407833"/>
          </a:xfrm>
          <a:prstGeom prst="rect">
            <a:avLst/>
          </a:prstGeom>
        </p:spPr>
        <p:txBody>
          <a:bodyPr vert="horz" lIns="0" tIns="0" rIns="0" bIns="0"/>
          <a:lstStyle>
            <a:lvl1pPr marL="0" indent="0">
              <a:spcBef>
                <a:spcPts val="1200"/>
              </a:spcBef>
              <a:buClr>
                <a:schemeClr val="tx2"/>
              </a:buClr>
              <a:buNone/>
              <a:defRPr sz="2000">
                <a:solidFill>
                  <a:srgbClr val="000000"/>
                </a:solidFill>
              </a:defRPr>
            </a:lvl1pPr>
            <a:lvl2pPr marL="169863" indent="-169863">
              <a:spcBef>
                <a:spcPts val="1200"/>
              </a:spcBef>
              <a:buClr>
                <a:schemeClr val="tx1"/>
              </a:buClr>
              <a:buFont typeface="Arial"/>
              <a:buChar char="•"/>
              <a:defRPr sz="1800">
                <a:solidFill>
                  <a:srgbClr val="717073"/>
                </a:solidFill>
              </a:defRPr>
            </a:lvl2pPr>
            <a:lvl3pPr marL="515938" indent="-168275">
              <a:spcBef>
                <a:spcPts val="300"/>
              </a:spcBef>
              <a:buClr>
                <a:schemeClr val="tx1"/>
              </a:buClr>
              <a:buFont typeface="Lucida Grande"/>
              <a:buChar char="­"/>
              <a:defRPr sz="1400">
                <a:solidFill>
                  <a:srgbClr val="717073"/>
                </a:solidFill>
              </a:defRPr>
            </a:lvl3pPr>
            <a:lvl4pPr marL="855663" indent="-169863">
              <a:spcBef>
                <a:spcPts val="300"/>
              </a:spcBef>
              <a:buClr>
                <a:schemeClr val="tx1"/>
              </a:buClr>
              <a:buFont typeface="Arial"/>
              <a:buChar char="•"/>
              <a:defRPr sz="1100">
                <a:solidFill>
                  <a:srgbClr val="717073"/>
                </a:solidFill>
              </a:defRPr>
            </a:lvl4pPr>
            <a:lvl5pPr marL="1201738" indent="-168275">
              <a:spcBef>
                <a:spcPts val="300"/>
              </a:spcBef>
              <a:buClr>
                <a:schemeClr val="tx1"/>
              </a:buClr>
              <a:buFont typeface="Arial"/>
              <a:buChar char="–"/>
              <a:defRPr sz="1050">
                <a:solidFill>
                  <a:srgbClr val="71707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4"/>
          <p:cNvSpPr>
            <a:spLocks noGrp="1"/>
          </p:cNvSpPr>
          <p:nvPr>
            <p:ph sz="quarter" idx="11" hasCustomPrompt="1"/>
          </p:nvPr>
        </p:nvSpPr>
        <p:spPr>
          <a:xfrm>
            <a:off x="4809067" y="1011766"/>
            <a:ext cx="4038600" cy="3407833"/>
          </a:xfrm>
          <a:prstGeom prst="rect">
            <a:avLst/>
          </a:prstGeom>
        </p:spPr>
        <p:txBody>
          <a:bodyPr vert="horz" lIns="0" tIns="0" rIns="0" bIns="0"/>
          <a:lstStyle>
            <a:lvl1pPr marL="0" indent="0">
              <a:spcBef>
                <a:spcPts val="1200"/>
              </a:spcBef>
              <a:buClr>
                <a:schemeClr val="tx2"/>
              </a:buClr>
              <a:buNone/>
              <a:defRPr sz="2000">
                <a:solidFill>
                  <a:srgbClr val="000000"/>
                </a:solidFill>
              </a:defRPr>
            </a:lvl1pPr>
            <a:lvl2pPr marL="169863" indent="-169863">
              <a:spcBef>
                <a:spcPts val="1200"/>
              </a:spcBef>
              <a:buClr>
                <a:schemeClr val="tx1"/>
              </a:buClr>
              <a:buFont typeface="Arial"/>
              <a:buChar char="•"/>
              <a:defRPr sz="1800">
                <a:solidFill>
                  <a:srgbClr val="717073"/>
                </a:solidFill>
              </a:defRPr>
            </a:lvl2pPr>
            <a:lvl3pPr marL="515938" indent="-168275">
              <a:spcBef>
                <a:spcPts val="300"/>
              </a:spcBef>
              <a:buClr>
                <a:schemeClr val="tx1"/>
              </a:buClr>
              <a:buFont typeface="Lucida Grande"/>
              <a:buChar char="­"/>
              <a:defRPr sz="1400">
                <a:solidFill>
                  <a:srgbClr val="717073"/>
                </a:solidFill>
              </a:defRPr>
            </a:lvl3pPr>
            <a:lvl4pPr marL="855663" indent="-169863">
              <a:spcBef>
                <a:spcPts val="300"/>
              </a:spcBef>
              <a:buClr>
                <a:schemeClr val="tx1"/>
              </a:buClr>
              <a:buFont typeface="Arial"/>
              <a:buChar char="•"/>
              <a:defRPr sz="1100">
                <a:solidFill>
                  <a:srgbClr val="717073"/>
                </a:solidFill>
              </a:defRPr>
            </a:lvl4pPr>
            <a:lvl5pPr marL="1201738" indent="-168275">
              <a:spcBef>
                <a:spcPts val="300"/>
              </a:spcBef>
              <a:buClr>
                <a:schemeClr val="tx1"/>
              </a:buClr>
              <a:buFont typeface="Arial"/>
              <a:buChar char="–"/>
              <a:defRPr sz="1050">
                <a:solidFill>
                  <a:srgbClr val="71707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6873189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624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3174085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grpSp>
        <p:nvGrpSpPr>
          <p:cNvPr id="5" name="Group 4"/>
          <p:cNvGrpSpPr/>
          <p:nvPr userDrawn="1"/>
        </p:nvGrpSpPr>
        <p:grpSpPr>
          <a:xfrm>
            <a:off x="1135142" y="3849727"/>
            <a:ext cx="6859693" cy="476172"/>
            <a:chOff x="1135142" y="3849727"/>
            <a:chExt cx="6859693" cy="476172"/>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6711700" y="3990255"/>
              <a:ext cx="1283135" cy="195116"/>
            </a:xfrm>
            <a:prstGeom prst="rect">
              <a:avLst/>
            </a:prstGeom>
          </p:spPr>
        </p:pic>
        <p:pic>
          <p:nvPicPr>
            <p:cNvPr id="16" name="Picture 1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667843" y="3970703"/>
              <a:ext cx="1021665" cy="234219"/>
            </a:xfrm>
            <a:prstGeom prst="rect">
              <a:avLst/>
            </a:prstGeom>
          </p:spPr>
        </p:pic>
        <p:pic>
          <p:nvPicPr>
            <p:cNvPr id="17" name="Picture 16"/>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bwMode="gray">
            <a:xfrm>
              <a:off x="4299446" y="3917891"/>
              <a:ext cx="727905" cy="339842"/>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135142" y="3936419"/>
              <a:ext cx="938880" cy="302786"/>
            </a:xfrm>
            <a:prstGeom prst="rect">
              <a:avLst/>
            </a:prstGeom>
          </p:spPr>
        </p:pic>
        <p:pic>
          <p:nvPicPr>
            <p:cNvPr id="19" name="Picture 1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608160" y="3849727"/>
              <a:ext cx="476172" cy="476172"/>
            </a:xfrm>
            <a:prstGeom prst="rect">
              <a:avLst/>
            </a:prstGeom>
          </p:spPr>
        </p:pic>
      </p:grpSp>
      <p:pic>
        <p:nvPicPr>
          <p:cNvPr id="11" name="Picture 10" descr="Federation_Logo_Color.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174734" y="646881"/>
            <a:ext cx="2796726" cy="2792637"/>
          </a:xfrm>
          <a:prstGeom prst="rect">
            <a:avLst/>
          </a:prstGeom>
        </p:spPr>
      </p:pic>
    </p:spTree>
    <p:extLst>
      <p:ext uri="{BB962C8B-B14F-4D97-AF65-F5344CB8AC3E}">
        <p14:creationId xmlns:p14="http://schemas.microsoft.com/office/powerpoint/2010/main" val="38257854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 column right">
    <p:spTree>
      <p:nvGrpSpPr>
        <p:cNvPr id="1" name=""/>
        <p:cNvGrpSpPr/>
        <p:nvPr/>
      </p:nvGrpSpPr>
      <p:grpSpPr>
        <a:xfrm>
          <a:off x="0" y="0"/>
          <a:ext cx="0" cy="0"/>
          <a:chOff x="0" y="0"/>
          <a:chExt cx="0" cy="0"/>
        </a:xfrm>
      </p:grpSpPr>
      <p:sp>
        <p:nvSpPr>
          <p:cNvPr id="2" name="Title 1"/>
          <p:cNvSpPr>
            <a:spLocks noGrp="1"/>
          </p:cNvSpPr>
          <p:nvPr>
            <p:ph type="ctrTitle"/>
          </p:nvPr>
        </p:nvSpPr>
        <p:spPr>
          <a:xfrm>
            <a:off x="381000" y="228601"/>
            <a:ext cx="8458200" cy="457200"/>
          </a:xfrm>
          <a:prstGeom prst="rect">
            <a:avLst/>
          </a:prstGeom>
        </p:spPr>
        <p:txBody>
          <a:bodyPr lIns="0" tIns="0" rIns="0" bIns="0" anchor="t" anchorCtr="0"/>
          <a:lstStyle>
            <a:lvl1pPr algn="l">
              <a:lnSpc>
                <a:spcPct val="90000"/>
              </a:lnSpc>
              <a:defRPr sz="3200">
                <a:solidFill>
                  <a:srgbClr val="000000"/>
                </a:solidFill>
                <a:latin typeface="+mj-lt"/>
              </a:defRPr>
            </a:lvl1pPr>
          </a:lstStyle>
          <a:p>
            <a:r>
              <a:rPr lang="en-US" smtClean="0"/>
              <a:t>Click to edit Master title style</a:t>
            </a:r>
            <a:endParaRPr lang="en-US" dirty="0"/>
          </a:p>
        </p:txBody>
      </p:sp>
      <p:sp>
        <p:nvSpPr>
          <p:cNvPr id="4" name="Content Placeholder 4"/>
          <p:cNvSpPr>
            <a:spLocks noGrp="1"/>
          </p:cNvSpPr>
          <p:nvPr>
            <p:ph sz="quarter" idx="11"/>
          </p:nvPr>
        </p:nvSpPr>
        <p:spPr>
          <a:xfrm>
            <a:off x="4800600" y="990600"/>
            <a:ext cx="4038600" cy="3429000"/>
          </a:xfrm>
          <a:prstGeom prst="rect">
            <a:avLst/>
          </a:prstGeom>
        </p:spPr>
        <p:txBody>
          <a:bodyPr vert="horz" lIns="0" tIns="0" rIns="0" bIns="0"/>
          <a:lstStyle>
            <a:lvl1pPr marL="228600" indent="-228600">
              <a:spcBef>
                <a:spcPts val="1200"/>
              </a:spcBef>
              <a:buClr>
                <a:schemeClr val="tx1"/>
              </a:buClr>
              <a:defRPr sz="2400">
                <a:solidFill>
                  <a:srgbClr val="717073"/>
                </a:solidFill>
                <a:latin typeface="+mn-lt"/>
              </a:defRPr>
            </a:lvl1pPr>
            <a:lvl2pPr>
              <a:spcBef>
                <a:spcPts val="300"/>
              </a:spcBef>
              <a:buClr>
                <a:schemeClr val="tx1"/>
              </a:buClr>
              <a:defRPr sz="2000">
                <a:solidFill>
                  <a:srgbClr val="717073"/>
                </a:solidFill>
                <a:latin typeface="+mn-lt"/>
              </a:defRPr>
            </a:lvl2pPr>
            <a:lvl3pPr marL="1084263" indent="-169863">
              <a:spcBef>
                <a:spcPts val="300"/>
              </a:spcBef>
              <a:buClr>
                <a:schemeClr val="tx1"/>
              </a:buClr>
              <a:defRPr sz="1600">
                <a:solidFill>
                  <a:srgbClr val="717073"/>
                </a:solidFill>
                <a:latin typeface="+mn-lt"/>
              </a:defRPr>
            </a:lvl3pPr>
            <a:lvl4pPr marL="1430338" indent="-168275">
              <a:spcBef>
                <a:spcPts val="300"/>
              </a:spcBef>
              <a:buClr>
                <a:schemeClr val="tx1"/>
              </a:buClr>
              <a:defRPr sz="1200">
                <a:solidFill>
                  <a:srgbClr val="717073"/>
                </a:solidFill>
                <a:latin typeface="+mn-lt"/>
              </a:defRPr>
            </a:lvl4pPr>
            <a:lvl5pPr marL="1770063" indent="-169863">
              <a:spcBef>
                <a:spcPts val="300"/>
              </a:spcBef>
              <a:buClr>
                <a:schemeClr val="tx1"/>
              </a:buClr>
              <a:buFont typeface="Arial"/>
              <a:buChar char="•"/>
              <a:defRPr sz="1100">
                <a:solidFill>
                  <a:srgbClr val="717073"/>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9596975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ver Layout 1">
    <p:spTree>
      <p:nvGrpSpPr>
        <p:cNvPr id="1" name=""/>
        <p:cNvGrpSpPr/>
        <p:nvPr/>
      </p:nvGrpSpPr>
      <p:grpSpPr>
        <a:xfrm>
          <a:off x="0" y="0"/>
          <a:ext cx="0" cy="0"/>
          <a:chOff x="0" y="0"/>
          <a:chExt cx="0" cy="0"/>
        </a:xfrm>
      </p:grpSpPr>
      <p:sp>
        <p:nvSpPr>
          <p:cNvPr id="7" name="Picture Placeholder 2"/>
          <p:cNvSpPr>
            <a:spLocks noGrp="1"/>
          </p:cNvSpPr>
          <p:nvPr>
            <p:ph type="pic" idx="11"/>
          </p:nvPr>
        </p:nvSpPr>
        <p:spPr>
          <a:xfrm>
            <a:off x="0" y="2379"/>
            <a:ext cx="9144000" cy="4987133"/>
          </a:xfrm>
          <a:prstGeom prst="rect">
            <a:avLst/>
          </a:prstGeom>
        </p:spPr>
        <p:txBody>
          <a:bodyPr/>
          <a:lstStyle>
            <a:lvl1pPr marL="0" indent="0">
              <a:buNone/>
              <a:defRPr sz="1800">
                <a:solidFill>
                  <a:schemeClr val="bg2"/>
                </a:solidFill>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2" name="Title 1"/>
          <p:cNvSpPr>
            <a:spLocks noGrp="1"/>
          </p:cNvSpPr>
          <p:nvPr>
            <p:ph type="ctrTitle"/>
          </p:nvPr>
        </p:nvSpPr>
        <p:spPr>
          <a:xfrm>
            <a:off x="523874" y="4114800"/>
            <a:ext cx="6738850" cy="413989"/>
          </a:xfrm>
          <a:prstGeom prst="rect">
            <a:avLst/>
          </a:prstGeom>
        </p:spPr>
        <p:txBody>
          <a:bodyPr lIns="0" tIns="0" rIns="0" bIns="0" anchor="t" anchorCtr="0"/>
          <a:lstStyle>
            <a:lvl1pPr algn="l">
              <a:lnSpc>
                <a:spcPct val="80000"/>
              </a:lnSpc>
              <a:defRPr sz="2800">
                <a:solidFill>
                  <a:schemeClr val="tx2"/>
                </a:solidFill>
                <a:latin typeface="+mn-lt"/>
              </a:defRPr>
            </a:lvl1pPr>
          </a:lstStyle>
          <a:p>
            <a:r>
              <a:rPr lang="en-US" smtClean="0"/>
              <a:t>Click to edit Master title style</a:t>
            </a:r>
            <a:endParaRPr lang="en-US" dirty="0"/>
          </a:p>
        </p:txBody>
      </p:sp>
      <p:sp>
        <p:nvSpPr>
          <p:cNvPr id="3" name="Subtitle 2"/>
          <p:cNvSpPr>
            <a:spLocks noGrp="1"/>
          </p:cNvSpPr>
          <p:nvPr>
            <p:ph type="subTitle" idx="1"/>
          </p:nvPr>
        </p:nvSpPr>
        <p:spPr>
          <a:xfrm>
            <a:off x="523874" y="4535865"/>
            <a:ext cx="6738850" cy="269994"/>
          </a:xfrm>
          <a:prstGeom prst="rect">
            <a:avLst/>
          </a:prstGeom>
        </p:spPr>
        <p:txBody>
          <a:bodyPr lIns="0" tIns="0" rIns="0" bIns="0"/>
          <a:lstStyle>
            <a:lvl1pPr marL="0" indent="0" algn="l">
              <a:buNone/>
              <a:defRPr sz="160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grpSp>
        <p:nvGrpSpPr>
          <p:cNvPr id="4" name="Group 3"/>
          <p:cNvGrpSpPr/>
          <p:nvPr/>
        </p:nvGrpSpPr>
        <p:grpSpPr>
          <a:xfrm>
            <a:off x="7505596" y="4095749"/>
            <a:ext cx="951017" cy="1047751"/>
            <a:chOff x="7618413" y="4303992"/>
            <a:chExt cx="762000" cy="839508"/>
          </a:xfrm>
        </p:grpSpPr>
        <p:sp>
          <p:nvSpPr>
            <p:cNvPr id="8" name="Rectangle 7"/>
            <p:cNvSpPr/>
            <p:nvPr userDrawn="1"/>
          </p:nvSpPr>
          <p:spPr>
            <a:xfrm>
              <a:off x="7618413" y="4303992"/>
              <a:ext cx="762000" cy="83950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2" name="Picture 11" descr="EMC logo white_300dpi.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728486" y="4429482"/>
              <a:ext cx="531651" cy="184909"/>
            </a:xfrm>
            <a:prstGeom prst="rect">
              <a:avLst/>
            </a:prstGeom>
          </p:spPr>
        </p:pic>
      </p:grpSp>
    </p:spTree>
    <p:extLst>
      <p:ext uri="{BB962C8B-B14F-4D97-AF65-F5344CB8AC3E}">
        <p14:creationId xmlns:p14="http://schemas.microsoft.com/office/powerpoint/2010/main" val="630475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ver Layout 2">
    <p:spTree>
      <p:nvGrpSpPr>
        <p:cNvPr id="1" name=""/>
        <p:cNvGrpSpPr/>
        <p:nvPr/>
      </p:nvGrpSpPr>
      <p:grpSpPr>
        <a:xfrm>
          <a:off x="0" y="0"/>
          <a:ext cx="0" cy="0"/>
          <a:chOff x="0" y="0"/>
          <a:chExt cx="0" cy="0"/>
        </a:xfrm>
      </p:grpSpPr>
      <p:sp>
        <p:nvSpPr>
          <p:cNvPr id="2" name="Title 1"/>
          <p:cNvSpPr>
            <a:spLocks noGrp="1"/>
          </p:cNvSpPr>
          <p:nvPr>
            <p:ph type="ctrTitle"/>
          </p:nvPr>
        </p:nvSpPr>
        <p:spPr>
          <a:xfrm>
            <a:off x="3663996" y="919861"/>
            <a:ext cx="5175204" cy="1194689"/>
          </a:xfrm>
          <a:prstGeom prst="rect">
            <a:avLst/>
          </a:prstGeom>
        </p:spPr>
        <p:txBody>
          <a:bodyPr lIns="0" tIns="0" rIns="0" bIns="0" anchor="b" anchorCtr="0"/>
          <a:lstStyle>
            <a:lvl1pPr algn="l">
              <a:lnSpc>
                <a:spcPct val="90000"/>
              </a:lnSpc>
              <a:defRPr>
                <a:solidFill>
                  <a:schemeClr val="tx2"/>
                </a:solidFill>
                <a:latin typeface="+mn-lt"/>
              </a:defRPr>
            </a:lvl1pPr>
          </a:lstStyle>
          <a:p>
            <a:r>
              <a:rPr lang="en-US" smtClean="0"/>
              <a:t>Click to edit Master title style</a:t>
            </a:r>
            <a:endParaRPr lang="en-US" dirty="0"/>
          </a:p>
        </p:txBody>
      </p:sp>
      <p:sp>
        <p:nvSpPr>
          <p:cNvPr id="3" name="Subtitle 2"/>
          <p:cNvSpPr>
            <a:spLocks noGrp="1"/>
          </p:cNvSpPr>
          <p:nvPr>
            <p:ph type="subTitle" idx="1"/>
          </p:nvPr>
        </p:nvSpPr>
        <p:spPr>
          <a:xfrm>
            <a:off x="3663996" y="2440781"/>
            <a:ext cx="5175204" cy="816769"/>
          </a:xfrm>
          <a:prstGeom prst="rect">
            <a:avLst/>
          </a:prstGeom>
        </p:spPr>
        <p:txBody>
          <a:bodyPr lIns="0" tIns="0" rIns="0" bIns="0"/>
          <a:lstStyle>
            <a:lvl1pPr marL="0" indent="0" algn="l">
              <a:buNone/>
              <a:defRPr sz="2400">
                <a:solidFill>
                  <a:srgbClr val="717074"/>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Picture Placeholder 2"/>
          <p:cNvSpPr>
            <a:spLocks noGrp="1"/>
          </p:cNvSpPr>
          <p:nvPr>
            <p:ph type="pic" idx="11"/>
          </p:nvPr>
        </p:nvSpPr>
        <p:spPr>
          <a:xfrm>
            <a:off x="0" y="2380"/>
            <a:ext cx="3276600" cy="5141120"/>
          </a:xfrm>
          <a:prstGeom prst="rect">
            <a:avLst/>
          </a:prstGeom>
        </p:spPr>
        <p:txBody>
          <a:bodyPr/>
          <a:lstStyle>
            <a:lvl1pPr marL="0" indent="0">
              <a:buNone/>
              <a:defRPr sz="1800">
                <a:solidFill>
                  <a:schemeClr val="bg2"/>
                </a:solidFill>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5" name="Content Placeholder 4"/>
          <p:cNvSpPr>
            <a:spLocks noGrp="1"/>
          </p:cNvSpPr>
          <p:nvPr>
            <p:ph sz="quarter" idx="10"/>
          </p:nvPr>
        </p:nvSpPr>
        <p:spPr>
          <a:xfrm>
            <a:off x="3663996" y="3332938"/>
            <a:ext cx="5175204" cy="357957"/>
          </a:xfrm>
          <a:prstGeom prst="rect">
            <a:avLst/>
          </a:prstGeom>
        </p:spPr>
        <p:txBody>
          <a:bodyPr vert="horz" lIns="0" tIns="0" rIns="0" bIns="0"/>
          <a:lstStyle>
            <a:lvl1pPr marL="0" indent="0">
              <a:spcBef>
                <a:spcPts val="1200"/>
              </a:spcBef>
              <a:buClr>
                <a:schemeClr val="tx2"/>
              </a:buClr>
              <a:buNone/>
              <a:defRPr sz="1800">
                <a:solidFill>
                  <a:srgbClr val="717074"/>
                </a:solidFill>
                <a:latin typeface="+mn-lt"/>
              </a:defRPr>
            </a:lvl1pPr>
            <a:lvl2pPr>
              <a:spcBef>
                <a:spcPts val="300"/>
              </a:spcBef>
              <a:buClr>
                <a:schemeClr val="tx2"/>
              </a:buClr>
              <a:defRPr sz="2000">
                <a:solidFill>
                  <a:srgbClr val="717074"/>
                </a:solidFill>
                <a:latin typeface="+mn-lt"/>
              </a:defRPr>
            </a:lvl2pPr>
            <a:lvl3pPr marL="1084263" indent="-169863">
              <a:spcBef>
                <a:spcPts val="300"/>
              </a:spcBef>
              <a:buClr>
                <a:schemeClr val="tx2"/>
              </a:buClr>
              <a:defRPr sz="1600">
                <a:solidFill>
                  <a:srgbClr val="717074"/>
                </a:solidFill>
                <a:latin typeface="+mn-lt"/>
              </a:defRPr>
            </a:lvl3pPr>
            <a:lvl4pPr marL="1430338" indent="-168275">
              <a:spcBef>
                <a:spcPts val="300"/>
              </a:spcBef>
              <a:buClr>
                <a:schemeClr val="tx2"/>
              </a:buClr>
              <a:defRPr sz="1200">
                <a:solidFill>
                  <a:srgbClr val="717074"/>
                </a:solidFill>
                <a:latin typeface="+mn-lt"/>
              </a:defRPr>
            </a:lvl4pPr>
            <a:lvl5pPr marL="1770063" indent="-169863">
              <a:spcBef>
                <a:spcPts val="300"/>
              </a:spcBef>
              <a:buClr>
                <a:schemeClr val="tx2"/>
              </a:buClr>
              <a:buFont typeface="Arial"/>
              <a:buChar char="•"/>
              <a:defRPr sz="1100">
                <a:solidFill>
                  <a:srgbClr val="717074"/>
                </a:solidFill>
                <a:latin typeface="+mn-lt"/>
              </a:defRPr>
            </a:lvl5pPr>
          </a:lstStyle>
          <a:p>
            <a:pPr lvl="0"/>
            <a:r>
              <a:rPr lang="en-US" smtClean="0"/>
              <a:t>Click to edit Master text styles</a:t>
            </a:r>
          </a:p>
        </p:txBody>
      </p:sp>
      <p:grpSp>
        <p:nvGrpSpPr>
          <p:cNvPr id="6" name="Group 5"/>
          <p:cNvGrpSpPr/>
          <p:nvPr/>
        </p:nvGrpSpPr>
        <p:grpSpPr>
          <a:xfrm>
            <a:off x="7505596" y="4095749"/>
            <a:ext cx="951017" cy="1047751"/>
            <a:chOff x="7618413" y="4303992"/>
            <a:chExt cx="762000" cy="839508"/>
          </a:xfrm>
        </p:grpSpPr>
        <p:sp>
          <p:nvSpPr>
            <p:cNvPr id="7" name="Rectangle 6"/>
            <p:cNvSpPr/>
            <p:nvPr userDrawn="1"/>
          </p:nvSpPr>
          <p:spPr>
            <a:xfrm>
              <a:off x="7618413" y="4303992"/>
              <a:ext cx="762000" cy="83950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8" name="Picture 7" descr="EMC logo white_300dpi.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728486" y="4429482"/>
              <a:ext cx="531651" cy="184909"/>
            </a:xfrm>
            <a:prstGeom prst="rect">
              <a:avLst/>
            </a:prstGeom>
          </p:spPr>
        </p:pic>
      </p:grpSp>
    </p:spTree>
    <p:extLst>
      <p:ext uri="{BB962C8B-B14F-4D97-AF65-F5344CB8AC3E}">
        <p14:creationId xmlns:p14="http://schemas.microsoft.com/office/powerpoint/2010/main" val="2961732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vider with text">
    <p:spTree>
      <p:nvGrpSpPr>
        <p:cNvPr id="1" name=""/>
        <p:cNvGrpSpPr/>
        <p:nvPr/>
      </p:nvGrpSpPr>
      <p:grpSpPr>
        <a:xfrm>
          <a:off x="0" y="0"/>
          <a:ext cx="0" cy="0"/>
          <a:chOff x="0" y="0"/>
          <a:chExt cx="0" cy="0"/>
        </a:xfrm>
      </p:grpSpPr>
      <p:sp>
        <p:nvSpPr>
          <p:cNvPr id="2" name="Title 1"/>
          <p:cNvSpPr>
            <a:spLocks noGrp="1"/>
          </p:cNvSpPr>
          <p:nvPr>
            <p:ph type="ctrTitle"/>
          </p:nvPr>
        </p:nvSpPr>
        <p:spPr>
          <a:xfrm>
            <a:off x="2743200" y="919861"/>
            <a:ext cx="6096000" cy="1194689"/>
          </a:xfrm>
          <a:prstGeom prst="rect">
            <a:avLst/>
          </a:prstGeom>
        </p:spPr>
        <p:txBody>
          <a:bodyPr lIns="0" tIns="0" rIns="0" bIns="0" anchor="b" anchorCtr="0"/>
          <a:lstStyle>
            <a:lvl1pPr algn="l">
              <a:lnSpc>
                <a:spcPct val="90000"/>
              </a:lnSpc>
              <a:defRPr>
                <a:solidFill>
                  <a:schemeClr val="tx2"/>
                </a:solidFill>
                <a:latin typeface="+mj-lt"/>
              </a:defRPr>
            </a:lvl1pPr>
          </a:lstStyle>
          <a:p>
            <a:r>
              <a:rPr lang="en-US" smtClean="0"/>
              <a:t>Click to edit Master title style</a:t>
            </a:r>
            <a:endParaRPr lang="en-US" dirty="0"/>
          </a:p>
        </p:txBody>
      </p:sp>
      <p:sp>
        <p:nvSpPr>
          <p:cNvPr id="5" name="Content Placeholder 4"/>
          <p:cNvSpPr>
            <a:spLocks noGrp="1"/>
          </p:cNvSpPr>
          <p:nvPr>
            <p:ph sz="quarter" idx="10"/>
          </p:nvPr>
        </p:nvSpPr>
        <p:spPr>
          <a:xfrm>
            <a:off x="2743200" y="2419350"/>
            <a:ext cx="6096000" cy="1905000"/>
          </a:xfrm>
          <a:prstGeom prst="rect">
            <a:avLst/>
          </a:prstGeom>
        </p:spPr>
        <p:txBody>
          <a:bodyPr vert="horz" lIns="0" tIns="0" rIns="0" bIns="0"/>
          <a:lstStyle>
            <a:lvl1pPr marL="228600" indent="-228600">
              <a:spcBef>
                <a:spcPts val="1200"/>
              </a:spcBef>
              <a:buClr>
                <a:schemeClr val="tx2"/>
              </a:buClr>
              <a:defRPr sz="2400">
                <a:solidFill>
                  <a:srgbClr val="717074"/>
                </a:solidFill>
                <a:latin typeface="+mn-lt"/>
              </a:defRPr>
            </a:lvl1pPr>
            <a:lvl2pPr>
              <a:spcBef>
                <a:spcPts val="300"/>
              </a:spcBef>
              <a:buClr>
                <a:schemeClr val="tx2"/>
              </a:buClr>
              <a:defRPr sz="2000">
                <a:solidFill>
                  <a:srgbClr val="717074"/>
                </a:solidFill>
                <a:latin typeface="+mn-lt"/>
              </a:defRPr>
            </a:lvl2pPr>
            <a:lvl3pPr marL="1084263" indent="-169863">
              <a:spcBef>
                <a:spcPts val="300"/>
              </a:spcBef>
              <a:buClr>
                <a:schemeClr val="tx2"/>
              </a:buClr>
              <a:defRPr sz="1600">
                <a:solidFill>
                  <a:srgbClr val="717074"/>
                </a:solidFill>
                <a:latin typeface="+mn-lt"/>
              </a:defRPr>
            </a:lvl3pPr>
            <a:lvl4pPr marL="1430338" indent="-168275">
              <a:spcBef>
                <a:spcPts val="300"/>
              </a:spcBef>
              <a:buClr>
                <a:schemeClr val="tx2"/>
              </a:buClr>
              <a:defRPr sz="1200">
                <a:solidFill>
                  <a:srgbClr val="717074"/>
                </a:solidFill>
                <a:latin typeface="+mn-lt"/>
              </a:defRPr>
            </a:lvl4pPr>
            <a:lvl5pPr marL="1770063" indent="-169863">
              <a:spcBef>
                <a:spcPts val="300"/>
              </a:spcBef>
              <a:buClr>
                <a:schemeClr val="tx2"/>
              </a:buClr>
              <a:buFont typeface="Arial"/>
              <a:buChar char="•"/>
              <a:defRPr sz="1100">
                <a:solidFill>
                  <a:srgbClr val="71707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464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02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0"/>
            <a:ext cx="8458200" cy="457200"/>
          </a:xfrm>
          <a:prstGeom prst="rect">
            <a:avLst/>
          </a:prstGeom>
        </p:spPr>
        <p:txBody>
          <a:bodyPr lIns="0" tIns="0" rIns="0" bIns="0" anchor="t" anchorCtr="0"/>
          <a:lstStyle>
            <a:lvl1pPr algn="l">
              <a:lnSpc>
                <a:spcPct val="90000"/>
              </a:lnSpc>
              <a:defRPr sz="3200">
                <a:solidFill>
                  <a:schemeClr val="tx2"/>
                </a:solidFill>
                <a:latin typeface="Architects Daughter"/>
                <a:cs typeface="Architects Daughter"/>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79413" y="990600"/>
            <a:ext cx="8458200" cy="3429000"/>
          </a:xfrm>
          <a:prstGeom prst="rect">
            <a:avLst/>
          </a:prstGeom>
        </p:spPr>
        <p:txBody>
          <a:bodyPr vert="horz" lIns="0" tIns="0" rIns="0" bIns="0"/>
          <a:lstStyle>
            <a:lvl1pPr marL="228600" indent="-228600">
              <a:spcBef>
                <a:spcPts val="1200"/>
              </a:spcBef>
              <a:buClr>
                <a:schemeClr val="tx2"/>
              </a:buClr>
              <a:defRPr sz="2400">
                <a:solidFill>
                  <a:schemeClr val="bg2"/>
                </a:solidFill>
              </a:defRPr>
            </a:lvl1pPr>
            <a:lvl2pPr>
              <a:spcBef>
                <a:spcPts val="300"/>
              </a:spcBef>
              <a:buClr>
                <a:schemeClr val="tx2"/>
              </a:buClr>
              <a:defRPr sz="2000">
                <a:solidFill>
                  <a:schemeClr val="bg2"/>
                </a:solidFill>
              </a:defRPr>
            </a:lvl2pPr>
            <a:lvl3pPr marL="1084263" indent="-169863">
              <a:spcBef>
                <a:spcPts val="300"/>
              </a:spcBef>
              <a:buClr>
                <a:schemeClr val="tx2"/>
              </a:buClr>
              <a:defRPr sz="1600">
                <a:solidFill>
                  <a:schemeClr val="bg2"/>
                </a:solidFill>
              </a:defRPr>
            </a:lvl3pPr>
            <a:lvl4pPr marL="1430338" indent="-168275">
              <a:spcBef>
                <a:spcPts val="300"/>
              </a:spcBef>
              <a:buClr>
                <a:schemeClr val="tx2"/>
              </a:buClr>
              <a:defRPr sz="1200">
                <a:solidFill>
                  <a:schemeClr val="bg2"/>
                </a:solidFill>
              </a:defRPr>
            </a:lvl4pPr>
            <a:lvl5pPr marL="1770063" indent="-169863">
              <a:spcBef>
                <a:spcPts val="300"/>
              </a:spcBef>
              <a:buClr>
                <a:schemeClr val="tx2"/>
              </a:buClr>
              <a:buFont typeface="Arial"/>
              <a:buChar char="•"/>
              <a:defRPr sz="110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1721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1"/>
            <a:ext cx="8458200" cy="457200"/>
          </a:xfrm>
          <a:prstGeom prst="rect">
            <a:avLst/>
          </a:prstGeom>
        </p:spPr>
        <p:txBody>
          <a:bodyPr lIns="0" tIns="0" rIns="0" bIns="0" anchor="t" anchorCtr="0"/>
          <a:lstStyle>
            <a:lvl1pPr algn="l">
              <a:lnSpc>
                <a:spcPct val="90000"/>
              </a:lnSpc>
              <a:defRPr sz="3200">
                <a:solidFill>
                  <a:schemeClr val="tx2"/>
                </a:solidFill>
                <a:latin typeface="Architects Daughter"/>
                <a:cs typeface="Architects Daughter"/>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54780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1"/>
            <a:ext cx="8458200" cy="457200"/>
          </a:xfrm>
          <a:prstGeom prst="rect">
            <a:avLst/>
          </a:prstGeom>
        </p:spPr>
        <p:txBody>
          <a:bodyPr lIns="0" tIns="0" rIns="0" bIns="0" anchor="t" anchorCtr="0"/>
          <a:lstStyle>
            <a:lvl1pPr algn="l">
              <a:lnSpc>
                <a:spcPct val="90000"/>
              </a:lnSpc>
              <a:defRPr sz="3200">
                <a:solidFill>
                  <a:schemeClr val="tx2"/>
                </a:solidFill>
                <a:latin typeface="Architects Daughter"/>
                <a:cs typeface="Architects Daughter"/>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79413" y="703000"/>
            <a:ext cx="8449733" cy="302417"/>
          </a:xfrm>
          <a:prstGeom prst="rect">
            <a:avLst/>
          </a:prstGeom>
        </p:spPr>
        <p:txBody>
          <a:bodyPr lIns="0" tIns="0" rIns="0" bIns="0"/>
          <a:lstStyle>
            <a:lvl1pPr marL="0" indent="0" algn="l">
              <a:buNone/>
              <a:defRPr sz="20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59867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0"/>
            <a:ext cx="8458200" cy="457200"/>
          </a:xfrm>
          <a:prstGeom prst="rect">
            <a:avLst/>
          </a:prstGeom>
        </p:spPr>
        <p:txBody>
          <a:bodyPr lIns="0" tIns="0" rIns="0" bIns="0" anchor="t" anchorCtr="0"/>
          <a:lstStyle>
            <a:lvl1pPr algn="l">
              <a:lnSpc>
                <a:spcPct val="90000"/>
              </a:lnSpc>
              <a:defRPr sz="3200">
                <a:solidFill>
                  <a:schemeClr val="tx2"/>
                </a:solidFill>
                <a:latin typeface="Architects Daughter"/>
                <a:cs typeface="Architects Daughter"/>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79413" y="1295400"/>
            <a:ext cx="8458200" cy="3124200"/>
          </a:xfrm>
          <a:prstGeom prst="rect">
            <a:avLst/>
          </a:prstGeom>
        </p:spPr>
        <p:txBody>
          <a:bodyPr vert="horz" lIns="0" tIns="0" rIns="0" bIns="0"/>
          <a:lstStyle>
            <a:lvl1pPr marL="228600" indent="-228600">
              <a:spcBef>
                <a:spcPts val="1200"/>
              </a:spcBef>
              <a:buClr>
                <a:schemeClr val="tx2"/>
              </a:buClr>
              <a:defRPr sz="2400">
                <a:solidFill>
                  <a:srgbClr val="717074"/>
                </a:solidFill>
              </a:defRPr>
            </a:lvl1pPr>
            <a:lvl2pPr>
              <a:spcBef>
                <a:spcPts val="300"/>
              </a:spcBef>
              <a:buClr>
                <a:schemeClr val="tx2"/>
              </a:buClr>
              <a:defRPr sz="2000">
                <a:solidFill>
                  <a:srgbClr val="717074"/>
                </a:solidFill>
              </a:defRPr>
            </a:lvl2pPr>
            <a:lvl3pPr marL="1084263" indent="-169863">
              <a:spcBef>
                <a:spcPts val="300"/>
              </a:spcBef>
              <a:buClr>
                <a:schemeClr val="tx2"/>
              </a:buClr>
              <a:defRPr sz="1600">
                <a:solidFill>
                  <a:srgbClr val="717074"/>
                </a:solidFill>
              </a:defRPr>
            </a:lvl3pPr>
            <a:lvl4pPr marL="1430338" indent="-168275">
              <a:spcBef>
                <a:spcPts val="300"/>
              </a:spcBef>
              <a:buClr>
                <a:schemeClr val="tx2"/>
              </a:buClr>
              <a:defRPr sz="1200">
                <a:solidFill>
                  <a:srgbClr val="717074"/>
                </a:solidFill>
              </a:defRPr>
            </a:lvl4pPr>
            <a:lvl5pPr marL="1770063" indent="-169863">
              <a:spcBef>
                <a:spcPts val="300"/>
              </a:spcBef>
              <a:buClr>
                <a:schemeClr val="tx2"/>
              </a:buClr>
              <a:buFont typeface="Arial"/>
              <a:buChar char="•"/>
              <a:defRPr sz="1100">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p:nvPr>
        </p:nvSpPr>
        <p:spPr>
          <a:xfrm>
            <a:off x="379413" y="703000"/>
            <a:ext cx="8449733" cy="302417"/>
          </a:xfrm>
          <a:prstGeom prst="rect">
            <a:avLst/>
          </a:prstGeom>
        </p:spPr>
        <p:txBody>
          <a:bodyPr lIns="0" tIns="0" rIns="0" bIns="0"/>
          <a:lstStyle>
            <a:lvl1pPr marL="0" indent="0" algn="l">
              <a:buNone/>
              <a:defRPr sz="2000">
                <a:solidFill>
                  <a:srgbClr val="71707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322960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chemeClr val="tx1"/>
                </a:solidFill>
                <a:latin typeface="+mj-lt"/>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389466" y="703000"/>
            <a:ext cx="8449733" cy="302417"/>
          </a:xfrm>
          <a:prstGeom prst="rect">
            <a:avLst/>
          </a:prstGeom>
        </p:spPr>
        <p:txBody>
          <a:bodyPr lIns="0" tIns="0" rIns="0" bIns="0"/>
          <a:lstStyle>
            <a:lvl1pPr marL="0" indent="0" algn="l">
              <a:buNone/>
              <a:defRPr sz="16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67294068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Content, graphic area on left">
    <p:spTree>
      <p:nvGrpSpPr>
        <p:cNvPr id="1" name=""/>
        <p:cNvGrpSpPr/>
        <p:nvPr/>
      </p:nvGrpSpPr>
      <p:grpSpPr>
        <a:xfrm>
          <a:off x="0" y="0"/>
          <a:ext cx="0" cy="0"/>
          <a:chOff x="0" y="0"/>
          <a:chExt cx="0" cy="0"/>
        </a:xfrm>
      </p:grpSpPr>
      <p:sp>
        <p:nvSpPr>
          <p:cNvPr id="2" name="Title 1"/>
          <p:cNvSpPr>
            <a:spLocks noGrp="1"/>
          </p:cNvSpPr>
          <p:nvPr>
            <p:ph type="ctrTitle"/>
          </p:nvPr>
        </p:nvSpPr>
        <p:spPr>
          <a:xfrm>
            <a:off x="391794" y="228601"/>
            <a:ext cx="8458200" cy="457200"/>
          </a:xfrm>
          <a:prstGeom prst="rect">
            <a:avLst/>
          </a:prstGeom>
        </p:spPr>
        <p:txBody>
          <a:bodyPr lIns="0" tIns="0" rIns="0" bIns="0" anchor="t" anchorCtr="0"/>
          <a:lstStyle>
            <a:lvl1pPr algn="l">
              <a:lnSpc>
                <a:spcPct val="90000"/>
              </a:lnSpc>
              <a:defRPr sz="3200">
                <a:solidFill>
                  <a:schemeClr val="tx2"/>
                </a:solidFill>
              </a:defRPr>
            </a:lvl1pPr>
          </a:lstStyle>
          <a:p>
            <a:r>
              <a:rPr lang="en-US" smtClean="0"/>
              <a:t>Click to edit Master title style</a:t>
            </a:r>
            <a:endParaRPr lang="en-US" dirty="0"/>
          </a:p>
        </p:txBody>
      </p:sp>
      <p:sp>
        <p:nvSpPr>
          <p:cNvPr id="5" name="Content Placeholder 4"/>
          <p:cNvSpPr>
            <a:spLocks noGrp="1"/>
          </p:cNvSpPr>
          <p:nvPr>
            <p:ph sz="quarter" idx="10"/>
          </p:nvPr>
        </p:nvSpPr>
        <p:spPr>
          <a:xfrm>
            <a:off x="2743200" y="990599"/>
            <a:ext cx="6096000" cy="3429000"/>
          </a:xfrm>
          <a:prstGeom prst="rect">
            <a:avLst/>
          </a:prstGeom>
        </p:spPr>
        <p:txBody>
          <a:bodyPr vert="horz" lIns="0" tIns="0" rIns="0" bIns="0"/>
          <a:lstStyle>
            <a:lvl1pPr marL="228600" indent="-228600">
              <a:spcBef>
                <a:spcPts val="1200"/>
              </a:spcBef>
              <a:buClr>
                <a:schemeClr val="tx2"/>
              </a:buClr>
              <a:defRPr sz="2400">
                <a:solidFill>
                  <a:srgbClr val="717074"/>
                </a:solidFill>
                <a:latin typeface="+mn-lt"/>
              </a:defRPr>
            </a:lvl1pPr>
            <a:lvl2pPr>
              <a:spcBef>
                <a:spcPts val="300"/>
              </a:spcBef>
              <a:buClr>
                <a:schemeClr val="tx2"/>
              </a:buClr>
              <a:defRPr sz="2000">
                <a:solidFill>
                  <a:srgbClr val="717074"/>
                </a:solidFill>
                <a:latin typeface="+mn-lt"/>
              </a:defRPr>
            </a:lvl2pPr>
            <a:lvl3pPr marL="1084263" indent="-169863">
              <a:spcBef>
                <a:spcPts val="300"/>
              </a:spcBef>
              <a:buClr>
                <a:schemeClr val="tx2"/>
              </a:buClr>
              <a:defRPr sz="1600">
                <a:solidFill>
                  <a:srgbClr val="717074"/>
                </a:solidFill>
                <a:latin typeface="+mn-lt"/>
              </a:defRPr>
            </a:lvl3pPr>
            <a:lvl4pPr marL="1430338" indent="-168275">
              <a:spcBef>
                <a:spcPts val="300"/>
              </a:spcBef>
              <a:buClr>
                <a:schemeClr val="tx2"/>
              </a:buClr>
              <a:defRPr sz="1200">
                <a:solidFill>
                  <a:srgbClr val="717074"/>
                </a:solidFill>
                <a:latin typeface="+mn-lt"/>
              </a:defRPr>
            </a:lvl4pPr>
            <a:lvl5pPr marL="1770063" indent="-169863">
              <a:spcBef>
                <a:spcPts val="300"/>
              </a:spcBef>
              <a:buClr>
                <a:schemeClr val="tx2"/>
              </a:buClr>
              <a:buFont typeface="Arial"/>
              <a:buChar char="•"/>
              <a:defRPr sz="1100">
                <a:solidFill>
                  <a:srgbClr val="71707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Picture Placeholder 2"/>
          <p:cNvSpPr>
            <a:spLocks noGrp="1"/>
          </p:cNvSpPr>
          <p:nvPr>
            <p:ph type="pic" idx="11"/>
          </p:nvPr>
        </p:nvSpPr>
        <p:spPr>
          <a:xfrm>
            <a:off x="381000" y="990600"/>
            <a:ext cx="2133600" cy="3429000"/>
          </a:xfrm>
          <a:prstGeom prst="rect">
            <a:avLst/>
          </a:prstGeom>
        </p:spPr>
        <p:txBody>
          <a:bodyPr/>
          <a:lstStyle>
            <a:lvl1pPr marL="0" indent="0">
              <a:buNone/>
              <a:defRPr sz="1800">
                <a:solidFill>
                  <a:schemeClr val="bg2"/>
                </a:solidFill>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Tree>
    <p:extLst>
      <p:ext uri="{BB962C8B-B14F-4D97-AF65-F5344CB8AC3E}">
        <p14:creationId xmlns:p14="http://schemas.microsoft.com/office/powerpoint/2010/main" val="27520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Subtitle, and Content with graphic area at left">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0"/>
            <a:ext cx="8458200" cy="457200"/>
          </a:xfrm>
          <a:prstGeom prst="rect">
            <a:avLst/>
          </a:prstGeom>
        </p:spPr>
        <p:txBody>
          <a:bodyPr lIns="0" tIns="0" rIns="0" bIns="0" anchor="t" anchorCtr="0"/>
          <a:lstStyle>
            <a:lvl1pPr algn="l">
              <a:lnSpc>
                <a:spcPct val="90000"/>
              </a:lnSpc>
              <a:defRPr sz="3200">
                <a:solidFill>
                  <a:schemeClr val="tx2"/>
                </a:solidFill>
                <a:latin typeface="+mj-lt"/>
              </a:defRPr>
            </a:lvl1pPr>
          </a:lstStyle>
          <a:p>
            <a:r>
              <a:rPr lang="en-US" smtClean="0"/>
              <a:t>Click to edit Master title style</a:t>
            </a:r>
            <a:endParaRPr lang="en-US" dirty="0"/>
          </a:p>
        </p:txBody>
      </p:sp>
      <p:sp>
        <p:nvSpPr>
          <p:cNvPr id="5" name="Content Placeholder 4"/>
          <p:cNvSpPr>
            <a:spLocks noGrp="1"/>
          </p:cNvSpPr>
          <p:nvPr>
            <p:ph sz="quarter" idx="10"/>
          </p:nvPr>
        </p:nvSpPr>
        <p:spPr>
          <a:xfrm>
            <a:off x="2743200" y="1295399"/>
            <a:ext cx="6096000" cy="3124200"/>
          </a:xfrm>
          <a:prstGeom prst="rect">
            <a:avLst/>
          </a:prstGeom>
        </p:spPr>
        <p:txBody>
          <a:bodyPr vert="horz" lIns="0" tIns="0" rIns="0" bIns="0"/>
          <a:lstStyle>
            <a:lvl1pPr marL="228600" indent="-228600">
              <a:spcBef>
                <a:spcPts val="1200"/>
              </a:spcBef>
              <a:buClr>
                <a:schemeClr val="tx2"/>
              </a:buClr>
              <a:defRPr sz="2400">
                <a:solidFill>
                  <a:srgbClr val="717074"/>
                </a:solidFill>
              </a:defRPr>
            </a:lvl1pPr>
            <a:lvl2pPr>
              <a:spcBef>
                <a:spcPts val="300"/>
              </a:spcBef>
              <a:buClr>
                <a:schemeClr val="tx2"/>
              </a:buClr>
              <a:defRPr sz="2000">
                <a:solidFill>
                  <a:srgbClr val="717074"/>
                </a:solidFill>
              </a:defRPr>
            </a:lvl2pPr>
            <a:lvl3pPr marL="1084263" indent="-169863">
              <a:spcBef>
                <a:spcPts val="300"/>
              </a:spcBef>
              <a:buClr>
                <a:schemeClr val="tx2"/>
              </a:buClr>
              <a:defRPr sz="1600">
                <a:solidFill>
                  <a:srgbClr val="717074"/>
                </a:solidFill>
              </a:defRPr>
            </a:lvl3pPr>
            <a:lvl4pPr marL="1430338" indent="-168275">
              <a:spcBef>
                <a:spcPts val="300"/>
              </a:spcBef>
              <a:buClr>
                <a:schemeClr val="tx2"/>
              </a:buClr>
              <a:defRPr sz="1200">
                <a:solidFill>
                  <a:srgbClr val="717074"/>
                </a:solidFill>
              </a:defRPr>
            </a:lvl4pPr>
            <a:lvl5pPr marL="1770063" indent="-169863">
              <a:spcBef>
                <a:spcPts val="300"/>
              </a:spcBef>
              <a:buClr>
                <a:schemeClr val="tx2"/>
              </a:buClr>
              <a:buFont typeface="Arial"/>
              <a:buChar char="•"/>
              <a:defRPr sz="1100">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Picture Placeholder 2"/>
          <p:cNvSpPr>
            <a:spLocks noGrp="1"/>
          </p:cNvSpPr>
          <p:nvPr>
            <p:ph type="pic" idx="11"/>
          </p:nvPr>
        </p:nvSpPr>
        <p:spPr>
          <a:xfrm>
            <a:off x="381000" y="1295400"/>
            <a:ext cx="2133600" cy="3124200"/>
          </a:xfrm>
          <a:prstGeom prst="rect">
            <a:avLst/>
          </a:prstGeom>
        </p:spPr>
        <p:txBody>
          <a:bodyPr/>
          <a:lstStyle>
            <a:lvl1pPr marL="0" indent="0">
              <a:buNone/>
              <a:defRPr sz="18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dirty="0"/>
          </a:p>
        </p:txBody>
      </p:sp>
      <p:sp>
        <p:nvSpPr>
          <p:cNvPr id="7" name="Subtitle 2"/>
          <p:cNvSpPr>
            <a:spLocks noGrp="1"/>
          </p:cNvSpPr>
          <p:nvPr>
            <p:ph type="subTitle" idx="1"/>
          </p:nvPr>
        </p:nvSpPr>
        <p:spPr>
          <a:xfrm>
            <a:off x="379413" y="703000"/>
            <a:ext cx="8449733" cy="302417"/>
          </a:xfrm>
          <a:prstGeom prst="rect">
            <a:avLst/>
          </a:prstGeom>
        </p:spPr>
        <p:txBody>
          <a:bodyPr lIns="0" tIns="0" rIns="0" bIns="0"/>
          <a:lstStyle>
            <a:lvl1pPr marL="0" indent="0" algn="l">
              <a:buNone/>
              <a:defRPr sz="2000">
                <a:solidFill>
                  <a:srgbClr val="71707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13256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1"/>
            <a:ext cx="8458200" cy="457200"/>
          </a:xfrm>
          <a:prstGeom prst="rect">
            <a:avLst/>
          </a:prstGeom>
        </p:spPr>
        <p:txBody>
          <a:bodyPr lIns="0" tIns="0" rIns="0" bIns="0" anchor="t" anchorCtr="0"/>
          <a:lstStyle>
            <a:lvl1pPr algn="l">
              <a:lnSpc>
                <a:spcPct val="90000"/>
              </a:lnSpc>
              <a:defRPr sz="3200">
                <a:solidFill>
                  <a:schemeClr val="tx2"/>
                </a:solidFill>
              </a:defRPr>
            </a:lvl1pPr>
          </a:lstStyle>
          <a:p>
            <a:r>
              <a:rPr lang="en-US" smtClean="0"/>
              <a:t>Click to edit Master title style</a:t>
            </a:r>
            <a:endParaRPr lang="en-US" dirty="0"/>
          </a:p>
        </p:txBody>
      </p:sp>
      <p:sp>
        <p:nvSpPr>
          <p:cNvPr id="5" name="Content Placeholder 4"/>
          <p:cNvSpPr>
            <a:spLocks noGrp="1"/>
          </p:cNvSpPr>
          <p:nvPr>
            <p:ph sz="quarter" idx="10"/>
          </p:nvPr>
        </p:nvSpPr>
        <p:spPr>
          <a:xfrm>
            <a:off x="379413" y="990600"/>
            <a:ext cx="4038600" cy="3429000"/>
          </a:xfrm>
          <a:prstGeom prst="rect">
            <a:avLst/>
          </a:prstGeom>
        </p:spPr>
        <p:txBody>
          <a:bodyPr vert="horz" lIns="0" tIns="0" rIns="0" bIns="0"/>
          <a:lstStyle>
            <a:lvl1pPr marL="228600" indent="-228600">
              <a:spcBef>
                <a:spcPts val="1200"/>
              </a:spcBef>
              <a:buClr>
                <a:schemeClr val="tx2"/>
              </a:buClr>
              <a:defRPr sz="2400">
                <a:solidFill>
                  <a:srgbClr val="717074"/>
                </a:solidFill>
              </a:defRPr>
            </a:lvl1pPr>
            <a:lvl2pPr>
              <a:spcBef>
                <a:spcPts val="300"/>
              </a:spcBef>
              <a:buClr>
                <a:schemeClr val="tx2"/>
              </a:buClr>
              <a:defRPr sz="2000">
                <a:solidFill>
                  <a:srgbClr val="717074"/>
                </a:solidFill>
              </a:defRPr>
            </a:lvl2pPr>
            <a:lvl3pPr marL="1084263" indent="-169863">
              <a:spcBef>
                <a:spcPts val="300"/>
              </a:spcBef>
              <a:buClr>
                <a:schemeClr val="tx2"/>
              </a:buClr>
              <a:defRPr sz="1600">
                <a:solidFill>
                  <a:srgbClr val="717074"/>
                </a:solidFill>
              </a:defRPr>
            </a:lvl3pPr>
            <a:lvl4pPr marL="1430338" indent="-168275">
              <a:spcBef>
                <a:spcPts val="300"/>
              </a:spcBef>
              <a:buClr>
                <a:schemeClr val="tx2"/>
              </a:buClr>
              <a:defRPr sz="1200">
                <a:solidFill>
                  <a:srgbClr val="717074"/>
                </a:solidFill>
              </a:defRPr>
            </a:lvl4pPr>
            <a:lvl5pPr marL="1770063" indent="-169863">
              <a:spcBef>
                <a:spcPts val="300"/>
              </a:spcBef>
              <a:buClr>
                <a:schemeClr val="tx2"/>
              </a:buClr>
              <a:buFont typeface="Arial"/>
              <a:buChar char="•"/>
              <a:defRPr sz="1100">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4"/>
          <p:cNvSpPr>
            <a:spLocks noGrp="1"/>
          </p:cNvSpPr>
          <p:nvPr>
            <p:ph sz="quarter" idx="11"/>
          </p:nvPr>
        </p:nvSpPr>
        <p:spPr>
          <a:xfrm>
            <a:off x="4800600" y="990600"/>
            <a:ext cx="4038600" cy="3429000"/>
          </a:xfrm>
          <a:prstGeom prst="rect">
            <a:avLst/>
          </a:prstGeom>
        </p:spPr>
        <p:txBody>
          <a:bodyPr vert="horz" lIns="0" tIns="0" rIns="0" bIns="0"/>
          <a:lstStyle>
            <a:lvl1pPr marL="228600" indent="-228600">
              <a:spcBef>
                <a:spcPts val="1200"/>
              </a:spcBef>
              <a:buClr>
                <a:schemeClr val="tx2"/>
              </a:buClr>
              <a:defRPr sz="2400">
                <a:solidFill>
                  <a:srgbClr val="717074"/>
                </a:solidFill>
              </a:defRPr>
            </a:lvl1pPr>
            <a:lvl2pPr>
              <a:spcBef>
                <a:spcPts val="300"/>
              </a:spcBef>
              <a:buClr>
                <a:schemeClr val="tx2"/>
              </a:buClr>
              <a:defRPr sz="2000">
                <a:solidFill>
                  <a:srgbClr val="717074"/>
                </a:solidFill>
              </a:defRPr>
            </a:lvl2pPr>
            <a:lvl3pPr marL="1084263" indent="-169863">
              <a:spcBef>
                <a:spcPts val="300"/>
              </a:spcBef>
              <a:buClr>
                <a:schemeClr val="tx2"/>
              </a:buClr>
              <a:defRPr sz="1600">
                <a:solidFill>
                  <a:srgbClr val="717074"/>
                </a:solidFill>
              </a:defRPr>
            </a:lvl3pPr>
            <a:lvl4pPr marL="1430338" indent="-168275">
              <a:spcBef>
                <a:spcPts val="300"/>
              </a:spcBef>
              <a:buClr>
                <a:schemeClr val="tx2"/>
              </a:buClr>
              <a:defRPr sz="1200">
                <a:solidFill>
                  <a:srgbClr val="717074"/>
                </a:solidFill>
              </a:defRPr>
            </a:lvl4pPr>
            <a:lvl5pPr marL="1770063" indent="-169863">
              <a:spcBef>
                <a:spcPts val="300"/>
              </a:spcBef>
              <a:buClr>
                <a:schemeClr val="tx2"/>
              </a:buClr>
              <a:buFont typeface="Arial"/>
              <a:buChar char="•"/>
              <a:defRPr sz="1100">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2595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 column left">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0"/>
            <a:ext cx="8458200" cy="457200"/>
          </a:xfrm>
          <a:prstGeom prst="rect">
            <a:avLst/>
          </a:prstGeom>
        </p:spPr>
        <p:txBody>
          <a:bodyPr lIns="0" tIns="0" rIns="0" bIns="0" anchor="t" anchorCtr="0"/>
          <a:lstStyle>
            <a:lvl1pPr algn="l">
              <a:lnSpc>
                <a:spcPct val="90000"/>
              </a:lnSpc>
              <a:defRPr sz="3200">
                <a:solidFill>
                  <a:schemeClr val="tx2"/>
                </a:solidFill>
              </a:defRPr>
            </a:lvl1pPr>
          </a:lstStyle>
          <a:p>
            <a:r>
              <a:rPr lang="en-US" smtClean="0"/>
              <a:t>Click to edit Master title style</a:t>
            </a:r>
            <a:endParaRPr lang="en-US" dirty="0"/>
          </a:p>
        </p:txBody>
      </p:sp>
      <p:sp>
        <p:nvSpPr>
          <p:cNvPr id="5" name="Content Placeholder 4"/>
          <p:cNvSpPr>
            <a:spLocks noGrp="1"/>
          </p:cNvSpPr>
          <p:nvPr>
            <p:ph sz="quarter" idx="10"/>
          </p:nvPr>
        </p:nvSpPr>
        <p:spPr>
          <a:xfrm>
            <a:off x="379413" y="990600"/>
            <a:ext cx="4038600" cy="3429000"/>
          </a:xfrm>
          <a:prstGeom prst="rect">
            <a:avLst/>
          </a:prstGeom>
        </p:spPr>
        <p:txBody>
          <a:bodyPr vert="horz" lIns="0" tIns="0" rIns="0" bIns="0"/>
          <a:lstStyle>
            <a:lvl1pPr marL="228600" indent="-228600">
              <a:spcBef>
                <a:spcPts val="1200"/>
              </a:spcBef>
              <a:buClr>
                <a:schemeClr val="tx2"/>
              </a:buClr>
              <a:defRPr sz="2400">
                <a:solidFill>
                  <a:srgbClr val="717074"/>
                </a:solidFill>
              </a:defRPr>
            </a:lvl1pPr>
            <a:lvl2pPr>
              <a:spcBef>
                <a:spcPts val="300"/>
              </a:spcBef>
              <a:buClr>
                <a:schemeClr val="tx2"/>
              </a:buClr>
              <a:defRPr sz="2000">
                <a:solidFill>
                  <a:srgbClr val="717074"/>
                </a:solidFill>
              </a:defRPr>
            </a:lvl2pPr>
            <a:lvl3pPr marL="1084263" indent="-169863">
              <a:spcBef>
                <a:spcPts val="300"/>
              </a:spcBef>
              <a:buClr>
                <a:schemeClr val="tx2"/>
              </a:buClr>
              <a:defRPr sz="1600">
                <a:solidFill>
                  <a:srgbClr val="717074"/>
                </a:solidFill>
              </a:defRPr>
            </a:lvl3pPr>
            <a:lvl4pPr marL="1430338" indent="-168275">
              <a:spcBef>
                <a:spcPts val="300"/>
              </a:spcBef>
              <a:buClr>
                <a:schemeClr val="tx2"/>
              </a:buClr>
              <a:defRPr sz="1200">
                <a:solidFill>
                  <a:srgbClr val="717074"/>
                </a:solidFill>
              </a:defRPr>
            </a:lvl4pPr>
            <a:lvl5pPr marL="1770063" indent="-169863">
              <a:spcBef>
                <a:spcPts val="300"/>
              </a:spcBef>
              <a:buClr>
                <a:schemeClr val="tx2"/>
              </a:buClr>
              <a:buFont typeface="Arial"/>
              <a:buChar char="•"/>
              <a:defRPr sz="1100">
                <a:solidFill>
                  <a:srgbClr val="71707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089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 column right">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1"/>
            <a:ext cx="8458200" cy="457200"/>
          </a:xfrm>
          <a:prstGeom prst="rect">
            <a:avLst/>
          </a:prstGeom>
        </p:spPr>
        <p:txBody>
          <a:bodyPr lIns="0" tIns="0" rIns="0" bIns="0" anchor="t" anchorCtr="0"/>
          <a:lstStyle>
            <a:lvl1pPr algn="l">
              <a:lnSpc>
                <a:spcPct val="90000"/>
              </a:lnSpc>
              <a:defRPr sz="3200">
                <a:solidFill>
                  <a:schemeClr val="tx2"/>
                </a:solidFill>
                <a:latin typeface="+mj-lt"/>
              </a:defRPr>
            </a:lvl1pPr>
          </a:lstStyle>
          <a:p>
            <a:r>
              <a:rPr lang="en-US" smtClean="0"/>
              <a:t>Click to edit Master title style</a:t>
            </a:r>
            <a:endParaRPr lang="en-US" dirty="0"/>
          </a:p>
        </p:txBody>
      </p:sp>
      <p:sp>
        <p:nvSpPr>
          <p:cNvPr id="4" name="Content Placeholder 4"/>
          <p:cNvSpPr>
            <a:spLocks noGrp="1"/>
          </p:cNvSpPr>
          <p:nvPr>
            <p:ph sz="quarter" idx="11"/>
          </p:nvPr>
        </p:nvSpPr>
        <p:spPr>
          <a:xfrm>
            <a:off x="4800600" y="990600"/>
            <a:ext cx="4038600" cy="3429000"/>
          </a:xfrm>
          <a:prstGeom prst="rect">
            <a:avLst/>
          </a:prstGeom>
        </p:spPr>
        <p:txBody>
          <a:bodyPr vert="horz" lIns="0" tIns="0" rIns="0" bIns="0"/>
          <a:lstStyle>
            <a:lvl1pPr marL="228600" indent="-228600">
              <a:spcBef>
                <a:spcPts val="1200"/>
              </a:spcBef>
              <a:buClr>
                <a:schemeClr val="tx2"/>
              </a:buClr>
              <a:defRPr sz="2400">
                <a:solidFill>
                  <a:srgbClr val="717074"/>
                </a:solidFill>
                <a:latin typeface="+mn-lt"/>
              </a:defRPr>
            </a:lvl1pPr>
            <a:lvl2pPr>
              <a:spcBef>
                <a:spcPts val="300"/>
              </a:spcBef>
              <a:buClr>
                <a:schemeClr val="tx2"/>
              </a:buClr>
              <a:defRPr sz="2000">
                <a:solidFill>
                  <a:srgbClr val="717074"/>
                </a:solidFill>
                <a:latin typeface="+mn-lt"/>
              </a:defRPr>
            </a:lvl2pPr>
            <a:lvl3pPr marL="1084263" indent="-169863">
              <a:spcBef>
                <a:spcPts val="300"/>
              </a:spcBef>
              <a:buClr>
                <a:schemeClr val="tx2"/>
              </a:buClr>
              <a:defRPr sz="1600">
                <a:solidFill>
                  <a:srgbClr val="717074"/>
                </a:solidFill>
                <a:latin typeface="+mn-lt"/>
              </a:defRPr>
            </a:lvl3pPr>
            <a:lvl4pPr marL="1430338" indent="-168275">
              <a:spcBef>
                <a:spcPts val="300"/>
              </a:spcBef>
              <a:buClr>
                <a:schemeClr val="tx2"/>
              </a:buClr>
              <a:defRPr sz="1200">
                <a:solidFill>
                  <a:srgbClr val="717074"/>
                </a:solidFill>
                <a:latin typeface="+mn-lt"/>
              </a:defRPr>
            </a:lvl4pPr>
            <a:lvl5pPr marL="1770063" indent="-169863">
              <a:spcBef>
                <a:spcPts val="300"/>
              </a:spcBef>
              <a:buClr>
                <a:schemeClr val="tx2"/>
              </a:buClr>
              <a:buFont typeface="Arial"/>
              <a:buChar char="•"/>
              <a:defRPr sz="1100">
                <a:solidFill>
                  <a:srgbClr val="717074"/>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262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s with subtitles">
    <p:spTree>
      <p:nvGrpSpPr>
        <p:cNvPr id="1" name=""/>
        <p:cNvGrpSpPr/>
        <p:nvPr/>
      </p:nvGrpSpPr>
      <p:grpSpPr>
        <a:xfrm>
          <a:off x="0" y="0"/>
          <a:ext cx="0" cy="0"/>
          <a:chOff x="0" y="0"/>
          <a:chExt cx="0" cy="0"/>
        </a:xfrm>
      </p:grpSpPr>
      <p:sp>
        <p:nvSpPr>
          <p:cNvPr id="2" name="Title 1"/>
          <p:cNvSpPr>
            <a:spLocks noGrp="1"/>
          </p:cNvSpPr>
          <p:nvPr>
            <p:ph type="ctrTitle"/>
          </p:nvPr>
        </p:nvSpPr>
        <p:spPr>
          <a:xfrm>
            <a:off x="374338" y="228601"/>
            <a:ext cx="8458200" cy="457200"/>
          </a:xfrm>
          <a:prstGeom prst="rect">
            <a:avLst/>
          </a:prstGeom>
        </p:spPr>
        <p:txBody>
          <a:bodyPr lIns="0" tIns="0" rIns="0" bIns="0" anchor="t" anchorCtr="0"/>
          <a:lstStyle>
            <a:lvl1pPr algn="l">
              <a:lnSpc>
                <a:spcPct val="90000"/>
              </a:lnSpc>
              <a:defRPr sz="3200">
                <a:solidFill>
                  <a:schemeClr val="tx2"/>
                </a:solidFill>
              </a:defRPr>
            </a:lvl1pPr>
          </a:lstStyle>
          <a:p>
            <a:r>
              <a:rPr lang="en-US" smtClean="0"/>
              <a:t>Click to edit Master title style</a:t>
            </a:r>
            <a:endParaRPr lang="en-US" dirty="0"/>
          </a:p>
        </p:txBody>
      </p:sp>
      <p:sp>
        <p:nvSpPr>
          <p:cNvPr id="5" name="Content Placeholder 4"/>
          <p:cNvSpPr>
            <a:spLocks noGrp="1"/>
          </p:cNvSpPr>
          <p:nvPr>
            <p:ph sz="quarter" idx="10" hasCustomPrompt="1"/>
          </p:nvPr>
        </p:nvSpPr>
        <p:spPr>
          <a:xfrm>
            <a:off x="374338" y="1011766"/>
            <a:ext cx="4038600" cy="3407833"/>
          </a:xfrm>
          <a:prstGeom prst="rect">
            <a:avLst/>
          </a:prstGeom>
        </p:spPr>
        <p:txBody>
          <a:bodyPr vert="horz" lIns="0" tIns="0" rIns="0" bIns="0"/>
          <a:lstStyle>
            <a:lvl1pPr marL="0" indent="0">
              <a:spcBef>
                <a:spcPts val="1200"/>
              </a:spcBef>
              <a:buClr>
                <a:schemeClr val="tx2"/>
              </a:buClr>
              <a:buNone/>
              <a:defRPr sz="2000">
                <a:solidFill>
                  <a:schemeClr val="tx2"/>
                </a:solidFill>
              </a:defRPr>
            </a:lvl1pPr>
            <a:lvl2pPr marL="169863" indent="-169863">
              <a:spcBef>
                <a:spcPts val="1200"/>
              </a:spcBef>
              <a:buClr>
                <a:schemeClr val="tx2"/>
              </a:buClr>
              <a:buFont typeface="Arial"/>
              <a:buChar char="•"/>
              <a:defRPr sz="1800">
                <a:solidFill>
                  <a:srgbClr val="717074"/>
                </a:solidFill>
              </a:defRPr>
            </a:lvl2pPr>
            <a:lvl3pPr marL="515938" indent="-168275">
              <a:spcBef>
                <a:spcPts val="300"/>
              </a:spcBef>
              <a:buClr>
                <a:schemeClr val="tx2"/>
              </a:buClr>
              <a:buFont typeface="Lucida Grande"/>
              <a:buChar char="­"/>
              <a:defRPr sz="1400">
                <a:solidFill>
                  <a:srgbClr val="717074"/>
                </a:solidFill>
              </a:defRPr>
            </a:lvl3pPr>
            <a:lvl4pPr marL="855663" indent="-169863">
              <a:spcBef>
                <a:spcPts val="300"/>
              </a:spcBef>
              <a:buClr>
                <a:schemeClr val="tx2"/>
              </a:buClr>
              <a:buFont typeface="Arial"/>
              <a:buChar char="•"/>
              <a:defRPr sz="1100">
                <a:solidFill>
                  <a:srgbClr val="717074"/>
                </a:solidFill>
              </a:defRPr>
            </a:lvl4pPr>
            <a:lvl5pPr marL="1201738" indent="-168275">
              <a:spcBef>
                <a:spcPts val="300"/>
              </a:spcBef>
              <a:buClr>
                <a:schemeClr val="tx2"/>
              </a:buClr>
              <a:buFont typeface="Arial"/>
              <a:buChar char="–"/>
              <a:defRPr sz="1050">
                <a:solidFill>
                  <a:srgbClr val="717074"/>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4"/>
          <p:cNvSpPr>
            <a:spLocks noGrp="1"/>
          </p:cNvSpPr>
          <p:nvPr>
            <p:ph sz="quarter" idx="11" hasCustomPrompt="1"/>
          </p:nvPr>
        </p:nvSpPr>
        <p:spPr>
          <a:xfrm>
            <a:off x="4809067" y="1011766"/>
            <a:ext cx="4038600" cy="3407833"/>
          </a:xfrm>
          <a:prstGeom prst="rect">
            <a:avLst/>
          </a:prstGeom>
        </p:spPr>
        <p:txBody>
          <a:bodyPr vert="horz" lIns="0" tIns="0" rIns="0" bIns="0"/>
          <a:lstStyle>
            <a:lvl1pPr marL="0" indent="0">
              <a:spcBef>
                <a:spcPts val="1200"/>
              </a:spcBef>
              <a:buClr>
                <a:schemeClr val="tx2"/>
              </a:buClr>
              <a:buNone/>
              <a:defRPr sz="2000">
                <a:solidFill>
                  <a:schemeClr val="tx2"/>
                </a:solidFill>
              </a:defRPr>
            </a:lvl1pPr>
            <a:lvl2pPr marL="169863" indent="-169863">
              <a:spcBef>
                <a:spcPts val="1200"/>
              </a:spcBef>
              <a:buClr>
                <a:schemeClr val="tx2"/>
              </a:buClr>
              <a:buFont typeface="Arial"/>
              <a:buChar char="•"/>
              <a:defRPr sz="1800">
                <a:solidFill>
                  <a:srgbClr val="717074"/>
                </a:solidFill>
              </a:defRPr>
            </a:lvl2pPr>
            <a:lvl3pPr marL="515938" indent="-168275">
              <a:spcBef>
                <a:spcPts val="300"/>
              </a:spcBef>
              <a:buClr>
                <a:schemeClr val="tx2"/>
              </a:buClr>
              <a:buFont typeface="Lucida Grande"/>
              <a:buChar char="­"/>
              <a:defRPr sz="1400">
                <a:solidFill>
                  <a:srgbClr val="717074"/>
                </a:solidFill>
              </a:defRPr>
            </a:lvl3pPr>
            <a:lvl4pPr marL="855663" indent="-169863">
              <a:spcBef>
                <a:spcPts val="300"/>
              </a:spcBef>
              <a:buClr>
                <a:schemeClr val="tx2"/>
              </a:buClr>
              <a:buFont typeface="Arial"/>
              <a:buChar char="•"/>
              <a:defRPr sz="1100">
                <a:solidFill>
                  <a:srgbClr val="717074"/>
                </a:solidFill>
              </a:defRPr>
            </a:lvl4pPr>
            <a:lvl5pPr marL="1201738" indent="-168275">
              <a:spcBef>
                <a:spcPts val="300"/>
              </a:spcBef>
              <a:buClr>
                <a:schemeClr val="tx2"/>
              </a:buClr>
              <a:buFont typeface="Arial"/>
              <a:buChar char="–"/>
              <a:defRPr sz="1050">
                <a:solidFill>
                  <a:srgbClr val="717074"/>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15762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RSA footer only">
    <p:spTree>
      <p:nvGrpSpPr>
        <p:cNvPr id="1" name=""/>
        <p:cNvGrpSpPr/>
        <p:nvPr/>
      </p:nvGrpSpPr>
      <p:grpSpPr>
        <a:xfrm>
          <a:off x="0" y="0"/>
          <a:ext cx="0" cy="0"/>
          <a:chOff x="0" y="0"/>
          <a:chExt cx="0" cy="0"/>
        </a:xfrm>
      </p:grpSpPr>
      <p:grpSp>
        <p:nvGrpSpPr>
          <p:cNvPr id="11" name="Group 10"/>
          <p:cNvGrpSpPr/>
          <p:nvPr/>
        </p:nvGrpSpPr>
        <p:grpSpPr>
          <a:xfrm>
            <a:off x="7859395" y="4629151"/>
            <a:ext cx="593222" cy="514350"/>
            <a:chOff x="7859395" y="4489938"/>
            <a:chExt cx="593222" cy="514350"/>
          </a:xfrm>
        </p:grpSpPr>
        <p:sp>
          <p:nvSpPr>
            <p:cNvPr id="12" name="Rectangle 11"/>
            <p:cNvSpPr/>
            <p:nvPr/>
          </p:nvSpPr>
          <p:spPr>
            <a:xfrm>
              <a:off x="7859395" y="4489938"/>
              <a:ext cx="593222" cy="51435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3" name="Pictur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7984189" y="4586514"/>
              <a:ext cx="332840" cy="155812"/>
            </a:xfrm>
            <a:prstGeom prst="rect">
              <a:avLst/>
            </a:prstGeom>
          </p:spPr>
        </p:pic>
      </p:grpSp>
    </p:spTree>
    <p:extLst>
      <p:ext uri="{BB962C8B-B14F-4D97-AF65-F5344CB8AC3E}">
        <p14:creationId xmlns:p14="http://schemas.microsoft.com/office/powerpoint/2010/main" val="50882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RSA Title">
    <p:spTree>
      <p:nvGrpSpPr>
        <p:cNvPr id="1" name=""/>
        <p:cNvGrpSpPr/>
        <p:nvPr/>
      </p:nvGrpSpPr>
      <p:grpSpPr>
        <a:xfrm>
          <a:off x="0" y="0"/>
          <a:ext cx="0" cy="0"/>
          <a:chOff x="0" y="0"/>
          <a:chExt cx="0" cy="0"/>
        </a:xfrm>
      </p:grpSpPr>
      <p:sp>
        <p:nvSpPr>
          <p:cNvPr id="2" name="Title 1"/>
          <p:cNvSpPr>
            <a:spLocks noGrp="1"/>
          </p:cNvSpPr>
          <p:nvPr>
            <p:ph type="ctrTitle"/>
          </p:nvPr>
        </p:nvSpPr>
        <p:spPr>
          <a:xfrm>
            <a:off x="375918" y="228601"/>
            <a:ext cx="8458200" cy="457200"/>
          </a:xfrm>
          <a:prstGeom prst="rect">
            <a:avLst/>
          </a:prstGeom>
        </p:spPr>
        <p:txBody>
          <a:bodyPr lIns="0" tIns="0" rIns="0" bIns="0" anchor="t" anchorCtr="0"/>
          <a:lstStyle>
            <a:lvl1pPr algn="l">
              <a:lnSpc>
                <a:spcPct val="90000"/>
              </a:lnSpc>
              <a:defRPr sz="3200">
                <a:solidFill>
                  <a:schemeClr val="accent6"/>
                </a:solidFill>
              </a:defRPr>
            </a:lvl1pPr>
          </a:lstStyle>
          <a:p>
            <a:r>
              <a:rPr lang="en-US" smtClean="0"/>
              <a:t>Click to edit Master title style</a:t>
            </a:r>
            <a:endParaRPr lang="en-US" dirty="0"/>
          </a:p>
        </p:txBody>
      </p:sp>
      <p:grpSp>
        <p:nvGrpSpPr>
          <p:cNvPr id="9" name="Group 8"/>
          <p:cNvGrpSpPr/>
          <p:nvPr/>
        </p:nvGrpSpPr>
        <p:grpSpPr>
          <a:xfrm>
            <a:off x="7859395" y="4629151"/>
            <a:ext cx="593222" cy="514350"/>
            <a:chOff x="7859395" y="4489938"/>
            <a:chExt cx="593222" cy="514350"/>
          </a:xfrm>
        </p:grpSpPr>
        <p:sp>
          <p:nvSpPr>
            <p:cNvPr id="10" name="Rectangle 9"/>
            <p:cNvSpPr/>
            <p:nvPr/>
          </p:nvSpPr>
          <p:spPr>
            <a:xfrm>
              <a:off x="7859395" y="4489938"/>
              <a:ext cx="593222" cy="51435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7984189" y="4586514"/>
              <a:ext cx="332840" cy="155812"/>
            </a:xfrm>
            <a:prstGeom prst="rect">
              <a:avLst/>
            </a:prstGeom>
          </p:spPr>
        </p:pic>
      </p:grpSp>
    </p:spTree>
    <p:extLst>
      <p:ext uri="{BB962C8B-B14F-4D97-AF65-F5344CB8AC3E}">
        <p14:creationId xmlns:p14="http://schemas.microsoft.com/office/powerpoint/2010/main" val="62310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RSA Title and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1"/>
            <a:ext cx="8458200" cy="457200"/>
          </a:xfrm>
          <a:prstGeom prst="rect">
            <a:avLst/>
          </a:prstGeom>
        </p:spPr>
        <p:txBody>
          <a:bodyPr lIns="0" tIns="0" rIns="0" bIns="0" anchor="t" anchorCtr="0"/>
          <a:lstStyle>
            <a:lvl1pPr algn="l">
              <a:lnSpc>
                <a:spcPct val="90000"/>
              </a:lnSpc>
              <a:defRPr sz="3200">
                <a:solidFill>
                  <a:schemeClr val="accent6"/>
                </a:solidFill>
              </a:defRPr>
            </a:lvl1pPr>
          </a:lstStyle>
          <a:p>
            <a:r>
              <a:rPr lang="en-US" smtClean="0"/>
              <a:t>Click to edit Master title style</a:t>
            </a:r>
            <a:endParaRPr lang="en-US" dirty="0"/>
          </a:p>
        </p:txBody>
      </p:sp>
      <p:sp>
        <p:nvSpPr>
          <p:cNvPr id="6" name="Subtitle 2"/>
          <p:cNvSpPr>
            <a:spLocks noGrp="1"/>
          </p:cNvSpPr>
          <p:nvPr>
            <p:ph type="subTitle" idx="1"/>
          </p:nvPr>
        </p:nvSpPr>
        <p:spPr>
          <a:xfrm>
            <a:off x="379413" y="703000"/>
            <a:ext cx="8449733" cy="302417"/>
          </a:xfrm>
          <a:prstGeom prst="rect">
            <a:avLst/>
          </a:prstGeom>
        </p:spPr>
        <p:txBody>
          <a:bodyPr lIns="0" tIns="0" rIns="0" bIns="0"/>
          <a:lstStyle>
            <a:lvl1pPr marL="0" indent="0" algn="l">
              <a:buNone/>
              <a:defRPr sz="2000">
                <a:solidFill>
                  <a:srgbClr val="71707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grpSp>
        <p:nvGrpSpPr>
          <p:cNvPr id="10" name="Group 9"/>
          <p:cNvGrpSpPr/>
          <p:nvPr/>
        </p:nvGrpSpPr>
        <p:grpSpPr>
          <a:xfrm>
            <a:off x="7859395" y="4629151"/>
            <a:ext cx="593222" cy="514350"/>
            <a:chOff x="7859395" y="4489938"/>
            <a:chExt cx="593222" cy="514350"/>
          </a:xfrm>
        </p:grpSpPr>
        <p:sp>
          <p:nvSpPr>
            <p:cNvPr id="11" name="Rectangle 10"/>
            <p:cNvSpPr/>
            <p:nvPr/>
          </p:nvSpPr>
          <p:spPr>
            <a:xfrm>
              <a:off x="7859395" y="4489938"/>
              <a:ext cx="593222" cy="51435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7984189" y="4586514"/>
              <a:ext cx="332840" cy="155812"/>
            </a:xfrm>
            <a:prstGeom prst="rect">
              <a:avLst/>
            </a:prstGeom>
          </p:spPr>
        </p:pic>
      </p:grpSp>
    </p:spTree>
    <p:extLst>
      <p:ext uri="{BB962C8B-B14F-4D97-AF65-F5344CB8AC3E}">
        <p14:creationId xmlns:p14="http://schemas.microsoft.com/office/powerpoint/2010/main" val="20339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RSA title and content">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1"/>
            <a:ext cx="8458200" cy="457200"/>
          </a:xfrm>
          <a:prstGeom prst="rect">
            <a:avLst/>
          </a:prstGeom>
        </p:spPr>
        <p:txBody>
          <a:bodyPr lIns="0" tIns="0" rIns="0" bIns="0" anchor="t" anchorCtr="0"/>
          <a:lstStyle>
            <a:lvl1pPr algn="l">
              <a:lnSpc>
                <a:spcPct val="90000"/>
              </a:lnSpc>
              <a:defRPr sz="3200">
                <a:solidFill>
                  <a:schemeClr val="accent6"/>
                </a:solidFill>
              </a:defRPr>
            </a:lvl1pPr>
          </a:lstStyle>
          <a:p>
            <a:r>
              <a:rPr lang="en-US" smtClean="0"/>
              <a:t>Click to edit Master title style</a:t>
            </a:r>
            <a:endParaRPr lang="en-US" dirty="0"/>
          </a:p>
        </p:txBody>
      </p:sp>
      <p:sp>
        <p:nvSpPr>
          <p:cNvPr id="7" name="Content Placeholder 3"/>
          <p:cNvSpPr>
            <a:spLocks noGrp="1"/>
          </p:cNvSpPr>
          <p:nvPr>
            <p:ph sz="quarter" idx="10"/>
          </p:nvPr>
        </p:nvSpPr>
        <p:spPr bwMode="gray">
          <a:xfrm>
            <a:off x="379413" y="990600"/>
            <a:ext cx="8410575" cy="3467100"/>
          </a:xfrm>
          <a:prstGeom prst="rect">
            <a:avLst/>
          </a:prstGeom>
          <a:noFill/>
        </p:spPr>
        <p:txBody>
          <a:bodyPr lIns="0" tIns="0" rIns="0" bIns="0">
            <a:noAutofit/>
          </a:bodyPr>
          <a:lstStyle>
            <a:lvl1pPr marL="228600" indent="-228600">
              <a:spcBef>
                <a:spcPts val="1200"/>
              </a:spcBef>
              <a:buClr>
                <a:schemeClr val="accent6"/>
              </a:buClr>
              <a:buFont typeface="Arial"/>
              <a:buChar char="•"/>
              <a:defRPr sz="2400">
                <a:solidFill>
                  <a:srgbClr val="717074"/>
                </a:solidFill>
                <a:latin typeface="Verdana" pitchFamily="34" charset="0"/>
              </a:defRPr>
            </a:lvl1pPr>
            <a:lvl2pPr>
              <a:spcBef>
                <a:spcPts val="300"/>
              </a:spcBef>
              <a:buClr>
                <a:schemeClr val="accent6"/>
              </a:buClr>
              <a:buFont typeface="Verdana" pitchFamily="34" charset="0"/>
              <a:buChar char="–"/>
              <a:defRPr sz="2000">
                <a:solidFill>
                  <a:srgbClr val="717074"/>
                </a:solidFill>
                <a:latin typeface="Verdana" pitchFamily="34" charset="0"/>
              </a:defRPr>
            </a:lvl2pPr>
            <a:lvl3pPr>
              <a:spcBef>
                <a:spcPts val="300"/>
              </a:spcBef>
              <a:buClr>
                <a:schemeClr val="accent6"/>
              </a:buClr>
              <a:buFont typeface="Verdana" pitchFamily="34" charset="0"/>
              <a:buChar char="▪"/>
              <a:defRPr sz="1600">
                <a:solidFill>
                  <a:srgbClr val="717074"/>
                </a:solidFill>
                <a:latin typeface="Verdana" pitchFamily="34" charset="0"/>
              </a:defRPr>
            </a:lvl3pPr>
            <a:lvl4pPr marL="1658938" indent="-287338">
              <a:spcBef>
                <a:spcPts val="300"/>
              </a:spcBef>
              <a:buClr>
                <a:schemeClr val="accent6"/>
              </a:buClr>
              <a:buFont typeface="Verdana" pitchFamily="34" charset="0"/>
              <a:buChar char="—"/>
              <a:defRPr sz="1200">
                <a:solidFill>
                  <a:srgbClr val="717074"/>
                </a:solidFill>
                <a:latin typeface="Verdana" pitchFamily="34" charset="0"/>
              </a:defRPr>
            </a:lvl4pPr>
            <a:lvl5pPr marL="2000250" indent="-171450">
              <a:spcBef>
                <a:spcPts val="300"/>
              </a:spcBef>
              <a:buClr>
                <a:schemeClr val="accent6"/>
              </a:buClr>
              <a:buFont typeface="Arial"/>
              <a:buChar char="•"/>
              <a:defRPr sz="1100">
                <a:solidFill>
                  <a:srgbClr val="717074"/>
                </a:solidFill>
                <a:latin typeface="Verdan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1" name="Group 10"/>
          <p:cNvGrpSpPr/>
          <p:nvPr/>
        </p:nvGrpSpPr>
        <p:grpSpPr>
          <a:xfrm>
            <a:off x="7859395" y="4629151"/>
            <a:ext cx="593222" cy="514350"/>
            <a:chOff x="7859395" y="4489938"/>
            <a:chExt cx="593222" cy="514350"/>
          </a:xfrm>
        </p:grpSpPr>
        <p:sp>
          <p:nvSpPr>
            <p:cNvPr id="12" name="Rectangle 11"/>
            <p:cNvSpPr/>
            <p:nvPr/>
          </p:nvSpPr>
          <p:spPr>
            <a:xfrm>
              <a:off x="7859395" y="4489938"/>
              <a:ext cx="593222" cy="51435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3" name="Pictur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7984189" y="4586514"/>
              <a:ext cx="332840" cy="155812"/>
            </a:xfrm>
            <a:prstGeom prst="rect">
              <a:avLst/>
            </a:prstGeom>
          </p:spPr>
        </p:pic>
      </p:grpSp>
    </p:spTree>
    <p:extLst>
      <p:ext uri="{BB962C8B-B14F-4D97-AF65-F5344CB8AC3E}">
        <p14:creationId xmlns:p14="http://schemas.microsoft.com/office/powerpoint/2010/main" val="3035277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0"/>
            <a:ext cx="8458200" cy="457200"/>
          </a:xfrm>
          <a:prstGeom prst="rect">
            <a:avLst/>
          </a:prstGeom>
        </p:spPr>
        <p:txBody>
          <a:bodyPr lIns="0" tIns="0" rIns="0" bIns="0" anchor="t" anchorCtr="0"/>
          <a:lstStyle>
            <a:lvl1pPr algn="l">
              <a:lnSpc>
                <a:spcPct val="90000"/>
              </a:lnSpc>
              <a:defRPr sz="2800">
                <a:solidFill>
                  <a:srgbClr val="000000"/>
                </a:solidFill>
                <a:latin typeface="+mj-lt"/>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1295400"/>
            <a:ext cx="8458200" cy="31242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hasCustomPrompt="1"/>
          </p:nvPr>
        </p:nvSpPr>
        <p:spPr>
          <a:xfrm>
            <a:off x="389466" y="703000"/>
            <a:ext cx="8449733" cy="302417"/>
          </a:xfrm>
          <a:prstGeom prst="rect">
            <a:avLst/>
          </a:prstGeom>
        </p:spPr>
        <p:txBody>
          <a:bodyPr lIns="0" tIns="0" rIns="0" bIns="0"/>
          <a:lstStyle>
            <a:lvl1pPr marL="0" indent="0" algn="l">
              <a:buNone/>
              <a:defRPr sz="1600">
                <a:solidFill>
                  <a:schemeClr val="bg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68374292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RSA title and content">
    <p:spTree>
      <p:nvGrpSpPr>
        <p:cNvPr id="1" name=""/>
        <p:cNvGrpSpPr/>
        <p:nvPr/>
      </p:nvGrpSpPr>
      <p:grpSpPr>
        <a:xfrm>
          <a:off x="0" y="0"/>
          <a:ext cx="0" cy="0"/>
          <a:chOff x="0" y="0"/>
          <a:chExt cx="0" cy="0"/>
        </a:xfrm>
      </p:grpSpPr>
      <p:sp>
        <p:nvSpPr>
          <p:cNvPr id="2" name="Title 1"/>
          <p:cNvSpPr>
            <a:spLocks noGrp="1"/>
          </p:cNvSpPr>
          <p:nvPr>
            <p:ph type="ctrTitle"/>
          </p:nvPr>
        </p:nvSpPr>
        <p:spPr>
          <a:xfrm>
            <a:off x="379413" y="228601"/>
            <a:ext cx="8458200" cy="457200"/>
          </a:xfrm>
          <a:prstGeom prst="rect">
            <a:avLst/>
          </a:prstGeom>
        </p:spPr>
        <p:txBody>
          <a:bodyPr lIns="0" tIns="0" rIns="0" bIns="0" anchor="t" anchorCtr="0"/>
          <a:lstStyle>
            <a:lvl1pPr algn="l">
              <a:lnSpc>
                <a:spcPct val="90000"/>
              </a:lnSpc>
              <a:defRPr sz="3200">
                <a:solidFill>
                  <a:srgbClr val="CE3131"/>
                </a:solidFill>
              </a:defRPr>
            </a:lvl1pPr>
          </a:lstStyle>
          <a:p>
            <a:r>
              <a:rPr lang="en-US" smtClean="0"/>
              <a:t>Click to edit Master title style</a:t>
            </a:r>
            <a:endParaRPr lang="en-US" dirty="0"/>
          </a:p>
        </p:txBody>
      </p:sp>
      <p:sp>
        <p:nvSpPr>
          <p:cNvPr id="7" name="Content Placeholder 3"/>
          <p:cNvSpPr>
            <a:spLocks noGrp="1"/>
          </p:cNvSpPr>
          <p:nvPr>
            <p:ph sz="quarter" idx="10"/>
          </p:nvPr>
        </p:nvSpPr>
        <p:spPr bwMode="gray">
          <a:xfrm>
            <a:off x="379413" y="1261532"/>
            <a:ext cx="8410575" cy="3196167"/>
          </a:xfrm>
          <a:prstGeom prst="rect">
            <a:avLst/>
          </a:prstGeom>
          <a:noFill/>
        </p:spPr>
        <p:txBody>
          <a:bodyPr lIns="0" tIns="0" rIns="0" bIns="0">
            <a:noAutofit/>
          </a:bodyPr>
          <a:lstStyle>
            <a:lvl1pPr marL="228600" indent="-228600">
              <a:spcBef>
                <a:spcPts val="1200"/>
              </a:spcBef>
              <a:buClr>
                <a:schemeClr val="accent6"/>
              </a:buClr>
              <a:buFont typeface="Arial"/>
              <a:buChar char="•"/>
              <a:defRPr sz="2400">
                <a:solidFill>
                  <a:srgbClr val="717074"/>
                </a:solidFill>
                <a:latin typeface="Verdana" pitchFamily="34" charset="0"/>
              </a:defRPr>
            </a:lvl1pPr>
            <a:lvl2pPr>
              <a:spcBef>
                <a:spcPts val="300"/>
              </a:spcBef>
              <a:buClr>
                <a:schemeClr val="accent6"/>
              </a:buClr>
              <a:buFont typeface="Verdana" pitchFamily="34" charset="0"/>
              <a:buChar char="–"/>
              <a:defRPr sz="2000">
                <a:solidFill>
                  <a:srgbClr val="717074"/>
                </a:solidFill>
                <a:latin typeface="Verdana" pitchFamily="34" charset="0"/>
              </a:defRPr>
            </a:lvl2pPr>
            <a:lvl3pPr>
              <a:spcBef>
                <a:spcPts val="300"/>
              </a:spcBef>
              <a:buClr>
                <a:schemeClr val="accent6"/>
              </a:buClr>
              <a:buFont typeface="Verdana" pitchFamily="34" charset="0"/>
              <a:buChar char="▪"/>
              <a:defRPr sz="1600">
                <a:solidFill>
                  <a:srgbClr val="717074"/>
                </a:solidFill>
                <a:latin typeface="Verdana" pitchFamily="34" charset="0"/>
              </a:defRPr>
            </a:lvl3pPr>
            <a:lvl4pPr marL="1658938" indent="-287338">
              <a:spcBef>
                <a:spcPts val="300"/>
              </a:spcBef>
              <a:buClr>
                <a:schemeClr val="accent6"/>
              </a:buClr>
              <a:buFont typeface="Verdana" pitchFamily="34" charset="0"/>
              <a:buChar char="—"/>
              <a:defRPr sz="1200">
                <a:solidFill>
                  <a:srgbClr val="717074"/>
                </a:solidFill>
                <a:latin typeface="Verdana" pitchFamily="34" charset="0"/>
              </a:defRPr>
            </a:lvl4pPr>
            <a:lvl5pPr marL="2000250" indent="-171450">
              <a:spcBef>
                <a:spcPts val="300"/>
              </a:spcBef>
              <a:buClr>
                <a:schemeClr val="accent6"/>
              </a:buClr>
              <a:buFont typeface="Arial"/>
              <a:buChar char="•"/>
              <a:defRPr sz="1100">
                <a:solidFill>
                  <a:srgbClr val="717074"/>
                </a:solidFill>
                <a:latin typeface="Verdan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ubtitle 2"/>
          <p:cNvSpPr>
            <a:spLocks noGrp="1"/>
          </p:cNvSpPr>
          <p:nvPr>
            <p:ph type="subTitle" idx="1"/>
          </p:nvPr>
        </p:nvSpPr>
        <p:spPr>
          <a:xfrm>
            <a:off x="379413" y="703000"/>
            <a:ext cx="8449733" cy="302417"/>
          </a:xfrm>
          <a:prstGeom prst="rect">
            <a:avLst/>
          </a:prstGeom>
        </p:spPr>
        <p:txBody>
          <a:bodyPr lIns="0" tIns="0" rIns="0" bIns="0"/>
          <a:lstStyle>
            <a:lvl1pPr marL="0" indent="0" algn="l">
              <a:buNone/>
              <a:defRPr sz="2000">
                <a:solidFill>
                  <a:srgbClr val="717074"/>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grpSp>
        <p:nvGrpSpPr>
          <p:cNvPr id="8" name="Group 7"/>
          <p:cNvGrpSpPr/>
          <p:nvPr/>
        </p:nvGrpSpPr>
        <p:grpSpPr>
          <a:xfrm>
            <a:off x="7859395" y="4629151"/>
            <a:ext cx="593222" cy="514350"/>
            <a:chOff x="7859395" y="4489938"/>
            <a:chExt cx="593222" cy="514350"/>
          </a:xfrm>
        </p:grpSpPr>
        <p:sp>
          <p:nvSpPr>
            <p:cNvPr id="9" name="Rectangle 8"/>
            <p:cNvSpPr/>
            <p:nvPr/>
          </p:nvSpPr>
          <p:spPr>
            <a:xfrm>
              <a:off x="7859395" y="4489938"/>
              <a:ext cx="593222" cy="51435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gray">
            <a:xfrm>
              <a:off x="7984189" y="4586514"/>
              <a:ext cx="332840" cy="155812"/>
            </a:xfrm>
            <a:prstGeom prst="rect">
              <a:avLst/>
            </a:prstGeom>
          </p:spPr>
        </p:pic>
      </p:grpSp>
    </p:spTree>
    <p:extLst>
      <p:ext uri="{BB962C8B-B14F-4D97-AF65-F5344CB8AC3E}">
        <p14:creationId xmlns:p14="http://schemas.microsoft.com/office/powerpoint/2010/main" val="249745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votal">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9412" y="228600"/>
            <a:ext cx="8410575" cy="460375"/>
          </a:xfrm>
          <a:prstGeom prst="rect">
            <a:avLst/>
          </a:prstGeom>
          <a:noFill/>
        </p:spPr>
        <p:txBody>
          <a:bodyPr lIns="0" tIns="0" rIns="0" bIns="0" anchor="t" anchorCtr="0"/>
          <a:lstStyle>
            <a:lvl1pPr algn="l">
              <a:lnSpc>
                <a:spcPct val="90000"/>
              </a:lnSpc>
              <a:defRPr sz="3200">
                <a:solidFill>
                  <a:schemeClr val="accent5"/>
                </a:solidFill>
                <a:latin typeface="Verdana" pitchFamily="34" charset="0"/>
              </a:defRPr>
            </a:lvl1pPr>
          </a:lstStyle>
          <a:p>
            <a:r>
              <a:rPr lang="en-US" smtClean="0"/>
              <a:t>Click to edit Master title style</a:t>
            </a:r>
            <a:endParaRPr lang="en-US" dirty="0"/>
          </a:p>
        </p:txBody>
      </p:sp>
      <p:sp>
        <p:nvSpPr>
          <p:cNvPr id="4" name="Content Placeholder 3"/>
          <p:cNvSpPr>
            <a:spLocks noGrp="1"/>
          </p:cNvSpPr>
          <p:nvPr>
            <p:ph sz="quarter" idx="10"/>
          </p:nvPr>
        </p:nvSpPr>
        <p:spPr bwMode="gray">
          <a:xfrm>
            <a:off x="379413" y="990070"/>
            <a:ext cx="8410575" cy="3429529"/>
          </a:xfrm>
          <a:prstGeom prst="rect">
            <a:avLst/>
          </a:prstGeom>
          <a:noFill/>
        </p:spPr>
        <p:txBody>
          <a:bodyPr lIns="0" tIns="0" rIns="0" bIns="0">
            <a:noAutofit/>
          </a:bodyPr>
          <a:lstStyle>
            <a:lvl1pPr marL="228600" indent="-228600">
              <a:spcBef>
                <a:spcPts val="1200"/>
              </a:spcBef>
              <a:buClr>
                <a:schemeClr val="accent5"/>
              </a:buClr>
              <a:buFont typeface="Arial"/>
              <a:buChar char="•"/>
              <a:defRPr sz="2400">
                <a:solidFill>
                  <a:srgbClr val="717074"/>
                </a:solidFill>
                <a:latin typeface="Verdana" pitchFamily="34" charset="0"/>
              </a:defRPr>
            </a:lvl1pPr>
            <a:lvl2pPr>
              <a:spcBef>
                <a:spcPts val="300"/>
              </a:spcBef>
              <a:buClr>
                <a:schemeClr val="accent5"/>
              </a:buClr>
              <a:buFont typeface="Verdana" pitchFamily="34" charset="0"/>
              <a:buChar char="–"/>
              <a:defRPr sz="2000">
                <a:solidFill>
                  <a:srgbClr val="717074"/>
                </a:solidFill>
                <a:latin typeface="Verdana" pitchFamily="34" charset="0"/>
              </a:defRPr>
            </a:lvl2pPr>
            <a:lvl3pPr>
              <a:spcBef>
                <a:spcPts val="300"/>
              </a:spcBef>
              <a:buClr>
                <a:schemeClr val="accent5"/>
              </a:buClr>
              <a:buFont typeface="Verdana" pitchFamily="34" charset="0"/>
              <a:buChar char="▪"/>
              <a:defRPr sz="1600">
                <a:solidFill>
                  <a:srgbClr val="717074"/>
                </a:solidFill>
                <a:latin typeface="Verdana" pitchFamily="34" charset="0"/>
              </a:defRPr>
            </a:lvl3pPr>
            <a:lvl4pPr marL="1658938" indent="-287338">
              <a:spcBef>
                <a:spcPts val="300"/>
              </a:spcBef>
              <a:buClr>
                <a:schemeClr val="accent5"/>
              </a:buClr>
              <a:buFont typeface="Verdana" pitchFamily="34" charset="0"/>
              <a:buChar char="—"/>
              <a:defRPr sz="1200">
                <a:solidFill>
                  <a:srgbClr val="717074"/>
                </a:solidFill>
                <a:latin typeface="Verdana" pitchFamily="34" charset="0"/>
              </a:defRPr>
            </a:lvl4pPr>
            <a:lvl5pPr marL="2057400" indent="-228600">
              <a:spcBef>
                <a:spcPts val="300"/>
              </a:spcBef>
              <a:buClr>
                <a:schemeClr val="accent5"/>
              </a:buClr>
              <a:buFont typeface="Arial"/>
              <a:buChar char="•"/>
              <a:defRPr sz="1100">
                <a:solidFill>
                  <a:srgbClr val="717074"/>
                </a:solidFill>
                <a:latin typeface="Verdan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1" name="Group 10"/>
          <p:cNvGrpSpPr/>
          <p:nvPr/>
        </p:nvGrpSpPr>
        <p:grpSpPr>
          <a:xfrm>
            <a:off x="7859395" y="4629151"/>
            <a:ext cx="593222" cy="514350"/>
            <a:chOff x="7859395" y="4489938"/>
            <a:chExt cx="593222" cy="514350"/>
          </a:xfrm>
        </p:grpSpPr>
        <p:sp>
          <p:nvSpPr>
            <p:cNvPr id="12" name="Rectangle 11"/>
            <p:cNvSpPr/>
            <p:nvPr/>
          </p:nvSpPr>
          <p:spPr>
            <a:xfrm>
              <a:off x="7859395" y="4489938"/>
              <a:ext cx="593222" cy="51435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3" name="Picture 12" descr="Pivotal white.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926313" y="4605679"/>
              <a:ext cx="452587" cy="119715"/>
            </a:xfrm>
            <a:prstGeom prst="rect">
              <a:avLst/>
            </a:prstGeom>
          </p:spPr>
        </p:pic>
      </p:grpSp>
    </p:spTree>
    <p:extLst>
      <p:ext uri="{BB962C8B-B14F-4D97-AF65-F5344CB8AC3E}">
        <p14:creationId xmlns:p14="http://schemas.microsoft.com/office/powerpoint/2010/main" val="45781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ederatio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66713" y="228600"/>
            <a:ext cx="8410575" cy="460375"/>
          </a:xfrm>
          <a:prstGeom prst="rect">
            <a:avLst/>
          </a:prstGeom>
          <a:noFill/>
        </p:spPr>
        <p:txBody>
          <a:bodyPr lIns="0" tIns="0" rIns="0" bIns="0" anchor="t" anchorCtr="0"/>
          <a:lstStyle>
            <a:lvl1pPr algn="l">
              <a:lnSpc>
                <a:spcPct val="90000"/>
              </a:lnSpc>
              <a:defRPr sz="3200">
                <a:solidFill>
                  <a:schemeClr val="tx1"/>
                </a:solidFill>
                <a:latin typeface="Verdana" pitchFamily="34" charset="0"/>
              </a:defRPr>
            </a:lvl1pPr>
          </a:lstStyle>
          <a:p>
            <a:r>
              <a:rPr lang="en-US" smtClean="0"/>
              <a:t>Click to edit Master title style</a:t>
            </a:r>
            <a:endParaRPr lang="en-US" dirty="0"/>
          </a:p>
        </p:txBody>
      </p:sp>
      <p:sp>
        <p:nvSpPr>
          <p:cNvPr id="4" name="Content Placeholder 3"/>
          <p:cNvSpPr>
            <a:spLocks noGrp="1"/>
          </p:cNvSpPr>
          <p:nvPr>
            <p:ph sz="quarter" idx="10"/>
          </p:nvPr>
        </p:nvSpPr>
        <p:spPr bwMode="gray">
          <a:xfrm>
            <a:off x="366714" y="990600"/>
            <a:ext cx="8410575" cy="3429000"/>
          </a:xfrm>
          <a:prstGeom prst="rect">
            <a:avLst/>
          </a:prstGeom>
          <a:noFill/>
        </p:spPr>
        <p:txBody>
          <a:bodyPr lIns="0" tIns="0" rIns="0" bIns="0">
            <a:noAutofit/>
          </a:bodyPr>
          <a:lstStyle>
            <a:lvl1pPr marL="228600" indent="-228600">
              <a:spcBef>
                <a:spcPts val="1200"/>
              </a:spcBef>
              <a:buClr>
                <a:schemeClr val="tx1"/>
              </a:buClr>
              <a:buFont typeface="Wingdings" pitchFamily="2" charset="2"/>
              <a:buChar char=""/>
              <a:defRPr sz="2400">
                <a:solidFill>
                  <a:schemeClr val="bg2"/>
                </a:solidFill>
                <a:latin typeface="Verdana" pitchFamily="34" charset="0"/>
              </a:defRPr>
            </a:lvl1pPr>
            <a:lvl2pPr>
              <a:spcBef>
                <a:spcPts val="300"/>
              </a:spcBef>
              <a:buClr>
                <a:schemeClr val="tx1"/>
              </a:buClr>
              <a:buFont typeface="Verdana" pitchFamily="34" charset="0"/>
              <a:buChar char="–"/>
              <a:defRPr sz="2000">
                <a:solidFill>
                  <a:schemeClr val="bg2"/>
                </a:solidFill>
                <a:latin typeface="Verdana" pitchFamily="34" charset="0"/>
              </a:defRPr>
            </a:lvl2pPr>
            <a:lvl3pPr>
              <a:spcBef>
                <a:spcPts val="300"/>
              </a:spcBef>
              <a:buClr>
                <a:schemeClr val="tx1"/>
              </a:buClr>
              <a:buFont typeface="Verdana" pitchFamily="34" charset="0"/>
              <a:buChar char="▪"/>
              <a:defRPr sz="1600">
                <a:solidFill>
                  <a:schemeClr val="bg2"/>
                </a:solidFill>
                <a:latin typeface="Verdana" pitchFamily="34" charset="0"/>
              </a:defRPr>
            </a:lvl3pPr>
            <a:lvl4pPr marL="1658938" indent="-287338">
              <a:spcBef>
                <a:spcPts val="300"/>
              </a:spcBef>
              <a:buClr>
                <a:schemeClr val="tx1"/>
              </a:buClr>
              <a:buFont typeface="Verdana" pitchFamily="34" charset="0"/>
              <a:buChar char="—"/>
              <a:defRPr sz="1200">
                <a:solidFill>
                  <a:schemeClr val="bg2"/>
                </a:solidFill>
                <a:latin typeface="Verdana" pitchFamily="34" charset="0"/>
              </a:defRPr>
            </a:lvl4pPr>
            <a:lvl5pPr marL="2057400" indent="-228600">
              <a:spcBef>
                <a:spcPts val="300"/>
              </a:spcBef>
              <a:buClr>
                <a:schemeClr val="tx1"/>
              </a:buClr>
              <a:buFont typeface="Arial"/>
              <a:buChar char="•"/>
              <a:defRPr sz="1100">
                <a:solidFill>
                  <a:schemeClr val="bg2"/>
                </a:solidFill>
                <a:latin typeface="Verdan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1" name="Group 10"/>
          <p:cNvGrpSpPr/>
          <p:nvPr/>
        </p:nvGrpSpPr>
        <p:grpSpPr>
          <a:xfrm>
            <a:off x="7848600" y="4629150"/>
            <a:ext cx="608013" cy="514350"/>
            <a:chOff x="7618413" y="4114800"/>
            <a:chExt cx="762000" cy="644616"/>
          </a:xfrm>
        </p:grpSpPr>
        <p:sp>
          <p:nvSpPr>
            <p:cNvPr id="14" name="Rectangle 13"/>
            <p:cNvSpPr/>
            <p:nvPr/>
          </p:nvSpPr>
          <p:spPr>
            <a:xfrm>
              <a:off x="7618413" y="4114800"/>
              <a:ext cx="762000" cy="644616"/>
            </a:xfrm>
            <a:prstGeom prst="rect">
              <a:avLst/>
            </a:prstGeom>
            <a:solidFill>
              <a:srgbClr val="9D9FA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5" name="Picture 14" descr="Destination Federation 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815719" y="4199890"/>
              <a:ext cx="367389" cy="367898"/>
            </a:xfrm>
            <a:prstGeom prst="rect">
              <a:avLst/>
            </a:prstGeom>
          </p:spPr>
        </p:pic>
      </p:grpSp>
      <p:sp>
        <p:nvSpPr>
          <p:cNvPr id="7" name="Rectangle 6"/>
          <p:cNvSpPr/>
          <p:nvPr userDrawn="1"/>
        </p:nvSpPr>
        <p:spPr>
          <a:xfrm>
            <a:off x="0" y="4621721"/>
            <a:ext cx="9144000" cy="393192"/>
          </a:xfrm>
          <a:prstGeom prst="rect">
            <a:avLst/>
          </a:prstGeom>
          <a:solidFill>
            <a:srgbClr val="9D9FA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8" name="Picture 7" descr="Destination Federation Logo.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62108" y="4590874"/>
            <a:ext cx="447409" cy="448028"/>
          </a:xfrm>
          <a:prstGeom prst="rect">
            <a:avLst/>
          </a:prstGeom>
        </p:spPr>
      </p:pic>
      <p:pic>
        <p:nvPicPr>
          <p:cNvPr id="9" name="Picture 8" descr="VMW_09Q3_LOGO_Corp_White.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7995658" y="4762025"/>
            <a:ext cx="698862" cy="105725"/>
          </a:xfrm>
          <a:prstGeom prst="rect">
            <a:avLst/>
          </a:prstGeom>
        </p:spPr>
      </p:pic>
      <p:pic>
        <p:nvPicPr>
          <p:cNvPr id="10" name="Picture 9" descr="Pivotal white.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690590" y="4741671"/>
            <a:ext cx="553596" cy="146434"/>
          </a:xfrm>
          <a:prstGeom prst="rect">
            <a:avLst/>
          </a:prstGeom>
        </p:spPr>
      </p:pic>
      <p:pic>
        <p:nvPicPr>
          <p:cNvPr id="12" name="Picture 11"/>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gray">
          <a:xfrm>
            <a:off x="7447685" y="4722568"/>
            <a:ext cx="394420" cy="184640"/>
          </a:xfrm>
          <a:prstGeom prst="rect">
            <a:avLst/>
          </a:prstGeom>
        </p:spPr>
      </p:pic>
      <p:pic>
        <p:nvPicPr>
          <p:cNvPr id="13" name="Picture 12" descr="EMC logo white_300dpi.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976462" y="4732789"/>
            <a:ext cx="508738" cy="164198"/>
          </a:xfrm>
          <a:prstGeom prst="rect">
            <a:avLst/>
          </a:prstGeom>
        </p:spPr>
      </p:pic>
    </p:spTree>
    <p:extLst>
      <p:ext uri="{BB962C8B-B14F-4D97-AF65-F5344CB8AC3E}">
        <p14:creationId xmlns:p14="http://schemas.microsoft.com/office/powerpoint/2010/main" val="414651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VMwar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9412" y="228600"/>
            <a:ext cx="8410575" cy="460375"/>
          </a:xfrm>
          <a:prstGeom prst="rect">
            <a:avLst/>
          </a:prstGeom>
          <a:noFill/>
        </p:spPr>
        <p:txBody>
          <a:bodyPr lIns="0" tIns="0" rIns="0" bIns="0" anchor="t" anchorCtr="0"/>
          <a:lstStyle>
            <a:lvl1pPr algn="l">
              <a:lnSpc>
                <a:spcPct val="90000"/>
              </a:lnSpc>
              <a:defRPr sz="3200">
                <a:solidFill>
                  <a:schemeClr val="tx1"/>
                </a:solidFill>
                <a:latin typeface="Verdana" pitchFamily="34" charset="0"/>
              </a:defRPr>
            </a:lvl1pPr>
          </a:lstStyle>
          <a:p>
            <a:r>
              <a:rPr lang="en-US" smtClean="0"/>
              <a:t>Click to edit Master title style</a:t>
            </a:r>
            <a:endParaRPr lang="en-US" dirty="0"/>
          </a:p>
        </p:txBody>
      </p:sp>
      <p:sp>
        <p:nvSpPr>
          <p:cNvPr id="4" name="Content Placeholder 3"/>
          <p:cNvSpPr>
            <a:spLocks noGrp="1"/>
          </p:cNvSpPr>
          <p:nvPr>
            <p:ph sz="quarter" idx="10"/>
          </p:nvPr>
        </p:nvSpPr>
        <p:spPr bwMode="gray">
          <a:xfrm>
            <a:off x="379413" y="990600"/>
            <a:ext cx="8410575" cy="3429000"/>
          </a:xfrm>
          <a:prstGeom prst="rect">
            <a:avLst/>
          </a:prstGeom>
          <a:noFill/>
        </p:spPr>
        <p:txBody>
          <a:bodyPr lIns="0" tIns="0" rIns="0" bIns="0">
            <a:noAutofit/>
          </a:bodyPr>
          <a:lstStyle>
            <a:lvl1pPr marL="228600" indent="-228600">
              <a:spcBef>
                <a:spcPts val="1200"/>
              </a:spcBef>
              <a:buClr>
                <a:schemeClr val="tx1"/>
              </a:buClr>
              <a:buFont typeface="Arial"/>
              <a:buChar char="•"/>
              <a:defRPr sz="2400">
                <a:solidFill>
                  <a:srgbClr val="717074"/>
                </a:solidFill>
                <a:latin typeface="Verdana" pitchFamily="34" charset="0"/>
              </a:defRPr>
            </a:lvl1pPr>
            <a:lvl2pPr>
              <a:spcBef>
                <a:spcPts val="300"/>
              </a:spcBef>
              <a:buClr>
                <a:schemeClr val="tx1"/>
              </a:buClr>
              <a:buFont typeface="Verdana" pitchFamily="34" charset="0"/>
              <a:buChar char="–"/>
              <a:defRPr sz="2000">
                <a:solidFill>
                  <a:srgbClr val="717074"/>
                </a:solidFill>
                <a:latin typeface="Verdana" pitchFamily="34" charset="0"/>
              </a:defRPr>
            </a:lvl2pPr>
            <a:lvl3pPr>
              <a:spcBef>
                <a:spcPts val="300"/>
              </a:spcBef>
              <a:buClr>
                <a:schemeClr val="tx1"/>
              </a:buClr>
              <a:buFont typeface="Verdana" pitchFamily="34" charset="0"/>
              <a:buChar char="▪"/>
              <a:defRPr sz="1600">
                <a:solidFill>
                  <a:srgbClr val="717074"/>
                </a:solidFill>
                <a:latin typeface="Verdana" pitchFamily="34" charset="0"/>
              </a:defRPr>
            </a:lvl3pPr>
            <a:lvl4pPr marL="1658938" indent="-287338">
              <a:spcBef>
                <a:spcPts val="300"/>
              </a:spcBef>
              <a:buClr>
                <a:schemeClr val="tx1"/>
              </a:buClr>
              <a:buFont typeface="Verdana" pitchFamily="34" charset="0"/>
              <a:buChar char="—"/>
              <a:defRPr sz="1200">
                <a:solidFill>
                  <a:srgbClr val="717074"/>
                </a:solidFill>
                <a:latin typeface="Verdana" pitchFamily="34" charset="0"/>
              </a:defRPr>
            </a:lvl4pPr>
            <a:lvl5pPr marL="2057400" indent="-228600">
              <a:spcBef>
                <a:spcPts val="300"/>
              </a:spcBef>
              <a:buClr>
                <a:schemeClr val="tx1"/>
              </a:buClr>
              <a:buFont typeface="Arial"/>
              <a:buChar char="•"/>
              <a:defRPr sz="1100">
                <a:solidFill>
                  <a:srgbClr val="717074"/>
                </a:solidFill>
                <a:latin typeface="Verdan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5" name="Group 4"/>
          <p:cNvGrpSpPr/>
          <p:nvPr/>
        </p:nvGrpSpPr>
        <p:grpSpPr>
          <a:xfrm>
            <a:off x="7848600" y="4629150"/>
            <a:ext cx="608013" cy="514350"/>
            <a:chOff x="7848600" y="4486637"/>
            <a:chExt cx="608013" cy="514350"/>
          </a:xfrm>
        </p:grpSpPr>
        <p:sp>
          <p:nvSpPr>
            <p:cNvPr id="15" name="Rectangle 14"/>
            <p:cNvSpPr/>
            <p:nvPr/>
          </p:nvSpPr>
          <p:spPr>
            <a:xfrm>
              <a:off x="7848600" y="4486637"/>
              <a:ext cx="608013" cy="51435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descr="VMware logo whit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05055" y="4629148"/>
              <a:ext cx="502918" cy="76081"/>
            </a:xfrm>
            <a:prstGeom prst="rect">
              <a:avLst/>
            </a:prstGeom>
          </p:spPr>
        </p:pic>
      </p:grpSp>
    </p:spTree>
    <p:extLst>
      <p:ext uri="{BB962C8B-B14F-4D97-AF65-F5344CB8AC3E}">
        <p14:creationId xmlns:p14="http://schemas.microsoft.com/office/powerpoint/2010/main" val="4036666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VCE">
    <p:spTree>
      <p:nvGrpSpPr>
        <p:cNvPr id="1" name=""/>
        <p:cNvGrpSpPr/>
        <p:nvPr/>
      </p:nvGrpSpPr>
      <p:grpSpPr>
        <a:xfrm>
          <a:off x="0" y="0"/>
          <a:ext cx="0" cy="0"/>
          <a:chOff x="0" y="0"/>
          <a:chExt cx="0" cy="0"/>
        </a:xfrm>
      </p:grpSpPr>
      <p:sp>
        <p:nvSpPr>
          <p:cNvPr id="4" name="Content Placeholder 3"/>
          <p:cNvSpPr>
            <a:spLocks noGrp="1"/>
          </p:cNvSpPr>
          <p:nvPr>
            <p:ph sz="quarter" idx="10"/>
          </p:nvPr>
        </p:nvSpPr>
        <p:spPr bwMode="gray">
          <a:xfrm>
            <a:off x="379413" y="990600"/>
            <a:ext cx="8410575" cy="3429000"/>
          </a:xfrm>
          <a:prstGeom prst="rect">
            <a:avLst/>
          </a:prstGeom>
          <a:noFill/>
        </p:spPr>
        <p:txBody>
          <a:bodyPr lIns="0" tIns="0" rIns="0" bIns="0">
            <a:noAutofit/>
          </a:bodyPr>
          <a:lstStyle>
            <a:lvl1pPr marL="228600" indent="-228600">
              <a:spcBef>
                <a:spcPts val="1200"/>
              </a:spcBef>
              <a:buClr>
                <a:schemeClr val="tx1"/>
              </a:buClr>
              <a:buFont typeface="Arial"/>
              <a:buChar char="•"/>
              <a:defRPr sz="2400">
                <a:solidFill>
                  <a:schemeClr val="bg2"/>
                </a:solidFill>
                <a:latin typeface="Verdana" pitchFamily="34" charset="0"/>
              </a:defRPr>
            </a:lvl1pPr>
            <a:lvl2pPr>
              <a:spcBef>
                <a:spcPts val="300"/>
              </a:spcBef>
              <a:buClr>
                <a:schemeClr val="tx1"/>
              </a:buClr>
              <a:buFont typeface="Verdana" pitchFamily="34" charset="0"/>
              <a:buChar char="–"/>
              <a:defRPr sz="2000">
                <a:solidFill>
                  <a:schemeClr val="bg2"/>
                </a:solidFill>
                <a:latin typeface="Verdana" pitchFamily="34" charset="0"/>
              </a:defRPr>
            </a:lvl2pPr>
            <a:lvl3pPr>
              <a:spcBef>
                <a:spcPts val="300"/>
              </a:spcBef>
              <a:buClr>
                <a:schemeClr val="tx1"/>
              </a:buClr>
              <a:buFont typeface="Verdana" pitchFamily="34" charset="0"/>
              <a:buChar char="▪"/>
              <a:defRPr sz="1600">
                <a:solidFill>
                  <a:schemeClr val="bg2"/>
                </a:solidFill>
                <a:latin typeface="Verdana" pitchFamily="34" charset="0"/>
              </a:defRPr>
            </a:lvl3pPr>
            <a:lvl4pPr marL="1658938" indent="-287338">
              <a:spcBef>
                <a:spcPts val="300"/>
              </a:spcBef>
              <a:buClr>
                <a:schemeClr val="tx1"/>
              </a:buClr>
              <a:buFont typeface="Verdana" pitchFamily="34" charset="0"/>
              <a:buChar char="—"/>
              <a:defRPr sz="1200">
                <a:solidFill>
                  <a:schemeClr val="bg2"/>
                </a:solidFill>
                <a:latin typeface="Verdana" pitchFamily="34" charset="0"/>
              </a:defRPr>
            </a:lvl4pPr>
            <a:lvl5pPr marL="2057400" indent="-228600">
              <a:spcBef>
                <a:spcPts val="300"/>
              </a:spcBef>
              <a:buClr>
                <a:schemeClr val="tx1"/>
              </a:buClr>
              <a:buFont typeface="Arial"/>
              <a:buChar char="•"/>
              <a:defRPr sz="1100">
                <a:solidFill>
                  <a:schemeClr val="bg2"/>
                </a:solidFill>
                <a:latin typeface="Verdan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10" name="Group 9"/>
          <p:cNvGrpSpPr/>
          <p:nvPr/>
        </p:nvGrpSpPr>
        <p:grpSpPr>
          <a:xfrm>
            <a:off x="7859395" y="4629151"/>
            <a:ext cx="593222" cy="514350"/>
            <a:chOff x="7859395" y="4489938"/>
            <a:chExt cx="593222" cy="514350"/>
          </a:xfrm>
        </p:grpSpPr>
        <p:sp>
          <p:nvSpPr>
            <p:cNvPr id="11" name="Rectangle 10"/>
            <p:cNvSpPr/>
            <p:nvPr userDrawn="1"/>
          </p:nvSpPr>
          <p:spPr>
            <a:xfrm>
              <a:off x="7859395" y="4489938"/>
              <a:ext cx="593222" cy="51435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2" name="Picture 11" descr="VC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08863" y="4574497"/>
              <a:ext cx="294287" cy="294287"/>
            </a:xfrm>
            <a:prstGeom prst="rect">
              <a:avLst/>
            </a:prstGeom>
          </p:spPr>
        </p:pic>
      </p:grpSp>
      <p:sp>
        <p:nvSpPr>
          <p:cNvPr id="7" name="Title 1"/>
          <p:cNvSpPr>
            <a:spLocks noGrp="1"/>
          </p:cNvSpPr>
          <p:nvPr>
            <p:ph type="title"/>
          </p:nvPr>
        </p:nvSpPr>
        <p:spPr bwMode="gray">
          <a:xfrm>
            <a:off x="379412" y="228600"/>
            <a:ext cx="8410575" cy="460375"/>
          </a:xfrm>
          <a:prstGeom prst="rect">
            <a:avLst/>
          </a:prstGeom>
          <a:noFill/>
        </p:spPr>
        <p:txBody>
          <a:bodyPr lIns="0" tIns="0" rIns="0" bIns="0" anchor="t" anchorCtr="0"/>
          <a:lstStyle>
            <a:lvl1pPr algn="l">
              <a:lnSpc>
                <a:spcPct val="90000"/>
              </a:lnSpc>
              <a:defRPr sz="3200">
                <a:solidFill>
                  <a:schemeClr val="tx1"/>
                </a:solidFill>
                <a:latin typeface="Verdana" pitchFamily="34" charset="0"/>
              </a:defRPr>
            </a:lvl1pPr>
          </a:lstStyle>
          <a:p>
            <a:r>
              <a:rPr lang="en-US" smtClean="0"/>
              <a:t>Click to edit Master title style</a:t>
            </a:r>
            <a:endParaRPr lang="en-US" dirty="0"/>
          </a:p>
        </p:txBody>
      </p:sp>
      <p:pic>
        <p:nvPicPr>
          <p:cNvPr id="8" name="Picture 7" descr="VCE.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43200" y="971550"/>
            <a:ext cx="1069876" cy="1069876"/>
          </a:xfrm>
          <a:prstGeom prst="rect">
            <a:avLst/>
          </a:prstGeom>
        </p:spPr>
      </p:pic>
    </p:spTree>
    <p:extLst>
      <p:ext uri="{BB962C8B-B14F-4D97-AF65-F5344CB8AC3E}">
        <p14:creationId xmlns:p14="http://schemas.microsoft.com/office/powerpoint/2010/main" val="2942661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End slide">
    <p:bg>
      <p:bgPr>
        <a:solidFill>
          <a:schemeClr val="accent1"/>
        </a:solidFill>
        <a:effectLst/>
      </p:bgPr>
    </p:bg>
    <p:spTree>
      <p:nvGrpSpPr>
        <p:cNvPr id="1" name=""/>
        <p:cNvGrpSpPr/>
        <p:nvPr/>
      </p:nvGrpSpPr>
      <p:grpSpPr>
        <a:xfrm>
          <a:off x="0" y="0"/>
          <a:ext cx="0" cy="0"/>
          <a:chOff x="0" y="0"/>
          <a:chExt cx="0" cy="0"/>
        </a:xfrm>
      </p:grpSpPr>
      <p:pic>
        <p:nvPicPr>
          <p:cNvPr id="3" name="Picture 2" descr="EMC logo white_300dpi.pn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02997" y="1657351"/>
            <a:ext cx="4899905" cy="1581470"/>
          </a:xfrm>
          <a:prstGeom prst="rect">
            <a:avLst/>
          </a:prstGeom>
        </p:spPr>
      </p:pic>
      <p:pic>
        <p:nvPicPr>
          <p:cNvPr id="4" name="Picture 3" descr="EMC logo white_300dpi.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02997" y="1657351"/>
            <a:ext cx="4899905" cy="1581470"/>
          </a:xfrm>
          <a:prstGeom prst="rect">
            <a:avLst/>
          </a:prstGeom>
        </p:spPr>
      </p:pic>
    </p:spTree>
    <p:extLst>
      <p:ext uri="{BB962C8B-B14F-4D97-AF65-F5344CB8AC3E}">
        <p14:creationId xmlns:p14="http://schemas.microsoft.com/office/powerpoint/2010/main" val="280208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341812" y="919861"/>
            <a:ext cx="4497387" cy="1194689"/>
          </a:xfrm>
          <a:prstGeom prst="rect">
            <a:avLst/>
          </a:prstGeom>
        </p:spPr>
        <p:txBody>
          <a:bodyPr lIns="0" tIns="0" rIns="0" bIns="0" anchor="b" anchorCtr="0"/>
          <a:lstStyle>
            <a:lvl1pPr algn="l">
              <a:lnSpc>
                <a:spcPct val="90000"/>
              </a:lnSpc>
              <a:defRPr sz="4000">
                <a:solidFill>
                  <a:schemeClr val="tx2"/>
                </a:solidFill>
                <a:latin typeface="+mn-lt"/>
              </a:defRPr>
            </a:lvl1pPr>
          </a:lstStyle>
          <a:p>
            <a:r>
              <a:rPr lang="en-US" smtClean="0"/>
              <a:t>Click to edit Master title style</a:t>
            </a:r>
            <a:endParaRPr lang="en-US" dirty="0"/>
          </a:p>
        </p:txBody>
      </p:sp>
      <p:sp>
        <p:nvSpPr>
          <p:cNvPr id="3" name="Subtitle 2"/>
          <p:cNvSpPr>
            <a:spLocks noGrp="1"/>
          </p:cNvSpPr>
          <p:nvPr>
            <p:ph type="subTitle" idx="1"/>
          </p:nvPr>
        </p:nvSpPr>
        <p:spPr>
          <a:xfrm>
            <a:off x="4341812" y="2440781"/>
            <a:ext cx="4497387" cy="816769"/>
          </a:xfrm>
          <a:prstGeom prst="rect">
            <a:avLst/>
          </a:prstGeom>
        </p:spPr>
        <p:txBody>
          <a:bodyPr lIns="0" tIns="0" rIns="0" bIns="0"/>
          <a:lstStyle>
            <a:lvl1pPr marL="0" indent="0" algn="l">
              <a:buNone/>
              <a:defRPr sz="200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Content Placeholder 7"/>
          <p:cNvSpPr>
            <a:spLocks noGrp="1"/>
          </p:cNvSpPr>
          <p:nvPr>
            <p:ph sz="quarter" idx="10"/>
          </p:nvPr>
        </p:nvSpPr>
        <p:spPr>
          <a:xfrm>
            <a:off x="4341812" y="3714750"/>
            <a:ext cx="4497387" cy="304800"/>
          </a:xfrm>
          <a:prstGeom prst="rect">
            <a:avLst/>
          </a:prstGeom>
        </p:spPr>
        <p:txBody>
          <a:bodyPr vert="horz" lIns="0" tIns="0" rIns="0" bIns="0"/>
          <a:lstStyle>
            <a:lvl1pPr marL="0" indent="0">
              <a:buNone/>
              <a:defRPr sz="1800">
                <a:solidFill>
                  <a:schemeClr val="bg2"/>
                </a:solidFill>
                <a:latin typeface="+mn-lt"/>
              </a:defRPr>
            </a:lvl1pPr>
            <a:lvl2pPr marL="457200" indent="0">
              <a:buNone/>
              <a:defRPr sz="2000"/>
            </a:lvl2pPr>
            <a:lvl3pPr>
              <a:defRPr sz="1800"/>
            </a:lvl3pPr>
            <a:lvl4pPr>
              <a:defRPr sz="1600"/>
            </a:lvl4pPr>
            <a:lvl5pPr>
              <a:defRPr sz="1600"/>
            </a:lvl5pPr>
          </a:lstStyle>
          <a:p>
            <a:pPr lvl="0"/>
            <a:r>
              <a:rPr lang="en-US" smtClean="0"/>
              <a:t>Click to edit Master text styles</a:t>
            </a:r>
          </a:p>
        </p:txBody>
      </p:sp>
      <p:sp>
        <p:nvSpPr>
          <p:cNvPr id="9" name="Picture Placeholder 2"/>
          <p:cNvSpPr>
            <a:spLocks noGrp="1"/>
          </p:cNvSpPr>
          <p:nvPr>
            <p:ph type="pic" idx="11"/>
          </p:nvPr>
        </p:nvSpPr>
        <p:spPr>
          <a:xfrm>
            <a:off x="0" y="2380"/>
            <a:ext cx="3886200" cy="4626769"/>
          </a:xfrm>
          <a:prstGeom prst="rect">
            <a:avLst/>
          </a:prstGeom>
        </p:spPr>
        <p:txBody>
          <a:bodyPr/>
          <a:lstStyle>
            <a:lvl1pPr marL="0" indent="0">
              <a:buNone/>
              <a:defRPr sz="1800">
                <a:solidFill>
                  <a:schemeClr val="bg2"/>
                </a:solidFill>
                <a:latin typeface="+mn-l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Tree>
    <p:extLst>
      <p:ext uri="{BB962C8B-B14F-4D97-AF65-F5344CB8AC3E}">
        <p14:creationId xmlns:p14="http://schemas.microsoft.com/office/powerpoint/2010/main" val="59537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2_Footer bar only">
    <p:bg bwMode="gray">
      <p:bgRef idx="1003">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558249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p:nvPr>
        </p:nvSpPr>
        <p:spPr>
          <a:xfrm>
            <a:off x="381000" y="990600"/>
            <a:ext cx="40386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4"/>
          <p:cNvSpPr>
            <a:spLocks noGrp="1"/>
          </p:cNvSpPr>
          <p:nvPr>
            <p:ph sz="quarter" idx="11"/>
          </p:nvPr>
        </p:nvSpPr>
        <p:spPr>
          <a:xfrm>
            <a:off x="4800600" y="990600"/>
            <a:ext cx="4038600" cy="3429000"/>
          </a:xfrm>
          <a:prstGeom prst="rect">
            <a:avLst/>
          </a:prstGeom>
        </p:spPr>
        <p:txBody>
          <a:bodyPr vert="horz" lIns="0" tIns="0" rIns="0" bIns="0"/>
          <a:lstStyle>
            <a:lvl1pPr marL="228600" indent="-228600">
              <a:spcBef>
                <a:spcPts val="1200"/>
              </a:spcBef>
              <a:buClr>
                <a:schemeClr val="tx1"/>
              </a:buClr>
              <a:defRPr sz="2400">
                <a:solidFill>
                  <a:srgbClr val="717073"/>
                </a:solidFill>
              </a:defRPr>
            </a:lvl1pPr>
            <a:lvl2pPr>
              <a:spcBef>
                <a:spcPts val="300"/>
              </a:spcBef>
              <a:buClr>
                <a:schemeClr val="tx1"/>
              </a:buClr>
              <a:defRPr sz="2000">
                <a:solidFill>
                  <a:srgbClr val="717073"/>
                </a:solidFill>
              </a:defRPr>
            </a:lvl2pPr>
            <a:lvl3pPr marL="1084263" indent="-169863">
              <a:spcBef>
                <a:spcPts val="300"/>
              </a:spcBef>
              <a:buClr>
                <a:schemeClr val="tx1"/>
              </a:buClr>
              <a:defRPr sz="1600">
                <a:solidFill>
                  <a:srgbClr val="717073"/>
                </a:solidFill>
              </a:defRPr>
            </a:lvl3pPr>
            <a:lvl4pPr marL="1430338" indent="-168275">
              <a:spcBef>
                <a:spcPts val="300"/>
              </a:spcBef>
              <a:buClr>
                <a:schemeClr val="tx1"/>
              </a:buClr>
              <a:defRPr sz="1200">
                <a:solidFill>
                  <a:srgbClr val="717073"/>
                </a:solidFill>
              </a:defRPr>
            </a:lvl4pPr>
            <a:lvl5pPr marL="1770063" indent="-169863">
              <a:spcBef>
                <a:spcPts val="300"/>
              </a:spcBef>
              <a:buClr>
                <a:schemeClr val="tx1"/>
              </a:buClr>
              <a:buFont typeface="Arial"/>
              <a:buChar char="•"/>
              <a:defRPr sz="1100">
                <a:solidFill>
                  <a:srgbClr val="717073"/>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4000870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s with subtit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1000" y="228601"/>
            <a:ext cx="8458200" cy="457200"/>
          </a:xfrm>
          <a:prstGeom prst="rect">
            <a:avLst/>
          </a:prstGeom>
        </p:spPr>
        <p:txBody>
          <a:bodyPr lIns="0" tIns="0" rIns="0" bIns="0" anchor="t" anchorCtr="0"/>
          <a:lstStyle>
            <a:lvl1pPr algn="l">
              <a:lnSpc>
                <a:spcPct val="90000"/>
              </a:lnSpc>
              <a:defRPr sz="2800">
                <a:solidFill>
                  <a:srgbClr val="000000"/>
                </a:solidFill>
              </a:defRPr>
            </a:lvl1pPr>
          </a:lstStyle>
          <a:p>
            <a:r>
              <a:rPr lang="en-US" dirty="0" smtClean="0"/>
              <a:t>CLICK TO EDIT MASTER TITLE STYLE</a:t>
            </a:r>
            <a:endParaRPr lang="en-US" dirty="0"/>
          </a:p>
        </p:txBody>
      </p:sp>
      <p:sp>
        <p:nvSpPr>
          <p:cNvPr id="5" name="Content Placeholder 4"/>
          <p:cNvSpPr>
            <a:spLocks noGrp="1"/>
          </p:cNvSpPr>
          <p:nvPr>
            <p:ph sz="quarter" idx="10" hasCustomPrompt="1"/>
          </p:nvPr>
        </p:nvSpPr>
        <p:spPr>
          <a:xfrm>
            <a:off x="381000" y="1011766"/>
            <a:ext cx="4038600" cy="3407833"/>
          </a:xfrm>
          <a:prstGeom prst="rect">
            <a:avLst/>
          </a:prstGeom>
        </p:spPr>
        <p:txBody>
          <a:bodyPr vert="horz" lIns="0" tIns="0" rIns="0" bIns="0"/>
          <a:lstStyle>
            <a:lvl1pPr marL="0" indent="0">
              <a:spcBef>
                <a:spcPts val="1200"/>
              </a:spcBef>
              <a:buClr>
                <a:schemeClr val="tx2"/>
              </a:buClr>
              <a:buNone/>
              <a:defRPr sz="2000">
                <a:solidFill>
                  <a:srgbClr val="000000"/>
                </a:solidFill>
              </a:defRPr>
            </a:lvl1pPr>
            <a:lvl2pPr marL="169863" indent="-169863">
              <a:spcBef>
                <a:spcPts val="1200"/>
              </a:spcBef>
              <a:buClr>
                <a:schemeClr val="tx1"/>
              </a:buClr>
              <a:buFont typeface="Arial"/>
              <a:buChar char="•"/>
              <a:defRPr sz="1800">
                <a:solidFill>
                  <a:srgbClr val="717073"/>
                </a:solidFill>
              </a:defRPr>
            </a:lvl2pPr>
            <a:lvl3pPr marL="515938" indent="-168275">
              <a:spcBef>
                <a:spcPts val="300"/>
              </a:spcBef>
              <a:buClr>
                <a:schemeClr val="tx1"/>
              </a:buClr>
              <a:buFont typeface="Lucida Grande"/>
              <a:buChar char="­"/>
              <a:defRPr sz="1400">
                <a:solidFill>
                  <a:srgbClr val="717073"/>
                </a:solidFill>
              </a:defRPr>
            </a:lvl3pPr>
            <a:lvl4pPr marL="855663" indent="-169863">
              <a:spcBef>
                <a:spcPts val="300"/>
              </a:spcBef>
              <a:buClr>
                <a:schemeClr val="tx1"/>
              </a:buClr>
              <a:buFont typeface="Arial"/>
              <a:buChar char="•"/>
              <a:defRPr sz="1100">
                <a:solidFill>
                  <a:srgbClr val="717073"/>
                </a:solidFill>
              </a:defRPr>
            </a:lvl4pPr>
            <a:lvl5pPr marL="1201738" indent="-168275">
              <a:spcBef>
                <a:spcPts val="300"/>
              </a:spcBef>
              <a:buClr>
                <a:schemeClr val="tx1"/>
              </a:buClr>
              <a:buFont typeface="Arial"/>
              <a:buChar char="–"/>
              <a:defRPr sz="1050">
                <a:solidFill>
                  <a:srgbClr val="71707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4"/>
          <p:cNvSpPr>
            <a:spLocks noGrp="1"/>
          </p:cNvSpPr>
          <p:nvPr>
            <p:ph sz="quarter" idx="11" hasCustomPrompt="1"/>
          </p:nvPr>
        </p:nvSpPr>
        <p:spPr>
          <a:xfrm>
            <a:off x="4809067" y="1011766"/>
            <a:ext cx="4038600" cy="3407833"/>
          </a:xfrm>
          <a:prstGeom prst="rect">
            <a:avLst/>
          </a:prstGeom>
        </p:spPr>
        <p:txBody>
          <a:bodyPr vert="horz" lIns="0" tIns="0" rIns="0" bIns="0"/>
          <a:lstStyle>
            <a:lvl1pPr marL="0" indent="0">
              <a:spcBef>
                <a:spcPts val="1200"/>
              </a:spcBef>
              <a:buClr>
                <a:schemeClr val="tx2"/>
              </a:buClr>
              <a:buNone/>
              <a:defRPr sz="2000">
                <a:solidFill>
                  <a:srgbClr val="000000"/>
                </a:solidFill>
              </a:defRPr>
            </a:lvl1pPr>
            <a:lvl2pPr marL="169863" indent="-169863">
              <a:spcBef>
                <a:spcPts val="1200"/>
              </a:spcBef>
              <a:buClr>
                <a:schemeClr val="tx1"/>
              </a:buClr>
              <a:buFont typeface="Arial"/>
              <a:buChar char="•"/>
              <a:defRPr sz="1800">
                <a:solidFill>
                  <a:srgbClr val="717073"/>
                </a:solidFill>
              </a:defRPr>
            </a:lvl2pPr>
            <a:lvl3pPr marL="515938" indent="-168275">
              <a:spcBef>
                <a:spcPts val="300"/>
              </a:spcBef>
              <a:buClr>
                <a:schemeClr val="tx1"/>
              </a:buClr>
              <a:buFont typeface="Lucida Grande"/>
              <a:buChar char="­"/>
              <a:defRPr sz="1400">
                <a:solidFill>
                  <a:srgbClr val="717073"/>
                </a:solidFill>
              </a:defRPr>
            </a:lvl3pPr>
            <a:lvl4pPr marL="855663" indent="-169863">
              <a:spcBef>
                <a:spcPts val="300"/>
              </a:spcBef>
              <a:buClr>
                <a:schemeClr val="tx1"/>
              </a:buClr>
              <a:buFont typeface="Arial"/>
              <a:buChar char="•"/>
              <a:defRPr sz="1100">
                <a:solidFill>
                  <a:srgbClr val="717073"/>
                </a:solidFill>
              </a:defRPr>
            </a:lvl4pPr>
            <a:lvl5pPr marL="1201738" indent="-168275">
              <a:spcBef>
                <a:spcPts val="300"/>
              </a:spcBef>
              <a:buClr>
                <a:schemeClr val="tx1"/>
              </a:buClr>
              <a:buFont typeface="Arial"/>
              <a:buChar char="–"/>
              <a:defRPr sz="1050">
                <a:solidFill>
                  <a:srgbClr val="717073"/>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6885833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1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image" Target="../media/image4.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3.png"/><Relationship Id="rId2" Type="http://schemas.openxmlformats.org/officeDocument/2006/relationships/slideLayout" Target="../slideLayouts/slideLayout13.xml"/><Relationship Id="rId16" Type="http://schemas.openxmlformats.org/officeDocument/2006/relationships/image" Target="../media/image2.png"/><Relationship Id="rId20"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png"/><Relationship Id="rId10" Type="http://schemas.openxmlformats.org/officeDocument/2006/relationships/slideLayout" Target="../slideLayouts/slideLayout21.xml"/><Relationship Id="rId19" Type="http://schemas.openxmlformats.org/officeDocument/2006/relationships/image" Target="../media/image5.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3.png"/><Relationship Id="rId3" Type="http://schemas.openxmlformats.org/officeDocument/2006/relationships/slideLayout" Target="../slideLayouts/slideLayout27.xml"/><Relationship Id="rId21" Type="http://schemas.openxmlformats.org/officeDocument/2006/relationships/image" Target="../media/image6.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2.png"/><Relationship Id="rId2" Type="http://schemas.openxmlformats.org/officeDocument/2006/relationships/slideLayout" Target="../slideLayouts/slideLayout26.xml"/><Relationship Id="rId16" Type="http://schemas.openxmlformats.org/officeDocument/2006/relationships/image" Target="../media/image1.png"/><Relationship Id="rId20" Type="http://schemas.openxmlformats.org/officeDocument/2006/relationships/image" Target="../media/image5.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3.xml"/><Relationship Id="rId10" Type="http://schemas.openxmlformats.org/officeDocument/2006/relationships/slideLayout" Target="../slideLayouts/slideLayout34.xml"/><Relationship Id="rId19" Type="http://schemas.openxmlformats.org/officeDocument/2006/relationships/image" Target="../media/image4.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image" Target="../media/image4.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3.png"/><Relationship Id="rId2" Type="http://schemas.openxmlformats.org/officeDocument/2006/relationships/slideLayout" Target="../slideLayouts/slideLayout40.xml"/><Relationship Id="rId16" Type="http://schemas.openxmlformats.org/officeDocument/2006/relationships/image" Target="../media/image2.png"/><Relationship Id="rId20" Type="http://schemas.openxmlformats.org/officeDocument/2006/relationships/image" Target="../media/image6.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image" Target="../media/image1.png"/><Relationship Id="rId10" Type="http://schemas.openxmlformats.org/officeDocument/2006/relationships/slideLayout" Target="../slideLayouts/slideLayout48.xml"/><Relationship Id="rId19" Type="http://schemas.openxmlformats.org/officeDocument/2006/relationships/image" Target="../media/image5.png"/><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image" Target="../media/image16.png"/><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Box 8"/>
          <p:cNvSpPr txBox="1"/>
          <p:nvPr/>
        </p:nvSpPr>
        <p:spPr>
          <a:xfrm>
            <a:off x="8801100" y="5033041"/>
            <a:ext cx="285750" cy="92333"/>
          </a:xfrm>
          <a:prstGeom prst="rect">
            <a:avLst/>
          </a:prstGeom>
          <a:noFill/>
        </p:spPr>
        <p:txBody>
          <a:bodyPr wrap="square" lIns="0" tIns="0" rIns="0" bIns="0" rtlCol="0">
            <a:spAutoFit/>
          </a:bodyPr>
          <a:lstStyle>
            <a:defPPr>
              <a:defRPr lang="en-US"/>
            </a:defPPr>
            <a:lvl1pPr marR="0" indent="0" fontAlgn="auto">
              <a:lnSpc>
                <a:spcPct val="100000"/>
              </a:lnSpc>
              <a:spcBef>
                <a:spcPts val="0"/>
              </a:spcBef>
              <a:spcAft>
                <a:spcPts val="0"/>
              </a:spcAft>
              <a:buClrTx/>
              <a:buSzTx/>
              <a:buFontTx/>
              <a:buNone/>
              <a:tabLst/>
              <a:defRPr sz="600">
                <a:solidFill>
                  <a:schemeClr val="bg2"/>
                </a:solidFill>
              </a:defRPr>
            </a:lvl1pPr>
          </a:lstStyle>
          <a:p>
            <a:pPr lvl="0" algn="r"/>
            <a:fld id="{61F684CE-B7BB-4223-BA2B-B47808B845F1}" type="slidenum">
              <a:rPr lang="en-US" smtClean="0">
                <a:solidFill>
                  <a:schemeClr val="bg2"/>
                </a:solidFill>
              </a:rPr>
              <a:pPr lvl="0" algn="r"/>
              <a:t>‹#›</a:t>
            </a:fld>
            <a:endParaRPr lang="en-US" dirty="0" smtClean="0">
              <a:solidFill>
                <a:schemeClr val="bg2"/>
              </a:solidFill>
            </a:endParaRPr>
          </a:p>
        </p:txBody>
      </p:sp>
      <p:grpSp>
        <p:nvGrpSpPr>
          <p:cNvPr id="4" name="Group 3"/>
          <p:cNvGrpSpPr/>
          <p:nvPr/>
        </p:nvGrpSpPr>
        <p:grpSpPr>
          <a:xfrm>
            <a:off x="5830094" y="4651595"/>
            <a:ext cx="2947194" cy="310172"/>
            <a:chOff x="4362003" y="4593555"/>
            <a:chExt cx="3946179" cy="415308"/>
          </a:xfrm>
        </p:grpSpPr>
        <p:pic>
          <p:nvPicPr>
            <p:cNvPr id="20" name="Picture 19"/>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bwMode="gray">
            <a:xfrm>
              <a:off x="7612039" y="4748281"/>
              <a:ext cx="696143" cy="105857"/>
            </a:xfrm>
            <a:prstGeom prst="rect">
              <a:avLst/>
            </a:prstGeom>
          </p:spPr>
        </p:pic>
        <p:pic>
          <p:nvPicPr>
            <p:cNvPr id="21" name="Picture 20"/>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5719739" y="4737673"/>
              <a:ext cx="554287" cy="127072"/>
            </a:xfrm>
            <a:prstGeom prst="rect">
              <a:avLst/>
            </a:prstGeom>
          </p:spPr>
        </p:pic>
        <p:pic>
          <p:nvPicPr>
            <p:cNvPr id="22" name="Picture 21"/>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bwMode="gray">
            <a:xfrm>
              <a:off x="6493812" y="4709021"/>
              <a:ext cx="394912" cy="184375"/>
            </a:xfrm>
            <a:prstGeom prst="rect">
              <a:avLst/>
            </a:prstGeom>
          </p:spPr>
        </p:pic>
        <p:pic>
          <p:nvPicPr>
            <p:cNvPr id="23" name="Picture 22"/>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4987417" y="4719073"/>
              <a:ext cx="509373" cy="164271"/>
            </a:xfrm>
            <a:prstGeom prst="rect">
              <a:avLst/>
            </a:prstGeom>
          </p:spPr>
        </p:pic>
        <p:pic>
          <p:nvPicPr>
            <p:cNvPr id="24" name="Picture 23"/>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104614" y="4672040"/>
              <a:ext cx="258339" cy="258339"/>
            </a:xfrm>
            <a:prstGeom prst="rect">
              <a:avLst/>
            </a:prstGeom>
          </p:spPr>
        </p:pic>
        <p:pic>
          <p:nvPicPr>
            <p:cNvPr id="8" name="Picture 7" descr="Federation_Logo_Color.png"/>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4362003" y="4593555"/>
              <a:ext cx="415916" cy="415308"/>
            </a:xfrm>
            <a:prstGeom prst="rect">
              <a:avLst/>
            </a:prstGeom>
          </p:spPr>
        </p:pic>
      </p:grpSp>
      <p:sp>
        <p:nvSpPr>
          <p:cNvPr id="11" name="TextBox 10"/>
          <p:cNvSpPr txBox="1"/>
          <p:nvPr/>
        </p:nvSpPr>
        <p:spPr bwMode="gray">
          <a:xfrm>
            <a:off x="366714" y="5033041"/>
            <a:ext cx="2213008" cy="92333"/>
          </a:xfrm>
          <a:prstGeom prst="rect">
            <a:avLst/>
          </a:prstGeom>
          <a:noFill/>
        </p:spPr>
        <p:txBody>
          <a:bodyPr wrap="non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600" dirty="0" smtClean="0">
                <a:solidFill>
                  <a:schemeClr val="bg2"/>
                </a:solidFill>
                <a:latin typeface="+mn-lt"/>
              </a:rPr>
              <a:t>© Copyright 2015 EMC Corporation. All rights reserved.</a:t>
            </a:r>
          </a:p>
        </p:txBody>
      </p:sp>
    </p:spTree>
    <p:extLst>
      <p:ext uri="{BB962C8B-B14F-4D97-AF65-F5344CB8AC3E}">
        <p14:creationId xmlns:p14="http://schemas.microsoft.com/office/powerpoint/2010/main" val="2488016988"/>
      </p:ext>
    </p:extLst>
  </p:cSld>
  <p:clrMap bg1="lt1" tx1="dk1" bg2="lt2" tx2="dk2" accent1="accent1" accent2="accent2" accent3="accent3" accent4="accent4" accent5="accent5" accent6="accent6" hlink="hlink" folHlink="folHlink"/>
  <p:sldLayoutIdLst>
    <p:sldLayoutId id="2147483738" r:id="rId1"/>
    <p:sldLayoutId id="2147483741"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830" r:id="rId1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Box 8"/>
          <p:cNvSpPr txBox="1"/>
          <p:nvPr/>
        </p:nvSpPr>
        <p:spPr>
          <a:xfrm>
            <a:off x="8801100" y="5033041"/>
            <a:ext cx="285750" cy="92333"/>
          </a:xfrm>
          <a:prstGeom prst="rect">
            <a:avLst/>
          </a:prstGeom>
          <a:noFill/>
        </p:spPr>
        <p:txBody>
          <a:bodyPr wrap="square" lIns="0" tIns="0" rIns="0" bIns="0" rtlCol="0">
            <a:spAutoFit/>
          </a:bodyPr>
          <a:lstStyle>
            <a:defPPr>
              <a:defRPr lang="en-US"/>
            </a:defPPr>
            <a:lvl1pPr marR="0" indent="0" fontAlgn="auto">
              <a:lnSpc>
                <a:spcPct val="100000"/>
              </a:lnSpc>
              <a:spcBef>
                <a:spcPts val="0"/>
              </a:spcBef>
              <a:spcAft>
                <a:spcPts val="0"/>
              </a:spcAft>
              <a:buClrTx/>
              <a:buSzTx/>
              <a:buFontTx/>
              <a:buNone/>
              <a:tabLst/>
              <a:defRPr sz="600">
                <a:solidFill>
                  <a:schemeClr val="bg2"/>
                </a:solidFill>
              </a:defRPr>
            </a:lvl1pPr>
          </a:lstStyle>
          <a:p>
            <a:pPr algn="r"/>
            <a:fld id="{61F684CE-B7BB-4223-BA2B-B47808B845F1}" type="slidenum">
              <a:rPr lang="en-US" smtClean="0">
                <a:solidFill>
                  <a:srgbClr val="717074"/>
                </a:solidFill>
              </a:rPr>
              <a:pPr algn="r"/>
              <a:t>‹#›</a:t>
            </a:fld>
            <a:endParaRPr lang="en-US" dirty="0" smtClean="0">
              <a:solidFill>
                <a:srgbClr val="717074"/>
              </a:solidFill>
            </a:endParaRPr>
          </a:p>
        </p:txBody>
      </p:sp>
      <p:grpSp>
        <p:nvGrpSpPr>
          <p:cNvPr id="4" name="Group 3"/>
          <p:cNvGrpSpPr/>
          <p:nvPr/>
        </p:nvGrpSpPr>
        <p:grpSpPr>
          <a:xfrm>
            <a:off x="5830094" y="4651595"/>
            <a:ext cx="2947194" cy="310172"/>
            <a:chOff x="4362003" y="4593555"/>
            <a:chExt cx="3946179" cy="415308"/>
          </a:xfrm>
        </p:grpSpPr>
        <p:pic>
          <p:nvPicPr>
            <p:cNvPr id="20" name="Picture 19"/>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bwMode="gray">
            <a:xfrm>
              <a:off x="7612039" y="4748281"/>
              <a:ext cx="696143" cy="105857"/>
            </a:xfrm>
            <a:prstGeom prst="rect">
              <a:avLst/>
            </a:prstGeom>
          </p:spPr>
        </p:pic>
        <p:pic>
          <p:nvPicPr>
            <p:cNvPr id="21" name="Picture 20"/>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5719739" y="4737673"/>
              <a:ext cx="554287" cy="127072"/>
            </a:xfrm>
            <a:prstGeom prst="rect">
              <a:avLst/>
            </a:prstGeom>
          </p:spPr>
        </p:pic>
        <p:pic>
          <p:nvPicPr>
            <p:cNvPr id="22" name="Picture 21"/>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bwMode="gray">
            <a:xfrm>
              <a:off x="6493812" y="4709021"/>
              <a:ext cx="394912" cy="184375"/>
            </a:xfrm>
            <a:prstGeom prst="rect">
              <a:avLst/>
            </a:prstGeom>
          </p:spPr>
        </p:pic>
        <p:pic>
          <p:nvPicPr>
            <p:cNvPr id="23" name="Picture 22"/>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4987417" y="4719073"/>
              <a:ext cx="509373" cy="164271"/>
            </a:xfrm>
            <a:prstGeom prst="rect">
              <a:avLst/>
            </a:prstGeom>
          </p:spPr>
        </p:pic>
        <p:pic>
          <p:nvPicPr>
            <p:cNvPr id="24" name="Picture 23"/>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104614" y="4672040"/>
              <a:ext cx="258339" cy="258339"/>
            </a:xfrm>
            <a:prstGeom prst="rect">
              <a:avLst/>
            </a:prstGeom>
          </p:spPr>
        </p:pic>
        <p:pic>
          <p:nvPicPr>
            <p:cNvPr id="8" name="Picture 7" descr="Federation_Logo_Color.png"/>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4362003" y="4593555"/>
              <a:ext cx="415916" cy="415308"/>
            </a:xfrm>
            <a:prstGeom prst="rect">
              <a:avLst/>
            </a:prstGeom>
          </p:spPr>
        </p:pic>
      </p:grpSp>
      <p:sp>
        <p:nvSpPr>
          <p:cNvPr id="11" name="TextBox 10"/>
          <p:cNvSpPr txBox="1"/>
          <p:nvPr/>
        </p:nvSpPr>
        <p:spPr bwMode="gray">
          <a:xfrm>
            <a:off x="366714" y="5033041"/>
            <a:ext cx="2213008" cy="92333"/>
          </a:xfrm>
          <a:prstGeom prst="rect">
            <a:avLst/>
          </a:prstGeom>
          <a:noFill/>
        </p:spPr>
        <p:txBody>
          <a:bodyPr wrap="none" lIns="0" tIns="0" rIns="0" bIns="0" rtlCol="0">
            <a:spAutoFit/>
          </a:bodyPr>
          <a:lstStyle/>
          <a:p>
            <a:pPr defTabSz="914400">
              <a:defRPr/>
            </a:pPr>
            <a:r>
              <a:rPr lang="en-US" sz="600" dirty="0" smtClean="0">
                <a:solidFill>
                  <a:srgbClr val="717074"/>
                </a:solidFill>
              </a:rPr>
              <a:t>© Copyright 2015 EMC Corporation. All rights reserved.</a:t>
            </a:r>
          </a:p>
        </p:txBody>
      </p:sp>
    </p:spTree>
    <p:extLst>
      <p:ext uri="{BB962C8B-B14F-4D97-AF65-F5344CB8AC3E}">
        <p14:creationId xmlns:p14="http://schemas.microsoft.com/office/powerpoint/2010/main" val="288347173"/>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Box 8"/>
          <p:cNvSpPr txBox="1"/>
          <p:nvPr/>
        </p:nvSpPr>
        <p:spPr>
          <a:xfrm>
            <a:off x="8801100" y="5033041"/>
            <a:ext cx="285750" cy="92333"/>
          </a:xfrm>
          <a:prstGeom prst="rect">
            <a:avLst/>
          </a:prstGeom>
          <a:noFill/>
        </p:spPr>
        <p:txBody>
          <a:bodyPr wrap="square" lIns="0" tIns="0" rIns="0" bIns="0" rtlCol="0">
            <a:spAutoFit/>
          </a:bodyPr>
          <a:lstStyle>
            <a:defPPr>
              <a:defRPr lang="en-US"/>
            </a:defPPr>
            <a:lvl1pPr marR="0" indent="0" fontAlgn="auto">
              <a:lnSpc>
                <a:spcPct val="100000"/>
              </a:lnSpc>
              <a:spcBef>
                <a:spcPts val="0"/>
              </a:spcBef>
              <a:spcAft>
                <a:spcPts val="0"/>
              </a:spcAft>
              <a:buClrTx/>
              <a:buSzTx/>
              <a:buFontTx/>
              <a:buNone/>
              <a:tabLst/>
              <a:defRPr sz="600">
                <a:solidFill>
                  <a:schemeClr val="bg2"/>
                </a:solidFill>
              </a:defRPr>
            </a:lvl1pPr>
          </a:lstStyle>
          <a:p>
            <a:pPr algn="r"/>
            <a:fld id="{61F684CE-B7BB-4223-BA2B-B47808B845F1}" type="slidenum">
              <a:rPr lang="en-US" smtClean="0">
                <a:solidFill>
                  <a:srgbClr val="717074"/>
                </a:solidFill>
              </a:rPr>
              <a:pPr algn="r"/>
              <a:t>‹#›</a:t>
            </a:fld>
            <a:endParaRPr lang="en-US" dirty="0" smtClean="0">
              <a:solidFill>
                <a:srgbClr val="717074"/>
              </a:solidFill>
            </a:endParaRPr>
          </a:p>
        </p:txBody>
      </p:sp>
      <p:grpSp>
        <p:nvGrpSpPr>
          <p:cNvPr id="4" name="Group 3"/>
          <p:cNvGrpSpPr/>
          <p:nvPr/>
        </p:nvGrpSpPr>
        <p:grpSpPr>
          <a:xfrm>
            <a:off x="5830094" y="4651595"/>
            <a:ext cx="2947194" cy="310172"/>
            <a:chOff x="4362003" y="4593555"/>
            <a:chExt cx="3946179" cy="415308"/>
          </a:xfrm>
        </p:grpSpPr>
        <p:pic>
          <p:nvPicPr>
            <p:cNvPr id="20" name="Picture 19"/>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bwMode="gray">
            <a:xfrm>
              <a:off x="7612039" y="4748281"/>
              <a:ext cx="696143" cy="105857"/>
            </a:xfrm>
            <a:prstGeom prst="rect">
              <a:avLst/>
            </a:prstGeom>
          </p:spPr>
        </p:pic>
        <p:pic>
          <p:nvPicPr>
            <p:cNvPr id="21" name="Picture 2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5719739" y="4737673"/>
              <a:ext cx="554287" cy="127072"/>
            </a:xfrm>
            <a:prstGeom prst="rect">
              <a:avLst/>
            </a:prstGeom>
          </p:spPr>
        </p:pic>
        <p:pic>
          <p:nvPicPr>
            <p:cNvPr id="22" name="Picture 21"/>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bwMode="gray">
            <a:xfrm>
              <a:off x="6493812" y="4709021"/>
              <a:ext cx="394912" cy="184375"/>
            </a:xfrm>
            <a:prstGeom prst="rect">
              <a:avLst/>
            </a:prstGeom>
          </p:spPr>
        </p:pic>
        <p:pic>
          <p:nvPicPr>
            <p:cNvPr id="23" name="Picture 22"/>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4987417" y="4719073"/>
              <a:ext cx="509373" cy="164271"/>
            </a:xfrm>
            <a:prstGeom prst="rect">
              <a:avLst/>
            </a:prstGeom>
          </p:spPr>
        </p:pic>
        <p:pic>
          <p:nvPicPr>
            <p:cNvPr id="24" name="Picture 23"/>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7104614" y="4672040"/>
              <a:ext cx="258339" cy="258339"/>
            </a:xfrm>
            <a:prstGeom prst="rect">
              <a:avLst/>
            </a:prstGeom>
          </p:spPr>
        </p:pic>
        <p:pic>
          <p:nvPicPr>
            <p:cNvPr id="8" name="Picture 7" descr="Federation_Logo_Color.png"/>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4362003" y="4593555"/>
              <a:ext cx="415916" cy="415308"/>
            </a:xfrm>
            <a:prstGeom prst="rect">
              <a:avLst/>
            </a:prstGeom>
          </p:spPr>
        </p:pic>
      </p:grpSp>
      <p:sp>
        <p:nvSpPr>
          <p:cNvPr id="11" name="TextBox 10"/>
          <p:cNvSpPr txBox="1"/>
          <p:nvPr/>
        </p:nvSpPr>
        <p:spPr bwMode="gray">
          <a:xfrm>
            <a:off x="366714" y="5033041"/>
            <a:ext cx="2213008" cy="92333"/>
          </a:xfrm>
          <a:prstGeom prst="rect">
            <a:avLst/>
          </a:prstGeom>
          <a:noFill/>
        </p:spPr>
        <p:txBody>
          <a:bodyPr wrap="none" lIns="0" tIns="0" rIns="0" bIns="0" rtlCol="0">
            <a:spAutoFit/>
          </a:bodyPr>
          <a:lstStyle/>
          <a:p>
            <a:pPr defTabSz="914400">
              <a:defRPr/>
            </a:pPr>
            <a:r>
              <a:rPr lang="en-US" sz="600" dirty="0" smtClean="0">
                <a:solidFill>
                  <a:srgbClr val="717074"/>
                </a:solidFill>
              </a:rPr>
              <a:t>© Copyright 2015 EMC Corporation. All rights reserved.</a:t>
            </a:r>
          </a:p>
        </p:txBody>
      </p:sp>
      <p:sp>
        <p:nvSpPr>
          <p:cNvPr id="2" name="TextBox 1"/>
          <p:cNvSpPr txBox="1"/>
          <p:nvPr/>
        </p:nvSpPr>
        <p:spPr>
          <a:xfrm>
            <a:off x="6122737" y="6871368"/>
            <a:ext cx="184666" cy="369332"/>
          </a:xfrm>
          <a:prstGeom prst="rect">
            <a:avLst/>
          </a:prstGeom>
          <a:noFill/>
        </p:spPr>
        <p:txBody>
          <a:bodyPr wrap="none" rtlCol="0">
            <a:spAutoFit/>
          </a:bodyPr>
          <a:lstStyle/>
          <a:p>
            <a:endParaRPr lang="en-US" dirty="0" err="1" smtClean="0">
              <a:solidFill>
                <a:srgbClr val="717074"/>
              </a:solidFill>
            </a:endParaRPr>
          </a:p>
        </p:txBody>
      </p:sp>
    </p:spTree>
    <p:extLst>
      <p:ext uri="{BB962C8B-B14F-4D97-AF65-F5344CB8AC3E}">
        <p14:creationId xmlns:p14="http://schemas.microsoft.com/office/powerpoint/2010/main" val="26458806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TextBox 8"/>
          <p:cNvSpPr txBox="1"/>
          <p:nvPr/>
        </p:nvSpPr>
        <p:spPr>
          <a:xfrm>
            <a:off x="8801100" y="5033041"/>
            <a:ext cx="285750" cy="92333"/>
          </a:xfrm>
          <a:prstGeom prst="rect">
            <a:avLst/>
          </a:prstGeom>
          <a:noFill/>
        </p:spPr>
        <p:txBody>
          <a:bodyPr wrap="square" lIns="0" tIns="0" rIns="0" bIns="0" rtlCol="0">
            <a:spAutoFit/>
          </a:bodyPr>
          <a:lstStyle>
            <a:defPPr>
              <a:defRPr lang="en-US"/>
            </a:defPPr>
            <a:lvl1pPr marR="0" indent="0" fontAlgn="auto">
              <a:lnSpc>
                <a:spcPct val="100000"/>
              </a:lnSpc>
              <a:spcBef>
                <a:spcPts val="0"/>
              </a:spcBef>
              <a:spcAft>
                <a:spcPts val="0"/>
              </a:spcAft>
              <a:buClrTx/>
              <a:buSzTx/>
              <a:buFontTx/>
              <a:buNone/>
              <a:tabLst/>
              <a:defRPr sz="600">
                <a:solidFill>
                  <a:schemeClr val="bg2"/>
                </a:solidFill>
              </a:defRPr>
            </a:lvl1pPr>
          </a:lstStyle>
          <a:p>
            <a:pPr algn="r"/>
            <a:fld id="{61F684CE-B7BB-4223-BA2B-B47808B845F1}" type="slidenum">
              <a:rPr lang="en-US" smtClean="0">
                <a:solidFill>
                  <a:srgbClr val="717074"/>
                </a:solidFill>
              </a:rPr>
              <a:pPr algn="r"/>
              <a:t>‹#›</a:t>
            </a:fld>
            <a:endParaRPr lang="en-US" dirty="0" smtClean="0">
              <a:solidFill>
                <a:srgbClr val="717074"/>
              </a:solidFill>
            </a:endParaRPr>
          </a:p>
        </p:txBody>
      </p:sp>
      <p:grpSp>
        <p:nvGrpSpPr>
          <p:cNvPr id="4" name="Group 3"/>
          <p:cNvGrpSpPr/>
          <p:nvPr/>
        </p:nvGrpSpPr>
        <p:grpSpPr>
          <a:xfrm>
            <a:off x="5830094" y="4651595"/>
            <a:ext cx="2947194" cy="310172"/>
            <a:chOff x="4362003" y="4593555"/>
            <a:chExt cx="3946179" cy="415308"/>
          </a:xfrm>
        </p:grpSpPr>
        <p:pic>
          <p:nvPicPr>
            <p:cNvPr id="20" name="Picture 19"/>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bwMode="gray">
            <a:xfrm>
              <a:off x="7612039" y="4748281"/>
              <a:ext cx="696143" cy="105857"/>
            </a:xfrm>
            <a:prstGeom prst="rect">
              <a:avLst/>
            </a:prstGeom>
          </p:spPr>
        </p:pic>
        <p:pic>
          <p:nvPicPr>
            <p:cNvPr id="21" name="Picture 20"/>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5719739" y="4737673"/>
              <a:ext cx="554287" cy="127072"/>
            </a:xfrm>
            <a:prstGeom prst="rect">
              <a:avLst/>
            </a:prstGeom>
          </p:spPr>
        </p:pic>
        <p:pic>
          <p:nvPicPr>
            <p:cNvPr id="22" name="Picture 21"/>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bwMode="gray">
            <a:xfrm>
              <a:off x="6493812" y="4709021"/>
              <a:ext cx="394912" cy="184375"/>
            </a:xfrm>
            <a:prstGeom prst="rect">
              <a:avLst/>
            </a:prstGeom>
          </p:spPr>
        </p:pic>
        <p:pic>
          <p:nvPicPr>
            <p:cNvPr id="23" name="Picture 22"/>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4987417" y="4719073"/>
              <a:ext cx="509373" cy="164271"/>
            </a:xfrm>
            <a:prstGeom prst="rect">
              <a:avLst/>
            </a:prstGeom>
          </p:spPr>
        </p:pic>
        <p:pic>
          <p:nvPicPr>
            <p:cNvPr id="24" name="Picture 23"/>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7104614" y="4672040"/>
              <a:ext cx="258339" cy="258339"/>
            </a:xfrm>
            <a:prstGeom prst="rect">
              <a:avLst/>
            </a:prstGeom>
          </p:spPr>
        </p:pic>
        <p:pic>
          <p:nvPicPr>
            <p:cNvPr id="8" name="Picture 7" descr="Federation_Logo_Color.png"/>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4362003" y="4593555"/>
              <a:ext cx="415916" cy="415308"/>
            </a:xfrm>
            <a:prstGeom prst="rect">
              <a:avLst/>
            </a:prstGeom>
          </p:spPr>
        </p:pic>
      </p:grpSp>
      <p:sp>
        <p:nvSpPr>
          <p:cNvPr id="11" name="TextBox 10"/>
          <p:cNvSpPr txBox="1"/>
          <p:nvPr/>
        </p:nvSpPr>
        <p:spPr bwMode="gray">
          <a:xfrm>
            <a:off x="366714" y="5033041"/>
            <a:ext cx="2213008" cy="92333"/>
          </a:xfrm>
          <a:prstGeom prst="rect">
            <a:avLst/>
          </a:prstGeom>
          <a:noFill/>
        </p:spPr>
        <p:txBody>
          <a:bodyPr wrap="none" lIns="0" tIns="0" rIns="0" bIns="0" rtlCol="0">
            <a:spAutoFit/>
          </a:bodyPr>
          <a:lstStyle/>
          <a:p>
            <a:pPr defTabSz="914400">
              <a:defRPr/>
            </a:pPr>
            <a:r>
              <a:rPr lang="en-US" sz="600" dirty="0" smtClean="0">
                <a:solidFill>
                  <a:srgbClr val="717074"/>
                </a:solidFill>
              </a:rPr>
              <a:t>© Copyright 2015 EMC Corporation. All rights reserved.</a:t>
            </a:r>
          </a:p>
        </p:txBody>
      </p:sp>
    </p:spTree>
    <p:extLst>
      <p:ext uri="{BB962C8B-B14F-4D97-AF65-F5344CB8AC3E}">
        <p14:creationId xmlns:p14="http://schemas.microsoft.com/office/powerpoint/2010/main" val="194988817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TextBox 9"/>
          <p:cNvSpPr txBox="1"/>
          <p:nvPr/>
        </p:nvSpPr>
        <p:spPr>
          <a:xfrm>
            <a:off x="8801100" y="5033041"/>
            <a:ext cx="285750" cy="92333"/>
          </a:xfrm>
          <a:prstGeom prst="rect">
            <a:avLst/>
          </a:prstGeom>
          <a:noFill/>
        </p:spPr>
        <p:txBody>
          <a:bodyPr wrap="square" lIns="0" tIns="0" rIns="0" bIns="0" rtlCol="0">
            <a:spAutoFit/>
          </a:bodyPr>
          <a:lstStyle>
            <a:defPPr>
              <a:defRPr lang="en-US"/>
            </a:defPPr>
            <a:lvl1pPr marR="0" indent="0" fontAlgn="auto">
              <a:lnSpc>
                <a:spcPct val="100000"/>
              </a:lnSpc>
              <a:spcBef>
                <a:spcPts val="0"/>
              </a:spcBef>
              <a:spcAft>
                <a:spcPts val="0"/>
              </a:spcAft>
              <a:buClrTx/>
              <a:buSzTx/>
              <a:buFontTx/>
              <a:buNone/>
              <a:tabLst/>
              <a:defRPr sz="600">
                <a:solidFill>
                  <a:schemeClr val="bg2"/>
                </a:solidFill>
              </a:defRPr>
            </a:lvl1pPr>
          </a:lstStyle>
          <a:p>
            <a:pPr algn="r"/>
            <a:fld id="{61F684CE-B7BB-4223-BA2B-B47808B845F1}" type="slidenum">
              <a:rPr lang="en-US" smtClean="0">
                <a:solidFill>
                  <a:srgbClr val="717074"/>
                </a:solidFill>
              </a:rPr>
              <a:pPr algn="r"/>
              <a:t>‹#›</a:t>
            </a:fld>
            <a:endParaRPr lang="en-US" dirty="0" smtClean="0">
              <a:solidFill>
                <a:srgbClr val="717074"/>
              </a:solidFill>
            </a:endParaRPr>
          </a:p>
        </p:txBody>
      </p:sp>
      <p:grpSp>
        <p:nvGrpSpPr>
          <p:cNvPr id="8" name="Group 7"/>
          <p:cNvGrpSpPr/>
          <p:nvPr/>
        </p:nvGrpSpPr>
        <p:grpSpPr>
          <a:xfrm>
            <a:off x="7859395" y="4629149"/>
            <a:ext cx="593222" cy="514350"/>
            <a:chOff x="7618413" y="4303993"/>
            <a:chExt cx="762000" cy="660688"/>
          </a:xfrm>
        </p:grpSpPr>
        <p:sp>
          <p:nvSpPr>
            <p:cNvPr id="9" name="Rectangle 8"/>
            <p:cNvSpPr/>
            <p:nvPr/>
          </p:nvSpPr>
          <p:spPr>
            <a:xfrm>
              <a:off x="7618413" y="4303993"/>
              <a:ext cx="762000" cy="66068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2" name="Picture 11" descr="EMC logo white_300dpi.png"/>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7728486" y="4429482"/>
              <a:ext cx="531651" cy="184909"/>
            </a:xfrm>
            <a:prstGeom prst="rect">
              <a:avLst/>
            </a:prstGeom>
          </p:spPr>
        </p:pic>
      </p:grpSp>
      <p:sp>
        <p:nvSpPr>
          <p:cNvPr id="17" name="TextBox 16"/>
          <p:cNvSpPr txBox="1"/>
          <p:nvPr/>
        </p:nvSpPr>
        <p:spPr bwMode="gray">
          <a:xfrm>
            <a:off x="366714" y="5033041"/>
            <a:ext cx="2164054" cy="92333"/>
          </a:xfrm>
          <a:prstGeom prst="rect">
            <a:avLst/>
          </a:prstGeom>
          <a:noFill/>
        </p:spPr>
        <p:txBody>
          <a:bodyPr wrap="none" lIns="0" tIns="0" rIns="0" bIns="0" rtlCol="0">
            <a:spAutoFit/>
          </a:bodyPr>
          <a:lstStyle/>
          <a:p>
            <a:pPr defTabSz="914400">
              <a:defRPr/>
            </a:pPr>
            <a:r>
              <a:rPr lang="en-US" sz="600" dirty="0" smtClean="0">
                <a:solidFill>
                  <a:srgbClr val="717074"/>
                </a:solidFill>
              </a:rPr>
              <a:t>© Copyright 2014 EMC Corporation. All rights reserved.</a:t>
            </a:r>
          </a:p>
        </p:txBody>
      </p:sp>
      <p:sp>
        <p:nvSpPr>
          <p:cNvPr id="18" name="TextBox 17"/>
          <p:cNvSpPr txBox="1"/>
          <p:nvPr/>
        </p:nvSpPr>
        <p:spPr bwMode="gray">
          <a:xfrm>
            <a:off x="366714" y="5033041"/>
            <a:ext cx="2164054" cy="92333"/>
          </a:xfrm>
          <a:prstGeom prst="rect">
            <a:avLst/>
          </a:prstGeom>
          <a:noFill/>
        </p:spPr>
        <p:txBody>
          <a:bodyPr wrap="none" lIns="0" tIns="0" rIns="0" bIns="0" rtlCol="0">
            <a:spAutoFit/>
          </a:bodyPr>
          <a:lstStyle/>
          <a:p>
            <a:pPr defTabSz="914400">
              <a:defRPr/>
            </a:pPr>
            <a:r>
              <a:rPr lang="en-US" sz="600" dirty="0" smtClean="0">
                <a:solidFill>
                  <a:srgbClr val="717074"/>
                </a:solidFill>
              </a:rPr>
              <a:t>© Copyright 2014 EMC Corporation. All rights reserved.</a:t>
            </a:r>
          </a:p>
        </p:txBody>
      </p:sp>
    </p:spTree>
    <p:extLst>
      <p:ext uri="{BB962C8B-B14F-4D97-AF65-F5344CB8AC3E}">
        <p14:creationId xmlns:p14="http://schemas.microsoft.com/office/powerpoint/2010/main" val="2295577993"/>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jpeg"/><Relationship Id="rId1" Type="http://schemas.openxmlformats.org/officeDocument/2006/relationships/slideLayout" Target="../slideLayouts/slideLayout6.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jpeg"/></Relationships>
</file>

<file path=ppt/slides/_rels/slide12.xml.rels><?xml version="1.0" encoding="UTF-8" standalone="yes"?>
<Relationships xmlns="http://schemas.openxmlformats.org/package/2006/relationships"><Relationship Id="rId8" Type="http://schemas.openxmlformats.org/officeDocument/2006/relationships/image" Target="../media/image91.jpeg"/><Relationship Id="rId13" Type="http://schemas.openxmlformats.org/officeDocument/2006/relationships/image" Target="../media/image96.png"/><Relationship Id="rId18" Type="http://schemas.openxmlformats.org/officeDocument/2006/relationships/image" Target="../media/image100.png"/><Relationship Id="rId3" Type="http://schemas.openxmlformats.org/officeDocument/2006/relationships/image" Target="../media/image86.jpeg"/><Relationship Id="rId21" Type="http://schemas.openxmlformats.org/officeDocument/2006/relationships/image" Target="../media/image103.png"/><Relationship Id="rId7" Type="http://schemas.openxmlformats.org/officeDocument/2006/relationships/image" Target="../media/image90.jpeg"/><Relationship Id="rId12" Type="http://schemas.openxmlformats.org/officeDocument/2006/relationships/image" Target="../media/image95.png"/><Relationship Id="rId17" Type="http://schemas.openxmlformats.org/officeDocument/2006/relationships/image" Target="../media/image99.png"/><Relationship Id="rId25" Type="http://schemas.openxmlformats.org/officeDocument/2006/relationships/image" Target="../media/image107.png"/><Relationship Id="rId2" Type="http://schemas.openxmlformats.org/officeDocument/2006/relationships/image" Target="../media/image85.jpeg"/><Relationship Id="rId16" Type="http://schemas.openxmlformats.org/officeDocument/2006/relationships/image" Target="../media/image98.png"/><Relationship Id="rId20" Type="http://schemas.openxmlformats.org/officeDocument/2006/relationships/image" Target="../media/image102.png"/><Relationship Id="rId1" Type="http://schemas.openxmlformats.org/officeDocument/2006/relationships/slideLayout" Target="../slideLayouts/slideLayout6.xml"/><Relationship Id="rId6" Type="http://schemas.openxmlformats.org/officeDocument/2006/relationships/image" Target="../media/image89.jpeg"/><Relationship Id="rId11" Type="http://schemas.openxmlformats.org/officeDocument/2006/relationships/image" Target="../media/image94.jpeg"/><Relationship Id="rId24" Type="http://schemas.openxmlformats.org/officeDocument/2006/relationships/image" Target="../media/image106.png"/><Relationship Id="rId5" Type="http://schemas.openxmlformats.org/officeDocument/2006/relationships/image" Target="../media/image88.png"/><Relationship Id="rId15" Type="http://schemas.openxmlformats.org/officeDocument/2006/relationships/image" Target="../media/image97.png"/><Relationship Id="rId23" Type="http://schemas.openxmlformats.org/officeDocument/2006/relationships/image" Target="../media/image105.png"/><Relationship Id="rId10" Type="http://schemas.openxmlformats.org/officeDocument/2006/relationships/image" Target="../media/image93.jpeg"/><Relationship Id="rId19" Type="http://schemas.openxmlformats.org/officeDocument/2006/relationships/image" Target="../media/image101.png"/><Relationship Id="rId4" Type="http://schemas.openxmlformats.org/officeDocument/2006/relationships/image" Target="../media/image87.jpeg"/><Relationship Id="rId9" Type="http://schemas.openxmlformats.org/officeDocument/2006/relationships/image" Target="../media/image92.jpeg"/><Relationship Id="rId14" Type="http://schemas.microsoft.com/office/2007/relationships/hdphoto" Target="../media/hdphoto8.wdp"/><Relationship Id="rId22" Type="http://schemas.openxmlformats.org/officeDocument/2006/relationships/image" Target="../media/image104.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109.png"/><Relationship Id="rId7" Type="http://schemas.microsoft.com/office/2007/relationships/hdphoto" Target="../media/hdphoto9.wdp"/><Relationship Id="rId2" Type="http://schemas.openxmlformats.org/officeDocument/2006/relationships/image" Target="../media/image108.png"/><Relationship Id="rId1" Type="http://schemas.openxmlformats.org/officeDocument/2006/relationships/slideLayout" Target="../slideLayouts/slideLayout5.xml"/><Relationship Id="rId6" Type="http://schemas.openxmlformats.org/officeDocument/2006/relationships/image" Target="../media/image112.png"/><Relationship Id="rId11" Type="http://schemas.openxmlformats.org/officeDocument/2006/relationships/image" Target="../media/image115.png"/><Relationship Id="rId5" Type="http://schemas.openxmlformats.org/officeDocument/2006/relationships/image" Target="../media/image111.png"/><Relationship Id="rId10" Type="http://schemas.openxmlformats.org/officeDocument/2006/relationships/image" Target="../media/image114.png"/><Relationship Id="rId4" Type="http://schemas.openxmlformats.org/officeDocument/2006/relationships/image" Target="../media/image110.png"/><Relationship Id="rId9" Type="http://schemas.openxmlformats.org/officeDocument/2006/relationships/image" Target="../media/image113.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image" Target="../media/image116.jpeg"/><Relationship Id="rId1" Type="http://schemas.openxmlformats.org/officeDocument/2006/relationships/slideLayout" Target="../slideLayouts/slideLayout5.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19.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png"/><Relationship Id="rId2" Type="http://schemas.openxmlformats.org/officeDocument/2006/relationships/image" Target="../media/image122.jpeg"/><Relationship Id="rId16" Type="http://schemas.openxmlformats.org/officeDocument/2006/relationships/image" Target="../media/image135.png"/><Relationship Id="rId1" Type="http://schemas.openxmlformats.org/officeDocument/2006/relationships/slideLayout" Target="../slideLayouts/slideLayout5.xml"/><Relationship Id="rId6" Type="http://schemas.openxmlformats.org/officeDocument/2006/relationships/image" Target="../media/image126.png"/><Relationship Id="rId11" Type="http://schemas.openxmlformats.org/officeDocument/2006/relationships/image" Target="../media/image131.png"/><Relationship Id="rId5" Type="http://schemas.openxmlformats.org/officeDocument/2006/relationships/image" Target="../media/image125.png"/><Relationship Id="rId15" Type="http://schemas.openxmlformats.org/officeDocument/2006/relationships/image" Target="../media/image134.png"/><Relationship Id="rId10" Type="http://schemas.openxmlformats.org/officeDocument/2006/relationships/image" Target="../media/image130.png"/><Relationship Id="rId4" Type="http://schemas.openxmlformats.org/officeDocument/2006/relationships/image" Target="../media/image124.png"/><Relationship Id="rId9" Type="http://schemas.openxmlformats.org/officeDocument/2006/relationships/image" Target="../media/image129.png"/><Relationship Id="rId14" Type="http://schemas.openxmlformats.org/officeDocument/2006/relationships/image" Target="../media/image11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1.xml"/><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9.png"/><Relationship Id="rId18" Type="http://schemas.openxmlformats.org/officeDocument/2006/relationships/image" Target="../media/image43.png"/><Relationship Id="rId26" Type="http://schemas.openxmlformats.org/officeDocument/2006/relationships/image" Target="../media/image49.png"/><Relationship Id="rId3" Type="http://schemas.openxmlformats.org/officeDocument/2006/relationships/image" Target="../media/image31.png"/><Relationship Id="rId21" Type="http://schemas.openxmlformats.org/officeDocument/2006/relationships/image" Target="../media/image45.png"/><Relationship Id="rId7" Type="http://schemas.openxmlformats.org/officeDocument/2006/relationships/image" Target="../media/image35.png"/><Relationship Id="rId12" Type="http://schemas.microsoft.com/office/2007/relationships/hdphoto" Target="../media/hdphoto2.wdp"/><Relationship Id="rId17" Type="http://schemas.openxmlformats.org/officeDocument/2006/relationships/image" Target="../media/image42.png"/><Relationship Id="rId25" Type="http://schemas.openxmlformats.org/officeDocument/2006/relationships/image" Target="../media/image48.png"/><Relationship Id="rId2" Type="http://schemas.openxmlformats.org/officeDocument/2006/relationships/notesSlide" Target="../notesSlides/notesSlide2.xml"/><Relationship Id="rId16" Type="http://schemas.microsoft.com/office/2007/relationships/hdphoto" Target="../media/hdphoto3.wdp"/><Relationship Id="rId20" Type="http://schemas.openxmlformats.org/officeDocument/2006/relationships/image" Target="../media/image44.png"/><Relationship Id="rId1" Type="http://schemas.openxmlformats.org/officeDocument/2006/relationships/slideLayout" Target="../slideLayouts/slideLayout5.xml"/><Relationship Id="rId6" Type="http://schemas.openxmlformats.org/officeDocument/2006/relationships/image" Target="../media/image34.png"/><Relationship Id="rId11" Type="http://schemas.openxmlformats.org/officeDocument/2006/relationships/image" Target="../media/image38.png"/><Relationship Id="rId24" Type="http://schemas.openxmlformats.org/officeDocument/2006/relationships/image" Target="../media/image47.png"/><Relationship Id="rId5" Type="http://schemas.openxmlformats.org/officeDocument/2006/relationships/image" Target="../media/image33.png"/><Relationship Id="rId15" Type="http://schemas.openxmlformats.org/officeDocument/2006/relationships/image" Target="../media/image41.png"/><Relationship Id="rId23" Type="http://schemas.openxmlformats.org/officeDocument/2006/relationships/image" Target="../media/image46.png"/><Relationship Id="rId10" Type="http://schemas.openxmlformats.org/officeDocument/2006/relationships/image" Target="../media/image37.png"/><Relationship Id="rId19" Type="http://schemas.microsoft.com/office/2007/relationships/hdphoto" Target="../media/hdphoto4.wdp"/><Relationship Id="rId4" Type="http://schemas.openxmlformats.org/officeDocument/2006/relationships/image" Target="../media/image32.png"/><Relationship Id="rId9" Type="http://schemas.microsoft.com/office/2007/relationships/hdphoto" Target="../media/hdphoto1.wdp"/><Relationship Id="rId14" Type="http://schemas.openxmlformats.org/officeDocument/2006/relationships/image" Target="../media/image40.png"/><Relationship Id="rId22" Type="http://schemas.microsoft.com/office/2007/relationships/hdphoto" Target="../media/hdphoto5.wdp"/></Relationships>
</file>

<file path=ppt/slides/_rels/slide6.xml.rels><?xml version="1.0" encoding="UTF-8" standalone="yes"?>
<Relationships xmlns="http://schemas.openxmlformats.org/package/2006/relationships"><Relationship Id="rId8" Type="http://schemas.openxmlformats.org/officeDocument/2006/relationships/image" Target="../media/image55.png"/><Relationship Id="rId13" Type="http://schemas.microsoft.com/office/2007/relationships/hdphoto" Target="../media/hdphoto6.wdp"/><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7.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0.jpeg"/><Relationship Id="rId7" Type="http://schemas.microsoft.com/office/2007/relationships/hdphoto" Target="../media/hdphoto7.wdp"/><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chart" Target="../charts/chart1.xml"/></Relationships>
</file>

<file path=ppt/slides/_rels/slide9.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png"/><Relationship Id="rId2" Type="http://schemas.openxmlformats.org/officeDocument/2006/relationships/image" Target="../media/image65.png"/><Relationship Id="rId1" Type="http://schemas.openxmlformats.org/officeDocument/2006/relationships/slideLayout" Target="../slideLayouts/slideLayout5.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IO-Summit-FED-0515 for ppt.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9144000" cy="4569380"/>
          </a:xfrm>
          <a:prstGeom prst="rect">
            <a:avLst/>
          </a:prstGeom>
        </p:spPr>
      </p:pic>
    </p:spTree>
    <p:extLst>
      <p:ext uri="{BB962C8B-B14F-4D97-AF65-F5344CB8AC3E}">
        <p14:creationId xmlns:p14="http://schemas.microsoft.com/office/powerpoint/2010/main" val="3634989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louds2.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4632960"/>
          </a:xfrm>
          <a:prstGeom prst="rect">
            <a:avLst/>
          </a:prstGeom>
        </p:spPr>
      </p:pic>
      <p:sp>
        <p:nvSpPr>
          <p:cNvPr id="3" name="Title 2"/>
          <p:cNvSpPr>
            <a:spLocks noGrp="1"/>
          </p:cNvSpPr>
          <p:nvPr>
            <p:ph type="ctrTitle"/>
          </p:nvPr>
        </p:nvSpPr>
        <p:spPr/>
        <p:txBody>
          <a:bodyPr/>
          <a:lstStyle/>
          <a:p>
            <a:pPr>
              <a:spcBef>
                <a:spcPts val="0"/>
              </a:spcBef>
            </a:pPr>
            <a:r>
              <a:rPr lang="en-US" dirty="0" smtClean="0"/>
              <a:t>THREE LEVELS OF</a:t>
            </a:r>
            <a:br>
              <a:rPr lang="en-US" dirty="0" smtClean="0"/>
            </a:br>
            <a:r>
              <a:rPr lang="en-US" dirty="0"/>
              <a:t>IT TRANSFORMATION</a:t>
            </a:r>
            <a:br>
              <a:rPr lang="en-US" dirty="0"/>
            </a:br>
            <a:r>
              <a:rPr lang="en-US" sz="2400" dirty="0" smtClean="0">
                <a:solidFill>
                  <a:schemeClr val="bg2"/>
                </a:solidFill>
              </a:rPr>
              <a:t>INFRASTRUCTURE TRANSFORMATION</a:t>
            </a:r>
            <a:endParaRPr lang="en-US" sz="3600" dirty="0">
              <a:solidFill>
                <a:schemeClr val="bg2"/>
              </a:solidFill>
            </a:endParaRPr>
          </a:p>
        </p:txBody>
      </p:sp>
    </p:spTree>
    <p:extLst>
      <p:ext uri="{BB962C8B-B14F-4D97-AF65-F5344CB8AC3E}">
        <p14:creationId xmlns:p14="http://schemas.microsoft.com/office/powerpoint/2010/main" val="3812504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pc="-150" dirty="0" smtClean="0"/>
              <a:t>TECHNOLOGY TRANSFORMATION—HYBRID CLOUD</a:t>
            </a:r>
            <a:endParaRPr lang="en-AU" spc="-150" dirty="0"/>
          </a:p>
        </p:txBody>
      </p:sp>
      <p:sp>
        <p:nvSpPr>
          <p:cNvPr id="49" name="Subtitle 48"/>
          <p:cNvSpPr>
            <a:spLocks noGrp="1"/>
          </p:cNvSpPr>
          <p:nvPr>
            <p:ph type="subTitle" idx="1"/>
          </p:nvPr>
        </p:nvSpPr>
        <p:spPr/>
        <p:txBody>
          <a:bodyPr/>
          <a:lstStyle/>
          <a:p>
            <a:r>
              <a:rPr lang="en-US" dirty="0" smtClean="0"/>
              <a:t>BUILD…</a:t>
            </a:r>
            <a:endParaRPr lang="en-US" dirty="0"/>
          </a:p>
        </p:txBody>
      </p:sp>
      <p:grpSp>
        <p:nvGrpSpPr>
          <p:cNvPr id="72" name="Group 71"/>
          <p:cNvGrpSpPr/>
          <p:nvPr/>
        </p:nvGrpSpPr>
        <p:grpSpPr>
          <a:xfrm>
            <a:off x="372794" y="1020763"/>
            <a:ext cx="8492002" cy="3592512"/>
            <a:chOff x="372794" y="1074738"/>
            <a:chExt cx="8492002" cy="3592512"/>
          </a:xfrm>
        </p:grpSpPr>
        <p:sp>
          <p:nvSpPr>
            <p:cNvPr id="8" name="Rounded Rectangle 7"/>
            <p:cNvSpPr/>
            <p:nvPr/>
          </p:nvSpPr>
          <p:spPr bwMode="gray">
            <a:xfrm rot="5400000">
              <a:off x="2822539" y="-1375007"/>
              <a:ext cx="3592512" cy="8492002"/>
            </a:xfrm>
            <a:prstGeom prst="roundRect">
              <a:avLst>
                <a:gd name="adj" fmla="val 3552"/>
              </a:avLst>
            </a:prstGeom>
            <a:gradFill flip="none" rotWithShape="1">
              <a:gsLst>
                <a:gs pos="0">
                  <a:schemeClr val="tx2">
                    <a:lumMod val="40000"/>
                    <a:lumOff val="60000"/>
                    <a:alpha val="11000"/>
                  </a:schemeClr>
                </a:gs>
                <a:gs pos="100000">
                  <a:schemeClr val="tx2">
                    <a:lumMod val="40000"/>
                    <a:lumOff val="60000"/>
                    <a:alpha val="9000"/>
                  </a:schemeClr>
                </a:gs>
              </a:gsLst>
              <a:lin ang="16200000" scaled="1"/>
              <a:tileRect/>
            </a:gradFill>
            <a:ln>
              <a:solidFill>
                <a:schemeClr val="bg2"/>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000000"/>
                </a:solidFill>
                <a:latin typeface="Verdana"/>
              </a:endParaRPr>
            </a:p>
          </p:txBody>
        </p:sp>
        <p:sp>
          <p:nvSpPr>
            <p:cNvPr id="7" name="Rounded Rectangle 6"/>
            <p:cNvSpPr/>
            <p:nvPr/>
          </p:nvSpPr>
          <p:spPr bwMode="gray">
            <a:xfrm rot="5400000">
              <a:off x="2962980" y="-1122825"/>
              <a:ext cx="3311629" cy="8192322"/>
            </a:xfrm>
            <a:prstGeom prst="roundRect">
              <a:avLst>
                <a:gd name="adj" fmla="val 3746"/>
              </a:avLst>
            </a:prstGeom>
            <a:gradFill flip="none" rotWithShape="1">
              <a:gsLst>
                <a:gs pos="0">
                  <a:schemeClr val="bg2">
                    <a:alpha val="11000"/>
                  </a:schemeClr>
                </a:gs>
                <a:gs pos="100000">
                  <a:schemeClr val="bg2">
                    <a:lumMod val="40000"/>
                    <a:lumOff val="60000"/>
                    <a:alpha val="9000"/>
                  </a:schemeClr>
                </a:gs>
              </a:gsLst>
              <a:lin ang="16200000" scaled="1"/>
              <a:tileRect/>
            </a:gradFill>
            <a:ln>
              <a:solidFill>
                <a:schemeClr val="bg2"/>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000000"/>
                </a:solidFill>
                <a:latin typeface="Verdana"/>
              </a:endParaRPr>
            </a:p>
          </p:txBody>
        </p:sp>
        <p:pic>
          <p:nvPicPr>
            <p:cNvPr id="12" name="Picture 11" descr="140448982-b.jpg"/>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a:ext>
              </a:extLst>
            </a:blip>
            <a:srcRect b="-4632"/>
            <a:stretch>
              <a:fillRect/>
            </a:stretch>
          </p:blipFill>
          <p:spPr>
            <a:xfrm>
              <a:off x="634078" y="1572090"/>
              <a:ext cx="2999232" cy="2569572"/>
            </a:xfrm>
            <a:prstGeom prst="rect">
              <a:avLst/>
            </a:prstGeom>
            <a:effectLst/>
          </p:spPr>
        </p:pic>
        <p:sp>
          <p:nvSpPr>
            <p:cNvPr id="14" name="Rectangle 13"/>
            <p:cNvSpPr/>
            <p:nvPr/>
          </p:nvSpPr>
          <p:spPr>
            <a:xfrm>
              <a:off x="627403" y="1578440"/>
              <a:ext cx="3010178" cy="3017088"/>
            </a:xfrm>
            <a:prstGeom prst="rect">
              <a:avLst/>
            </a:prstGeom>
            <a:gradFill flip="none" rotWithShape="1">
              <a:gsLst>
                <a:gs pos="0">
                  <a:schemeClr val="bg1">
                    <a:alpha val="50000"/>
                  </a:schemeClr>
                </a:gs>
                <a:gs pos="100000">
                  <a:schemeClr val="bg1">
                    <a:shade val="100000"/>
                    <a:satMod val="115000"/>
                    <a:alpha val="0"/>
                  </a:schemeClr>
                </a:gs>
              </a:gsLst>
              <a:lin ang="5400000" scaled="1"/>
              <a:tileRect/>
            </a:gradFill>
            <a:ln w="12700">
              <a:gradFill>
                <a:gsLst>
                  <a:gs pos="0">
                    <a:schemeClr val="tx2"/>
                  </a:gs>
                  <a:gs pos="100000">
                    <a:schemeClr val="accent1">
                      <a:tint val="23500"/>
                      <a:satMod val="160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ound Same Side Corner Rectangle 61"/>
            <p:cNvSpPr/>
            <p:nvPr/>
          </p:nvSpPr>
          <p:spPr>
            <a:xfrm rot="5400000">
              <a:off x="2754475" y="2284177"/>
              <a:ext cx="1113524" cy="332508"/>
            </a:xfrm>
            <a:prstGeom prst="round2SameRect">
              <a:avLst>
                <a:gd name="adj1" fmla="val 37720"/>
                <a:gd name="adj2" fmla="val 0"/>
              </a:avLst>
            </a:prstGeom>
            <a:gradFill flip="none" rotWithShape="1">
              <a:gsLst>
                <a:gs pos="0">
                  <a:schemeClr val="bg1"/>
                </a:gs>
                <a:gs pos="100000">
                  <a:schemeClr val="bg1">
                    <a:alpha val="0"/>
                  </a:schemeClr>
                </a:gs>
              </a:gsLst>
              <a:lin ang="5400000" scaled="1"/>
              <a:tileRect/>
            </a:gradFill>
            <a:ln w="12700">
              <a:noFill/>
            </a:ln>
            <a:effectLst>
              <a:outerShdw blurRad="25400" dist="25400" algn="l" rotWithShape="0">
                <a:schemeClr val="tx2">
                  <a:alpha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p:cNvSpPr txBox="1">
              <a:spLocks/>
            </p:cNvSpPr>
            <p:nvPr/>
          </p:nvSpPr>
          <p:spPr bwMode="gray">
            <a:xfrm>
              <a:off x="2601082" y="1094826"/>
              <a:ext cx="4035427" cy="184666"/>
            </a:xfrm>
            <a:prstGeom prst="rect">
              <a:avLst/>
            </a:prstGeom>
          </p:spPr>
          <p:txBody>
            <a:bodyPr wrap="square" lIns="0" tIns="0" rIns="0" bIns="0">
              <a:spAutoFit/>
            </a:bodyPr>
            <a:lstStyle>
              <a:lvl1pPr marL="228600" indent="-228600" algn="l" defTabSz="914400" rtl="0" eaLnBrk="1" latinLnBrk="0" hangingPunct="1">
                <a:spcBef>
                  <a:spcPts val="1200"/>
                </a:spcBef>
                <a:buClr>
                  <a:schemeClr val="tx2"/>
                </a:buClr>
                <a:buFont typeface="Arial" pitchFamily="34" charset="0"/>
                <a:buChar char="•"/>
                <a:defRPr sz="2800" kern="1200">
                  <a:solidFill>
                    <a:schemeClr val="bg2"/>
                  </a:solidFill>
                  <a:latin typeface="MetaNormalLF-Roman" pitchFamily="34" charset="0"/>
                  <a:ea typeface="+mn-ea"/>
                  <a:cs typeface="+mn-cs"/>
                </a:defRPr>
              </a:lvl1pPr>
              <a:lvl2pPr marL="742950" indent="-285750" algn="l" defTabSz="914400" rtl="0" eaLnBrk="1" latinLnBrk="0" hangingPunct="1">
                <a:spcBef>
                  <a:spcPts val="600"/>
                </a:spcBef>
                <a:buClr>
                  <a:schemeClr val="tx2"/>
                </a:buClr>
                <a:buFont typeface="Arial" pitchFamily="34" charset="0"/>
                <a:buChar char="–"/>
                <a:defRPr sz="2400" kern="1200">
                  <a:solidFill>
                    <a:schemeClr val="bg2"/>
                  </a:solidFill>
                  <a:latin typeface="MetaNormalLF-Roman" pitchFamily="34" charset="0"/>
                  <a:ea typeface="+mn-ea"/>
                  <a:cs typeface="+mn-cs"/>
                </a:defRPr>
              </a:lvl2pPr>
              <a:lvl3pPr marL="1143000" indent="-228600" algn="l" defTabSz="914400" rtl="0" eaLnBrk="1" latinLnBrk="0" hangingPunct="1">
                <a:spcBef>
                  <a:spcPts val="600"/>
                </a:spcBef>
                <a:buClr>
                  <a:schemeClr val="tx2"/>
                </a:buClr>
                <a:buFont typeface="Arial" pitchFamily="34" charset="0"/>
                <a:buChar char="•"/>
                <a:defRPr sz="2000" kern="1200">
                  <a:solidFill>
                    <a:schemeClr val="bg2"/>
                  </a:solidFill>
                  <a:latin typeface="MetaNormalLF-Roman" pitchFamily="34" charset="0"/>
                  <a:ea typeface="+mn-ea"/>
                  <a:cs typeface="+mn-cs"/>
                </a:defRPr>
              </a:lvl3pPr>
              <a:lvl4pPr marL="1600200" indent="-228600" algn="l" defTabSz="914400" rtl="0" eaLnBrk="1" latinLnBrk="0" hangingPunct="1">
                <a:spcBef>
                  <a:spcPts val="600"/>
                </a:spcBef>
                <a:buClr>
                  <a:schemeClr val="tx2"/>
                </a:buClr>
                <a:buFont typeface="Wingdings" pitchFamily="2" charset="2"/>
                <a:buChar char="§"/>
                <a:defRPr sz="1800" kern="1200">
                  <a:solidFill>
                    <a:schemeClr val="bg2"/>
                  </a:solidFill>
                  <a:latin typeface="MetaNormalLF-Roman" pitchFamily="34" charset="0"/>
                  <a:ea typeface="+mn-ea"/>
                  <a:cs typeface="+mn-cs"/>
                </a:defRPr>
              </a:lvl4pPr>
              <a:lvl5pPr marL="2057400" indent="-228600" algn="l" defTabSz="914400" rtl="0" eaLnBrk="1" latinLnBrk="0" hangingPunct="1">
                <a:spcBef>
                  <a:spcPts val="600"/>
                </a:spcBef>
                <a:buClr>
                  <a:schemeClr val="tx2"/>
                </a:buClr>
                <a:buFont typeface="Arial" pitchFamily="34" charset="0"/>
                <a:buChar char="»"/>
                <a:defRPr sz="1600" kern="1200">
                  <a:solidFill>
                    <a:schemeClr val="bg2"/>
                  </a:solidFill>
                  <a:latin typeface="MetaNormalLF-Roman"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200" dirty="0" smtClean="0">
                  <a:solidFill>
                    <a:schemeClr val="tx1"/>
                  </a:solidFill>
                  <a:effectLst>
                    <a:glow rad="101600">
                      <a:schemeClr val="bg1">
                        <a:alpha val="75000"/>
                      </a:schemeClr>
                    </a:glow>
                  </a:effectLst>
                  <a:latin typeface="Verdana" pitchFamily="34" charset="0"/>
                </a:rPr>
                <a:t>GOVERNANCE, RISK AND COMPLIANCE (GRC)</a:t>
              </a:r>
              <a:endParaRPr lang="en-US" sz="1200" dirty="0">
                <a:solidFill>
                  <a:schemeClr val="tx1"/>
                </a:solidFill>
                <a:effectLst>
                  <a:glow rad="101600">
                    <a:schemeClr val="bg1">
                      <a:alpha val="75000"/>
                    </a:schemeClr>
                  </a:glow>
                </a:effectLst>
                <a:latin typeface="+mn-lt"/>
              </a:endParaRPr>
            </a:p>
          </p:txBody>
        </p:sp>
        <p:sp>
          <p:nvSpPr>
            <p:cNvPr id="74" name="Rectangle 73"/>
            <p:cNvSpPr/>
            <p:nvPr/>
          </p:nvSpPr>
          <p:spPr>
            <a:xfrm>
              <a:off x="627403" y="3528950"/>
              <a:ext cx="2999232" cy="500584"/>
            </a:xfrm>
            <a:prstGeom prst="rect">
              <a:avLst/>
            </a:prstGeom>
            <a:gradFill flip="none" rotWithShape="1">
              <a:gsLst>
                <a:gs pos="0">
                  <a:schemeClr val="bg1"/>
                </a:gs>
                <a:gs pos="100000">
                  <a:schemeClr val="bg1">
                    <a:shade val="100000"/>
                    <a:satMod val="115000"/>
                    <a:alpha val="0"/>
                  </a:schemeClr>
                </a:gs>
              </a:gsLst>
              <a:lin ang="162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p:cNvSpPr txBox="1">
              <a:spLocks/>
            </p:cNvSpPr>
            <p:nvPr/>
          </p:nvSpPr>
          <p:spPr bwMode="gray">
            <a:xfrm>
              <a:off x="3500991" y="1345266"/>
              <a:ext cx="2235609" cy="184666"/>
            </a:xfrm>
            <a:prstGeom prst="rect">
              <a:avLst/>
            </a:prstGeom>
          </p:spPr>
          <p:txBody>
            <a:bodyPr wrap="square" lIns="0" tIns="0" rIns="0" bIns="0">
              <a:spAutoFit/>
            </a:bodyPr>
            <a:lstStyle>
              <a:defPPr>
                <a:defRPr lang="en-US"/>
              </a:defPPr>
              <a:lvl1pPr indent="0" algn="ctr" defTabSz="914400">
                <a:spcBef>
                  <a:spcPts val="1200"/>
                </a:spcBef>
                <a:buClr>
                  <a:schemeClr val="tx2"/>
                </a:buClr>
                <a:buFont typeface="Arial" pitchFamily="34" charset="0"/>
                <a:buNone/>
                <a:defRPr sz="1200">
                  <a:effectLst>
                    <a:glow rad="101600">
                      <a:schemeClr val="bg1">
                        <a:alpha val="75000"/>
                      </a:schemeClr>
                    </a:glow>
                  </a:effectLst>
                  <a:latin typeface="Verdana" pitchFamily="34" charset="0"/>
                </a:defRPr>
              </a:lvl1pPr>
              <a:lvl2pPr marL="742950" indent="-285750" defTabSz="914400">
                <a:spcBef>
                  <a:spcPts val="600"/>
                </a:spcBef>
                <a:buClr>
                  <a:schemeClr val="tx2"/>
                </a:buClr>
                <a:buFont typeface="Arial" pitchFamily="34" charset="0"/>
                <a:buChar char="–"/>
                <a:defRPr sz="2400">
                  <a:solidFill>
                    <a:schemeClr val="bg2"/>
                  </a:solidFill>
                  <a:latin typeface="MetaNormalLF-Roman" pitchFamily="34" charset="0"/>
                </a:defRPr>
              </a:lvl2pPr>
              <a:lvl3pPr marL="1143000" indent="-228600" defTabSz="914400">
                <a:spcBef>
                  <a:spcPts val="600"/>
                </a:spcBef>
                <a:buClr>
                  <a:schemeClr val="tx2"/>
                </a:buClr>
                <a:buFont typeface="Arial" pitchFamily="34" charset="0"/>
                <a:buChar char="•"/>
                <a:defRPr sz="2000">
                  <a:solidFill>
                    <a:schemeClr val="bg2"/>
                  </a:solidFill>
                  <a:latin typeface="MetaNormalLF-Roman" pitchFamily="34" charset="0"/>
                </a:defRPr>
              </a:lvl3pPr>
              <a:lvl4pPr marL="1600200" indent="-228600" defTabSz="914400">
                <a:spcBef>
                  <a:spcPts val="600"/>
                </a:spcBef>
                <a:buClr>
                  <a:schemeClr val="tx2"/>
                </a:buClr>
                <a:buFont typeface="Wingdings" pitchFamily="2" charset="2"/>
                <a:buChar char="§"/>
                <a:defRPr>
                  <a:solidFill>
                    <a:schemeClr val="bg2"/>
                  </a:solidFill>
                  <a:latin typeface="MetaNormalLF-Roman" pitchFamily="34" charset="0"/>
                </a:defRPr>
              </a:lvl4pPr>
              <a:lvl5pPr marL="2057400" indent="-228600" defTabSz="914400">
                <a:spcBef>
                  <a:spcPts val="600"/>
                </a:spcBef>
                <a:buClr>
                  <a:schemeClr val="tx2"/>
                </a:buClr>
                <a:buFont typeface="Arial" pitchFamily="34" charset="0"/>
                <a:buChar char="»"/>
                <a:defRPr sz="1600">
                  <a:solidFill>
                    <a:schemeClr val="bg2"/>
                  </a:solidFill>
                  <a:latin typeface="MetaNormalLF-Roman" pitchFamily="34" charset="0"/>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dirty="0" smtClean="0"/>
                <a:t>SECURITY</a:t>
              </a:r>
              <a:endParaRPr lang="en-US" dirty="0"/>
            </a:p>
          </p:txBody>
        </p:sp>
        <p:sp>
          <p:nvSpPr>
            <p:cNvPr id="13" name="Content Placeholder 2"/>
            <p:cNvSpPr txBox="1">
              <a:spLocks/>
            </p:cNvSpPr>
            <p:nvPr/>
          </p:nvSpPr>
          <p:spPr bwMode="gray">
            <a:xfrm>
              <a:off x="1015890" y="1612027"/>
              <a:ext cx="2235609" cy="197490"/>
            </a:xfrm>
            <a:prstGeom prst="rect">
              <a:avLst/>
            </a:prstGeom>
          </p:spPr>
          <p:txBody>
            <a:bodyPr wrap="square" lIns="0" tIns="0" rIns="0" bIns="0">
              <a:spAutoFit/>
            </a:bodyPr>
            <a:lstStyle>
              <a:lvl1pPr marL="228600" indent="-228600" algn="l" defTabSz="914400" rtl="0" eaLnBrk="1" latinLnBrk="0" hangingPunct="1">
                <a:spcBef>
                  <a:spcPts val="1200"/>
                </a:spcBef>
                <a:buClr>
                  <a:schemeClr val="tx2"/>
                </a:buClr>
                <a:buFont typeface="Arial" pitchFamily="34" charset="0"/>
                <a:buChar char="•"/>
                <a:defRPr sz="2800" kern="1200">
                  <a:solidFill>
                    <a:schemeClr val="bg2"/>
                  </a:solidFill>
                  <a:latin typeface="MetaNormalLF-Roman" pitchFamily="34" charset="0"/>
                  <a:ea typeface="+mn-ea"/>
                  <a:cs typeface="+mn-cs"/>
                </a:defRPr>
              </a:lvl1pPr>
              <a:lvl2pPr marL="742950" indent="-285750" algn="l" defTabSz="914400" rtl="0" eaLnBrk="1" latinLnBrk="0" hangingPunct="1">
                <a:spcBef>
                  <a:spcPts val="600"/>
                </a:spcBef>
                <a:buClr>
                  <a:schemeClr val="tx2"/>
                </a:buClr>
                <a:buFont typeface="Arial" pitchFamily="34" charset="0"/>
                <a:buChar char="–"/>
                <a:defRPr sz="2400" kern="1200">
                  <a:solidFill>
                    <a:schemeClr val="bg2"/>
                  </a:solidFill>
                  <a:latin typeface="MetaNormalLF-Roman" pitchFamily="34" charset="0"/>
                  <a:ea typeface="+mn-ea"/>
                  <a:cs typeface="+mn-cs"/>
                </a:defRPr>
              </a:lvl2pPr>
              <a:lvl3pPr marL="1143000" indent="-228600" algn="l" defTabSz="914400" rtl="0" eaLnBrk="1" latinLnBrk="0" hangingPunct="1">
                <a:spcBef>
                  <a:spcPts val="600"/>
                </a:spcBef>
                <a:buClr>
                  <a:schemeClr val="tx2"/>
                </a:buClr>
                <a:buFont typeface="Arial" pitchFamily="34" charset="0"/>
                <a:buChar char="•"/>
                <a:defRPr sz="2000" kern="1200">
                  <a:solidFill>
                    <a:schemeClr val="bg2"/>
                  </a:solidFill>
                  <a:latin typeface="MetaNormalLF-Roman" pitchFamily="34" charset="0"/>
                  <a:ea typeface="+mn-ea"/>
                  <a:cs typeface="+mn-cs"/>
                </a:defRPr>
              </a:lvl3pPr>
              <a:lvl4pPr marL="1600200" indent="-228600" algn="l" defTabSz="914400" rtl="0" eaLnBrk="1" latinLnBrk="0" hangingPunct="1">
                <a:spcBef>
                  <a:spcPts val="600"/>
                </a:spcBef>
                <a:buClr>
                  <a:schemeClr val="tx2"/>
                </a:buClr>
                <a:buFont typeface="Wingdings" pitchFamily="2" charset="2"/>
                <a:buChar char="§"/>
                <a:defRPr sz="1800" kern="1200">
                  <a:solidFill>
                    <a:schemeClr val="bg2"/>
                  </a:solidFill>
                  <a:latin typeface="MetaNormalLF-Roman" pitchFamily="34" charset="0"/>
                  <a:ea typeface="+mn-ea"/>
                  <a:cs typeface="+mn-cs"/>
                </a:defRPr>
              </a:lvl4pPr>
              <a:lvl5pPr marL="2057400" indent="-228600" algn="l" defTabSz="914400" rtl="0" eaLnBrk="1" latinLnBrk="0" hangingPunct="1">
                <a:spcBef>
                  <a:spcPts val="600"/>
                </a:spcBef>
                <a:buClr>
                  <a:schemeClr val="tx2"/>
                </a:buClr>
                <a:buFont typeface="Arial" pitchFamily="34" charset="0"/>
                <a:buChar char="»"/>
                <a:defRPr sz="1600" kern="1200">
                  <a:solidFill>
                    <a:schemeClr val="bg2"/>
                  </a:solidFill>
                  <a:latin typeface="MetaNormalLF-Roman"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ts val="0"/>
                </a:spcBef>
                <a:buNone/>
              </a:pPr>
              <a:r>
                <a:rPr lang="en-US" sz="1400" dirty="0" smtClean="0">
                  <a:solidFill>
                    <a:schemeClr val="tx2"/>
                  </a:solidFill>
                  <a:effectLst>
                    <a:glow rad="101600">
                      <a:schemeClr val="bg1">
                        <a:alpha val="75000"/>
                      </a:schemeClr>
                    </a:glow>
                  </a:effectLst>
                  <a:latin typeface="Verdana" pitchFamily="34" charset="0"/>
                </a:rPr>
                <a:t>Cloud Services</a:t>
              </a:r>
              <a:endParaRPr lang="en-US" sz="1400" dirty="0">
                <a:solidFill>
                  <a:schemeClr val="tx2"/>
                </a:solidFill>
                <a:effectLst>
                  <a:glow rad="101600">
                    <a:schemeClr val="bg1">
                      <a:alpha val="75000"/>
                    </a:schemeClr>
                  </a:glow>
                </a:effectLst>
                <a:latin typeface="Verdana" pitchFamily="34" charset="0"/>
              </a:endParaRPr>
            </a:p>
          </p:txBody>
        </p:sp>
        <p:grpSp>
          <p:nvGrpSpPr>
            <p:cNvPr id="3" name="Group 47"/>
            <p:cNvGrpSpPr/>
            <p:nvPr/>
          </p:nvGrpSpPr>
          <p:grpSpPr>
            <a:xfrm>
              <a:off x="1640681" y="3542262"/>
              <a:ext cx="983457" cy="1074579"/>
              <a:chOff x="1640681" y="3484064"/>
              <a:chExt cx="983457" cy="1074579"/>
            </a:xfrm>
          </p:grpSpPr>
          <p:grpSp>
            <p:nvGrpSpPr>
              <p:cNvPr id="4" name="Group 34"/>
              <p:cNvGrpSpPr/>
              <p:nvPr/>
            </p:nvGrpSpPr>
            <p:grpSpPr>
              <a:xfrm>
                <a:off x="1701984" y="3484064"/>
                <a:ext cx="861005" cy="907726"/>
                <a:chOff x="687469" y="3484064"/>
                <a:chExt cx="861005" cy="907726"/>
              </a:xfrm>
            </p:grpSpPr>
            <p:sp>
              <p:nvSpPr>
                <p:cNvPr id="36" name="Rounded Rectangle 35"/>
                <p:cNvSpPr/>
                <p:nvPr/>
              </p:nvSpPr>
              <p:spPr bwMode="gray">
                <a:xfrm rot="5400000" flipV="1">
                  <a:off x="666721" y="3510036"/>
                  <a:ext cx="907726" cy="855781"/>
                </a:xfrm>
                <a:prstGeom prst="roundRect">
                  <a:avLst>
                    <a:gd name="adj" fmla="val 3497"/>
                  </a:avLst>
                </a:prstGeom>
                <a:gradFill flip="none" rotWithShape="1">
                  <a:gsLst>
                    <a:gs pos="0">
                      <a:schemeClr val="tx2">
                        <a:lumMod val="20000"/>
                        <a:lumOff val="80000"/>
                      </a:schemeClr>
                    </a:gs>
                    <a:gs pos="100000">
                      <a:schemeClr val="bg1"/>
                    </a:gs>
                  </a:gsLst>
                  <a:lin ang="0" scaled="0"/>
                  <a:tileRect/>
                </a:gradFill>
                <a:ln w="12700">
                  <a:gradFill flip="none" rotWithShape="1">
                    <a:gsLst>
                      <a:gs pos="0">
                        <a:schemeClr val="tx2">
                          <a:lumMod val="40000"/>
                          <a:lumOff val="60000"/>
                        </a:schemeClr>
                      </a:gs>
                      <a:gs pos="100000">
                        <a:srgbClr val="FFFFFF">
                          <a:alpha val="0"/>
                        </a:srgb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endParaRPr lang="en-US" sz="1050" dirty="0">
                    <a:solidFill>
                      <a:schemeClr val="bg2"/>
                    </a:solidFill>
                  </a:endParaRPr>
                </a:p>
              </p:txBody>
            </p:sp>
            <p:sp>
              <p:nvSpPr>
                <p:cNvPr id="37" name="TextBox 36"/>
                <p:cNvSpPr txBox="1"/>
                <p:nvPr/>
              </p:nvSpPr>
              <p:spPr>
                <a:xfrm>
                  <a:off x="714611" y="3535396"/>
                  <a:ext cx="811947" cy="230832"/>
                </a:xfrm>
                <a:prstGeom prst="rect">
                  <a:avLst/>
                </a:prstGeom>
                <a:noFill/>
              </p:spPr>
              <p:txBody>
                <a:bodyPr wrap="square" lIns="0" tIns="0" rIns="0" bIns="0" rtlCol="0">
                  <a:spAutoFit/>
                </a:bodyPr>
                <a:lstStyle/>
                <a:p>
                  <a:pPr algn="ctr">
                    <a:lnSpc>
                      <a:spcPts val="850"/>
                    </a:lnSpc>
                  </a:pPr>
                  <a:r>
                    <a:rPr lang="en-US" sz="800" dirty="0" smtClean="0">
                      <a:solidFill>
                        <a:schemeClr val="tx2">
                          <a:lumMod val="75000"/>
                        </a:schemeClr>
                      </a:solidFill>
                    </a:rPr>
                    <a:t>Virtual Infrastructure</a:t>
                  </a:r>
                  <a:endParaRPr lang="en-US" sz="800" dirty="0" smtClean="0">
                    <a:solidFill>
                      <a:schemeClr val="tx2">
                        <a:lumMod val="75000"/>
                      </a:schemeClr>
                    </a:solidFill>
                    <a:effectLst/>
                  </a:endParaRPr>
                </a:p>
              </p:txBody>
            </p:sp>
            <p:sp>
              <p:nvSpPr>
                <p:cNvPr id="38" name="TextBox 37"/>
                <p:cNvSpPr txBox="1"/>
                <p:nvPr/>
              </p:nvSpPr>
              <p:spPr>
                <a:xfrm>
                  <a:off x="714611" y="3829069"/>
                  <a:ext cx="811947" cy="230832"/>
                </a:xfrm>
                <a:prstGeom prst="rect">
                  <a:avLst/>
                </a:prstGeom>
                <a:noFill/>
              </p:spPr>
              <p:txBody>
                <a:bodyPr wrap="square" lIns="0" tIns="0" rIns="0" bIns="0" rtlCol="0">
                  <a:spAutoFit/>
                </a:bodyPr>
                <a:lstStyle/>
                <a:p>
                  <a:pPr algn="ctr">
                    <a:lnSpc>
                      <a:spcPts val="850"/>
                    </a:lnSpc>
                  </a:pPr>
                  <a:r>
                    <a:rPr lang="en-US" sz="800" dirty="0" smtClean="0">
                      <a:solidFill>
                        <a:schemeClr val="bg2"/>
                      </a:solidFill>
                    </a:rPr>
                    <a:t>Physical Infrastructure</a:t>
                  </a:r>
                  <a:endParaRPr lang="en-US" sz="800" dirty="0" smtClean="0">
                    <a:solidFill>
                      <a:schemeClr val="bg2"/>
                    </a:solidFill>
                    <a:effectLst/>
                  </a:endParaRPr>
                </a:p>
              </p:txBody>
            </p:sp>
            <p:cxnSp>
              <p:nvCxnSpPr>
                <p:cNvPr id="39" name="Straight Connector 38"/>
                <p:cNvCxnSpPr/>
                <p:nvPr/>
              </p:nvCxnSpPr>
              <p:spPr>
                <a:xfrm>
                  <a:off x="687469" y="3797765"/>
                  <a:ext cx="861004" cy="0"/>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pic>
            <p:nvPicPr>
              <p:cNvPr id="25" name="Picture 24" descr="Cloud1-VMware-lg-300dpi.png"/>
              <p:cNvPicPr>
                <a:picLocks/>
              </p:cNvPicPr>
              <p:nvPr/>
            </p:nvPicPr>
            <p:blipFill>
              <a:blip r:embed="rId3" cstate="email">
                <a:alphaModFix/>
                <a:extLst>
                  <a:ext uri="{28A0092B-C50C-407E-A947-70E740481C1C}">
                    <a14:useLocalDpi xmlns:a14="http://schemas.microsoft.com/office/drawing/2010/main"/>
                  </a:ext>
                </a:extLst>
              </a:blip>
              <a:stretch>
                <a:fillRect/>
              </a:stretch>
            </p:blipFill>
            <p:spPr>
              <a:xfrm>
                <a:off x="1640681" y="4057651"/>
                <a:ext cx="983457" cy="500992"/>
              </a:xfrm>
              <a:prstGeom prst="rect">
                <a:avLst/>
              </a:prstGeom>
              <a:effectLst>
                <a:glow rad="63500">
                  <a:schemeClr val="bg1">
                    <a:alpha val="40000"/>
                  </a:schemeClr>
                </a:glow>
                <a:outerShdw blurRad="76200" dir="18900000" sy="23000" kx="-1200000" algn="bl" rotWithShape="0">
                  <a:prstClr val="black">
                    <a:alpha val="20000"/>
                  </a:prstClr>
                </a:outerShdw>
              </a:effectLst>
            </p:spPr>
          </p:pic>
          <p:sp>
            <p:nvSpPr>
              <p:cNvPr id="26" name="TextBox 25"/>
              <p:cNvSpPr txBox="1"/>
              <p:nvPr/>
            </p:nvSpPr>
            <p:spPr>
              <a:xfrm>
                <a:off x="1875519" y="4184045"/>
                <a:ext cx="553980" cy="307777"/>
              </a:xfrm>
              <a:prstGeom prst="rect">
                <a:avLst/>
              </a:prstGeom>
              <a:noFill/>
            </p:spPr>
            <p:txBody>
              <a:bodyPr wrap="square" lIns="0" tIns="0" rIns="0" bIns="0" rtlCol="0">
                <a:spAutoFit/>
              </a:bodyPr>
              <a:lstStyle/>
              <a:p>
                <a:pPr algn="ctr">
                  <a:lnSpc>
                    <a:spcPts val="800"/>
                  </a:lnSpc>
                </a:pPr>
                <a:r>
                  <a:rPr lang="en-US" sz="700" b="1" dirty="0" smtClean="0">
                    <a:solidFill>
                      <a:srgbClr val="2C81BA"/>
                    </a:solidFill>
                  </a:rPr>
                  <a:t>HOSTED</a:t>
                </a:r>
              </a:p>
              <a:p>
                <a:pPr algn="ctr">
                  <a:lnSpc>
                    <a:spcPts val="800"/>
                  </a:lnSpc>
                </a:pPr>
                <a:r>
                  <a:rPr lang="en-US" sz="700" b="1" dirty="0" smtClean="0">
                    <a:solidFill>
                      <a:srgbClr val="2C81BA"/>
                    </a:solidFill>
                  </a:rPr>
                  <a:t>PRIVATE CLOUD</a:t>
                </a:r>
              </a:p>
            </p:txBody>
          </p:sp>
        </p:grpSp>
        <p:grpSp>
          <p:nvGrpSpPr>
            <p:cNvPr id="5" name="Group 48"/>
            <p:cNvGrpSpPr/>
            <p:nvPr/>
          </p:nvGrpSpPr>
          <p:grpSpPr>
            <a:xfrm>
              <a:off x="640990" y="3542262"/>
              <a:ext cx="983457" cy="1074579"/>
              <a:chOff x="640990" y="3484064"/>
              <a:chExt cx="983457" cy="1074579"/>
            </a:xfrm>
          </p:grpSpPr>
          <p:grpSp>
            <p:nvGrpSpPr>
              <p:cNvPr id="6" name="Group 33"/>
              <p:cNvGrpSpPr/>
              <p:nvPr/>
            </p:nvGrpSpPr>
            <p:grpSpPr>
              <a:xfrm>
                <a:off x="700817" y="3484064"/>
                <a:ext cx="861005" cy="907726"/>
                <a:chOff x="687469" y="3484064"/>
                <a:chExt cx="861005" cy="907726"/>
              </a:xfrm>
            </p:grpSpPr>
            <p:sp>
              <p:nvSpPr>
                <p:cNvPr id="27" name="Rounded Rectangle 26"/>
                <p:cNvSpPr/>
                <p:nvPr/>
              </p:nvSpPr>
              <p:spPr bwMode="gray">
                <a:xfrm rot="5400000" flipV="1">
                  <a:off x="666721" y="3510036"/>
                  <a:ext cx="907726" cy="855781"/>
                </a:xfrm>
                <a:prstGeom prst="roundRect">
                  <a:avLst>
                    <a:gd name="adj" fmla="val 3497"/>
                  </a:avLst>
                </a:prstGeom>
                <a:gradFill flip="none" rotWithShape="1">
                  <a:gsLst>
                    <a:gs pos="0">
                      <a:schemeClr val="tx2">
                        <a:lumMod val="20000"/>
                        <a:lumOff val="80000"/>
                      </a:schemeClr>
                    </a:gs>
                    <a:gs pos="100000">
                      <a:schemeClr val="bg1"/>
                    </a:gs>
                  </a:gsLst>
                  <a:lin ang="0" scaled="0"/>
                  <a:tileRect/>
                </a:gradFill>
                <a:ln w="12700">
                  <a:gradFill flip="none" rotWithShape="1">
                    <a:gsLst>
                      <a:gs pos="0">
                        <a:schemeClr val="tx2">
                          <a:lumMod val="40000"/>
                          <a:lumOff val="60000"/>
                        </a:schemeClr>
                      </a:gs>
                      <a:gs pos="100000">
                        <a:srgbClr val="FFFFFF">
                          <a:alpha val="0"/>
                        </a:srgb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endParaRPr lang="en-US" sz="1050" dirty="0">
                    <a:solidFill>
                      <a:schemeClr val="bg2"/>
                    </a:solidFill>
                  </a:endParaRPr>
                </a:p>
              </p:txBody>
            </p:sp>
            <p:sp>
              <p:nvSpPr>
                <p:cNvPr id="30" name="TextBox 29"/>
                <p:cNvSpPr txBox="1"/>
                <p:nvPr/>
              </p:nvSpPr>
              <p:spPr>
                <a:xfrm>
                  <a:off x="714611" y="3535396"/>
                  <a:ext cx="811947" cy="230832"/>
                </a:xfrm>
                <a:prstGeom prst="rect">
                  <a:avLst/>
                </a:prstGeom>
                <a:noFill/>
              </p:spPr>
              <p:txBody>
                <a:bodyPr wrap="square" lIns="0" tIns="0" rIns="0" bIns="0" rtlCol="0">
                  <a:spAutoFit/>
                </a:bodyPr>
                <a:lstStyle/>
                <a:p>
                  <a:pPr algn="ctr">
                    <a:lnSpc>
                      <a:spcPts val="850"/>
                    </a:lnSpc>
                  </a:pPr>
                  <a:r>
                    <a:rPr lang="en-US" sz="800" dirty="0" smtClean="0">
                      <a:solidFill>
                        <a:schemeClr val="tx2">
                          <a:lumMod val="75000"/>
                        </a:schemeClr>
                      </a:solidFill>
                    </a:rPr>
                    <a:t>Virtual Infrastructure</a:t>
                  </a:r>
                  <a:endParaRPr lang="en-US" sz="800" dirty="0" smtClean="0">
                    <a:solidFill>
                      <a:schemeClr val="tx2">
                        <a:lumMod val="75000"/>
                      </a:schemeClr>
                    </a:solidFill>
                    <a:effectLst/>
                  </a:endParaRPr>
                </a:p>
              </p:txBody>
            </p:sp>
            <p:sp>
              <p:nvSpPr>
                <p:cNvPr id="31" name="TextBox 30"/>
                <p:cNvSpPr txBox="1"/>
                <p:nvPr/>
              </p:nvSpPr>
              <p:spPr>
                <a:xfrm>
                  <a:off x="714611" y="3829069"/>
                  <a:ext cx="811947" cy="230832"/>
                </a:xfrm>
                <a:prstGeom prst="rect">
                  <a:avLst/>
                </a:prstGeom>
                <a:noFill/>
              </p:spPr>
              <p:txBody>
                <a:bodyPr wrap="square" lIns="0" tIns="0" rIns="0" bIns="0" rtlCol="0">
                  <a:spAutoFit/>
                </a:bodyPr>
                <a:lstStyle/>
                <a:p>
                  <a:pPr algn="ctr">
                    <a:lnSpc>
                      <a:spcPts val="850"/>
                    </a:lnSpc>
                  </a:pPr>
                  <a:r>
                    <a:rPr lang="en-US" sz="800" dirty="0" smtClean="0">
                      <a:solidFill>
                        <a:schemeClr val="bg2"/>
                      </a:solidFill>
                    </a:rPr>
                    <a:t>Physical Infrastructure</a:t>
                  </a:r>
                  <a:endParaRPr lang="en-US" sz="800" dirty="0" smtClean="0">
                    <a:solidFill>
                      <a:schemeClr val="bg2"/>
                    </a:solidFill>
                    <a:effectLst/>
                  </a:endParaRPr>
                </a:p>
              </p:txBody>
            </p:sp>
            <p:cxnSp>
              <p:nvCxnSpPr>
                <p:cNvPr id="33" name="Straight Connector 32"/>
                <p:cNvCxnSpPr/>
                <p:nvPr/>
              </p:nvCxnSpPr>
              <p:spPr>
                <a:xfrm>
                  <a:off x="687469" y="3797765"/>
                  <a:ext cx="861004" cy="0"/>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pic>
            <p:nvPicPr>
              <p:cNvPr id="45" name="Picture 44" descr="Cloud1-VMware-lg-300dpi.png"/>
              <p:cNvPicPr>
                <a:picLocks/>
              </p:cNvPicPr>
              <p:nvPr/>
            </p:nvPicPr>
            <p:blipFill>
              <a:blip r:embed="rId3" cstate="email">
                <a:alphaModFix/>
                <a:extLst>
                  <a:ext uri="{28A0092B-C50C-407E-A947-70E740481C1C}">
                    <a14:useLocalDpi xmlns:a14="http://schemas.microsoft.com/office/drawing/2010/main"/>
                  </a:ext>
                </a:extLst>
              </a:blip>
              <a:stretch>
                <a:fillRect/>
              </a:stretch>
            </p:blipFill>
            <p:spPr>
              <a:xfrm>
                <a:off x="640990" y="4057651"/>
                <a:ext cx="983457" cy="500992"/>
              </a:xfrm>
              <a:prstGeom prst="rect">
                <a:avLst/>
              </a:prstGeom>
              <a:effectLst>
                <a:glow rad="63500">
                  <a:schemeClr val="bg1">
                    <a:alpha val="40000"/>
                  </a:schemeClr>
                </a:glow>
                <a:outerShdw blurRad="76200" dir="18900000" sy="23000" kx="-1200000" algn="bl" rotWithShape="0">
                  <a:prstClr val="black">
                    <a:alpha val="20000"/>
                  </a:prstClr>
                </a:outerShdw>
              </a:effectLst>
            </p:spPr>
          </p:pic>
          <p:sp>
            <p:nvSpPr>
              <p:cNvPr id="20" name="TextBox 19"/>
              <p:cNvSpPr txBox="1"/>
              <p:nvPr/>
            </p:nvSpPr>
            <p:spPr>
              <a:xfrm>
                <a:off x="937148" y="4235776"/>
                <a:ext cx="432702" cy="205184"/>
              </a:xfrm>
              <a:prstGeom prst="rect">
                <a:avLst/>
              </a:prstGeom>
              <a:noFill/>
            </p:spPr>
            <p:txBody>
              <a:bodyPr wrap="square" lIns="0" tIns="0" rIns="0" bIns="0" rtlCol="0">
                <a:spAutoFit/>
              </a:bodyPr>
              <a:lstStyle/>
              <a:p>
                <a:pPr algn="ctr">
                  <a:lnSpc>
                    <a:spcPts val="800"/>
                  </a:lnSpc>
                </a:pPr>
                <a:r>
                  <a:rPr lang="en-US" sz="700" b="1" dirty="0" smtClean="0">
                    <a:solidFill>
                      <a:srgbClr val="2C81BA"/>
                    </a:solidFill>
                  </a:rPr>
                  <a:t>PUBLIC CLOUD</a:t>
                </a:r>
              </a:p>
            </p:txBody>
          </p:sp>
        </p:grpSp>
        <p:grpSp>
          <p:nvGrpSpPr>
            <p:cNvPr id="10" name="Group 46"/>
            <p:cNvGrpSpPr/>
            <p:nvPr/>
          </p:nvGrpSpPr>
          <p:grpSpPr>
            <a:xfrm>
              <a:off x="2645569" y="3542262"/>
              <a:ext cx="983457" cy="1074579"/>
              <a:chOff x="2645569" y="3484064"/>
              <a:chExt cx="983457" cy="1074579"/>
            </a:xfrm>
          </p:grpSpPr>
          <p:grpSp>
            <p:nvGrpSpPr>
              <p:cNvPr id="15" name="Group 39"/>
              <p:cNvGrpSpPr/>
              <p:nvPr/>
            </p:nvGrpSpPr>
            <p:grpSpPr>
              <a:xfrm>
                <a:off x="2703152" y="3484064"/>
                <a:ext cx="861005" cy="907726"/>
                <a:chOff x="687469" y="3484064"/>
                <a:chExt cx="861005" cy="907726"/>
              </a:xfrm>
            </p:grpSpPr>
            <p:sp>
              <p:nvSpPr>
                <p:cNvPr id="41" name="Rounded Rectangle 40"/>
                <p:cNvSpPr/>
                <p:nvPr/>
              </p:nvSpPr>
              <p:spPr bwMode="gray">
                <a:xfrm rot="5400000" flipV="1">
                  <a:off x="666721" y="3510036"/>
                  <a:ext cx="907726" cy="855781"/>
                </a:xfrm>
                <a:prstGeom prst="roundRect">
                  <a:avLst>
                    <a:gd name="adj" fmla="val 3497"/>
                  </a:avLst>
                </a:prstGeom>
                <a:gradFill flip="none" rotWithShape="1">
                  <a:gsLst>
                    <a:gs pos="0">
                      <a:schemeClr val="tx2">
                        <a:lumMod val="20000"/>
                        <a:lumOff val="80000"/>
                      </a:schemeClr>
                    </a:gs>
                    <a:gs pos="100000">
                      <a:schemeClr val="bg1"/>
                    </a:gs>
                  </a:gsLst>
                  <a:lin ang="0" scaled="0"/>
                  <a:tileRect/>
                </a:gradFill>
                <a:ln w="12700">
                  <a:gradFill flip="none" rotWithShape="1">
                    <a:gsLst>
                      <a:gs pos="0">
                        <a:schemeClr val="tx2">
                          <a:lumMod val="40000"/>
                          <a:lumOff val="60000"/>
                        </a:schemeClr>
                      </a:gs>
                      <a:gs pos="100000">
                        <a:srgbClr val="FFFFFF">
                          <a:alpha val="0"/>
                        </a:srgb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274320" rIns="274320" rtlCol="0" anchor="ctr"/>
                <a:lstStyle/>
                <a:p>
                  <a:endParaRPr lang="en-US" sz="1050" dirty="0">
                    <a:solidFill>
                      <a:schemeClr val="bg2"/>
                    </a:solidFill>
                  </a:endParaRPr>
                </a:p>
              </p:txBody>
            </p:sp>
            <p:sp>
              <p:nvSpPr>
                <p:cNvPr id="42" name="TextBox 41"/>
                <p:cNvSpPr txBox="1"/>
                <p:nvPr/>
              </p:nvSpPr>
              <p:spPr>
                <a:xfrm>
                  <a:off x="714611" y="3535396"/>
                  <a:ext cx="811947" cy="230832"/>
                </a:xfrm>
                <a:prstGeom prst="rect">
                  <a:avLst/>
                </a:prstGeom>
                <a:noFill/>
              </p:spPr>
              <p:txBody>
                <a:bodyPr wrap="square" lIns="0" tIns="0" rIns="0" bIns="0" rtlCol="0">
                  <a:spAutoFit/>
                </a:bodyPr>
                <a:lstStyle/>
                <a:p>
                  <a:pPr algn="ctr">
                    <a:lnSpc>
                      <a:spcPts val="850"/>
                    </a:lnSpc>
                  </a:pPr>
                  <a:r>
                    <a:rPr lang="en-US" sz="800" dirty="0" smtClean="0">
                      <a:solidFill>
                        <a:schemeClr val="tx2">
                          <a:lumMod val="75000"/>
                        </a:schemeClr>
                      </a:solidFill>
                    </a:rPr>
                    <a:t>Virtual Infrastructure</a:t>
                  </a:r>
                  <a:endParaRPr lang="en-US" sz="800" dirty="0" smtClean="0">
                    <a:solidFill>
                      <a:schemeClr val="tx2">
                        <a:lumMod val="75000"/>
                      </a:schemeClr>
                    </a:solidFill>
                    <a:effectLst/>
                  </a:endParaRPr>
                </a:p>
              </p:txBody>
            </p:sp>
            <p:sp>
              <p:nvSpPr>
                <p:cNvPr id="43" name="TextBox 42"/>
                <p:cNvSpPr txBox="1"/>
                <p:nvPr/>
              </p:nvSpPr>
              <p:spPr>
                <a:xfrm>
                  <a:off x="714611" y="3829069"/>
                  <a:ext cx="811947" cy="230832"/>
                </a:xfrm>
                <a:prstGeom prst="rect">
                  <a:avLst/>
                </a:prstGeom>
                <a:noFill/>
              </p:spPr>
              <p:txBody>
                <a:bodyPr wrap="square" lIns="0" tIns="0" rIns="0" bIns="0" rtlCol="0">
                  <a:spAutoFit/>
                </a:bodyPr>
                <a:lstStyle/>
                <a:p>
                  <a:pPr algn="ctr">
                    <a:lnSpc>
                      <a:spcPts val="850"/>
                    </a:lnSpc>
                  </a:pPr>
                  <a:r>
                    <a:rPr lang="en-US" sz="800" dirty="0" smtClean="0">
                      <a:solidFill>
                        <a:schemeClr val="bg2"/>
                      </a:solidFill>
                    </a:rPr>
                    <a:t>Physical Infrastructure</a:t>
                  </a:r>
                  <a:endParaRPr lang="en-US" sz="800" dirty="0" smtClean="0">
                    <a:solidFill>
                      <a:schemeClr val="bg2"/>
                    </a:solidFill>
                    <a:effectLst/>
                  </a:endParaRPr>
                </a:p>
              </p:txBody>
            </p:sp>
            <p:cxnSp>
              <p:nvCxnSpPr>
                <p:cNvPr id="44" name="Straight Connector 43"/>
                <p:cNvCxnSpPr/>
                <p:nvPr/>
              </p:nvCxnSpPr>
              <p:spPr>
                <a:xfrm>
                  <a:off x="687469" y="3797765"/>
                  <a:ext cx="861004" cy="0"/>
                </a:xfrm>
                <a:prstGeom prst="line">
                  <a:avLst/>
                </a:prstGeom>
                <a:ln w="190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pic>
            <p:nvPicPr>
              <p:cNvPr id="46" name="Picture 45" descr="Cloud1-VMware-lg-300dpi.png"/>
              <p:cNvPicPr>
                <a:picLocks/>
              </p:cNvPicPr>
              <p:nvPr/>
            </p:nvPicPr>
            <p:blipFill>
              <a:blip r:embed="rId3" cstate="email">
                <a:alphaModFix/>
                <a:extLst>
                  <a:ext uri="{28A0092B-C50C-407E-A947-70E740481C1C}">
                    <a14:useLocalDpi xmlns:a14="http://schemas.microsoft.com/office/drawing/2010/main"/>
                  </a:ext>
                </a:extLst>
              </a:blip>
              <a:stretch>
                <a:fillRect/>
              </a:stretch>
            </p:blipFill>
            <p:spPr>
              <a:xfrm>
                <a:off x="2645569" y="4057651"/>
                <a:ext cx="983457" cy="500992"/>
              </a:xfrm>
              <a:prstGeom prst="rect">
                <a:avLst/>
              </a:prstGeom>
              <a:effectLst>
                <a:glow rad="63500">
                  <a:schemeClr val="bg1">
                    <a:alpha val="40000"/>
                  </a:schemeClr>
                </a:glow>
                <a:outerShdw blurRad="76200" dir="18900000" sy="23000" kx="-1200000" algn="bl" rotWithShape="0">
                  <a:prstClr val="black">
                    <a:alpha val="20000"/>
                  </a:prstClr>
                </a:outerShdw>
              </a:effectLst>
            </p:spPr>
          </p:pic>
          <p:sp>
            <p:nvSpPr>
              <p:cNvPr id="23" name="TextBox 22"/>
              <p:cNvSpPr txBox="1"/>
              <p:nvPr/>
            </p:nvSpPr>
            <p:spPr>
              <a:xfrm>
                <a:off x="2874161" y="4235776"/>
                <a:ext cx="553980" cy="205184"/>
              </a:xfrm>
              <a:prstGeom prst="rect">
                <a:avLst/>
              </a:prstGeom>
              <a:noFill/>
            </p:spPr>
            <p:txBody>
              <a:bodyPr wrap="square" lIns="0" tIns="0" rIns="0" bIns="0" rtlCol="0">
                <a:spAutoFit/>
              </a:bodyPr>
              <a:lstStyle/>
              <a:p>
                <a:pPr algn="ctr">
                  <a:lnSpc>
                    <a:spcPts val="800"/>
                  </a:lnSpc>
                </a:pPr>
                <a:r>
                  <a:rPr lang="en-US" sz="700" b="1" dirty="0" smtClean="0">
                    <a:solidFill>
                      <a:srgbClr val="2C81BA"/>
                    </a:solidFill>
                  </a:rPr>
                  <a:t>PRIVATE CLOUD</a:t>
                </a:r>
                <a:endParaRPr lang="en-US" sz="700" b="1" dirty="0" smtClean="0">
                  <a:solidFill>
                    <a:srgbClr val="2C81BA"/>
                  </a:solidFill>
                  <a:effectLst/>
                </a:endParaRPr>
              </a:p>
            </p:txBody>
          </p:sp>
        </p:grpSp>
        <p:sp>
          <p:nvSpPr>
            <p:cNvPr id="61" name="Rectangle 60"/>
            <p:cNvSpPr/>
            <p:nvPr/>
          </p:nvSpPr>
          <p:spPr>
            <a:xfrm>
              <a:off x="714166" y="2801387"/>
              <a:ext cx="2462873" cy="200233"/>
            </a:xfrm>
            <a:prstGeom prst="rect">
              <a:avLst/>
            </a:prstGeom>
            <a:solidFill>
              <a:schemeClr val="bg1">
                <a:lumMod val="65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r"/>
              <a:r>
                <a:rPr lang="en-US" sz="1000" dirty="0" err="1" smtClean="0">
                  <a:solidFill>
                    <a:schemeClr val="bg1"/>
                  </a:solidFill>
                </a:rPr>
                <a:t>IaaS</a:t>
              </a:r>
              <a:endParaRPr lang="en-US" sz="1000" dirty="0">
                <a:solidFill>
                  <a:schemeClr val="bg1"/>
                </a:solidFill>
              </a:endParaRPr>
            </a:p>
          </p:txBody>
        </p:sp>
        <p:sp>
          <p:nvSpPr>
            <p:cNvPr id="65" name="Down Arrow 64"/>
            <p:cNvSpPr/>
            <p:nvPr/>
          </p:nvSpPr>
          <p:spPr>
            <a:xfrm>
              <a:off x="2471446" y="3001628"/>
              <a:ext cx="218352" cy="160191"/>
            </a:xfrm>
            <a:prstGeom prst="downArrow">
              <a:avLst>
                <a:gd name="adj1" fmla="val 68461"/>
                <a:gd name="adj2" fmla="val 58055"/>
              </a:avLst>
            </a:prstGeom>
            <a:solidFill>
              <a:schemeClr val="bg1">
                <a:lumMod val="65000"/>
              </a:schemeClr>
            </a:solidFill>
            <a:ln w="12700">
              <a:noFill/>
            </a:ln>
            <a:effectLst>
              <a:outerShdw blurRad="381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714166" y="2498814"/>
              <a:ext cx="2462873" cy="200233"/>
            </a:xfrm>
            <a:prstGeom prst="rect">
              <a:avLst/>
            </a:prstGeom>
            <a:solidFill>
              <a:schemeClr val="bg1">
                <a:lumMod val="50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r"/>
              <a:r>
                <a:rPr lang="en-US" sz="1000" dirty="0" err="1" smtClean="0">
                  <a:solidFill>
                    <a:schemeClr val="bg1"/>
                  </a:solidFill>
                </a:rPr>
                <a:t>PaaS</a:t>
              </a:r>
              <a:endParaRPr lang="en-US" sz="1000" dirty="0">
                <a:solidFill>
                  <a:schemeClr val="bg1"/>
                </a:solidFill>
              </a:endParaRPr>
            </a:p>
          </p:txBody>
        </p:sp>
        <p:sp>
          <p:nvSpPr>
            <p:cNvPr id="67" name="Rectangle 66"/>
            <p:cNvSpPr/>
            <p:nvPr/>
          </p:nvSpPr>
          <p:spPr>
            <a:xfrm>
              <a:off x="714166" y="2196241"/>
              <a:ext cx="2462873" cy="200233"/>
            </a:xfrm>
            <a:prstGeom prst="rect">
              <a:avLst/>
            </a:prstGeom>
            <a:solidFill>
              <a:schemeClr val="tx2">
                <a:lumMod val="60000"/>
                <a:lumOff val="40000"/>
              </a:schemeClr>
            </a:solidFill>
            <a:ln>
              <a:noFill/>
            </a:ln>
          </p:spPr>
          <p:style>
            <a:lnRef idx="1">
              <a:schemeClr val="dk1"/>
            </a:lnRef>
            <a:fillRef idx="2">
              <a:schemeClr val="dk1"/>
            </a:fillRef>
            <a:effectRef idx="1">
              <a:schemeClr val="dk1"/>
            </a:effectRef>
            <a:fontRef idx="minor">
              <a:schemeClr val="dk1"/>
            </a:fontRef>
          </p:style>
          <p:txBody>
            <a:bodyPr rtlCol="0" anchor="ctr"/>
            <a:lstStyle/>
            <a:p>
              <a:pPr algn="r"/>
              <a:r>
                <a:rPr lang="en-US" sz="1000" dirty="0" err="1" smtClean="0">
                  <a:solidFill>
                    <a:schemeClr val="bg1"/>
                  </a:solidFill>
                </a:rPr>
                <a:t>SaaS</a:t>
              </a:r>
              <a:endParaRPr lang="en-US" sz="1000" dirty="0">
                <a:solidFill>
                  <a:schemeClr val="bg1"/>
                </a:solidFill>
              </a:endParaRPr>
            </a:p>
          </p:txBody>
        </p:sp>
        <p:sp>
          <p:nvSpPr>
            <p:cNvPr id="68" name="Rectangle 67"/>
            <p:cNvSpPr/>
            <p:nvPr/>
          </p:nvSpPr>
          <p:spPr>
            <a:xfrm>
              <a:off x="714166" y="1893668"/>
              <a:ext cx="2462873" cy="200233"/>
            </a:xfrm>
            <a:prstGeom prst="rect">
              <a:avLst/>
            </a:prstGeom>
            <a:solidFill>
              <a:srgbClr val="55A2D7"/>
            </a:solidFill>
            <a:ln>
              <a:noFill/>
            </a:ln>
          </p:spPr>
          <p:style>
            <a:lnRef idx="1">
              <a:schemeClr val="dk1"/>
            </a:lnRef>
            <a:fillRef idx="2">
              <a:schemeClr val="dk1"/>
            </a:fillRef>
            <a:effectRef idx="1">
              <a:schemeClr val="dk1"/>
            </a:effectRef>
            <a:fontRef idx="minor">
              <a:schemeClr val="dk1"/>
            </a:fontRef>
          </p:style>
          <p:txBody>
            <a:bodyPr rtlCol="0" anchor="ctr"/>
            <a:lstStyle/>
            <a:p>
              <a:pPr algn="r"/>
              <a:r>
                <a:rPr lang="en-US" sz="1000" dirty="0" err="1" smtClean="0">
                  <a:solidFill>
                    <a:schemeClr val="bg1"/>
                  </a:solidFill>
                </a:rPr>
                <a:t>BPaaS</a:t>
              </a:r>
              <a:endParaRPr lang="en-US" sz="1000" dirty="0">
                <a:solidFill>
                  <a:schemeClr val="bg1"/>
                </a:solidFill>
              </a:endParaRPr>
            </a:p>
          </p:txBody>
        </p:sp>
        <p:sp>
          <p:nvSpPr>
            <p:cNvPr id="69" name="Down Arrow 68"/>
            <p:cNvSpPr/>
            <p:nvPr/>
          </p:nvSpPr>
          <p:spPr>
            <a:xfrm>
              <a:off x="1029764" y="2087228"/>
              <a:ext cx="218352" cy="1074591"/>
            </a:xfrm>
            <a:prstGeom prst="downArrow">
              <a:avLst>
                <a:gd name="adj1" fmla="val 68461"/>
                <a:gd name="adj2" fmla="val 42530"/>
              </a:avLst>
            </a:prstGeom>
            <a:solidFill>
              <a:srgbClr val="55A2D7"/>
            </a:solidFill>
            <a:ln w="12700">
              <a:noFill/>
            </a:ln>
            <a:effectLst>
              <a:outerShdw blurRad="381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Down Arrow 69"/>
            <p:cNvSpPr/>
            <p:nvPr/>
          </p:nvSpPr>
          <p:spPr>
            <a:xfrm>
              <a:off x="1510325" y="2380904"/>
              <a:ext cx="218352" cy="780915"/>
            </a:xfrm>
            <a:prstGeom prst="downArrow">
              <a:avLst>
                <a:gd name="adj1" fmla="val 68461"/>
                <a:gd name="adj2" fmla="val 41010"/>
              </a:avLst>
            </a:prstGeom>
            <a:solidFill>
              <a:schemeClr val="tx2">
                <a:lumMod val="60000"/>
                <a:lumOff val="40000"/>
              </a:schemeClr>
            </a:solidFill>
            <a:ln w="12700">
              <a:noFill/>
            </a:ln>
            <a:effectLst>
              <a:outerShdw blurRad="381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Down Arrow 72"/>
            <p:cNvSpPr/>
            <p:nvPr/>
          </p:nvSpPr>
          <p:spPr>
            <a:xfrm>
              <a:off x="1990886" y="2701278"/>
              <a:ext cx="218352" cy="460541"/>
            </a:xfrm>
            <a:prstGeom prst="downArrow">
              <a:avLst>
                <a:gd name="adj1" fmla="val 68461"/>
                <a:gd name="adj2" fmla="val 45586"/>
              </a:avLst>
            </a:prstGeom>
            <a:gradFill flip="none" rotWithShape="1">
              <a:gsLst>
                <a:gs pos="0">
                  <a:schemeClr val="bg1">
                    <a:lumMod val="50000"/>
                  </a:schemeClr>
                </a:gs>
                <a:gs pos="100000">
                  <a:schemeClr val="bg1">
                    <a:lumMod val="50000"/>
                  </a:schemeClr>
                </a:gs>
              </a:gsLst>
              <a:lin ang="5400000" scaled="0"/>
              <a:tileRect/>
            </a:gradFill>
            <a:ln w="12700">
              <a:noFill/>
            </a:ln>
            <a:effectLst>
              <a:outerShdw blurRad="381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p:cNvSpPr txBox="1"/>
            <p:nvPr/>
          </p:nvSpPr>
          <p:spPr>
            <a:xfrm rot="5400000">
              <a:off x="2930701" y="2357351"/>
              <a:ext cx="811947" cy="230832"/>
            </a:xfrm>
            <a:prstGeom prst="rect">
              <a:avLst/>
            </a:prstGeom>
            <a:noFill/>
          </p:spPr>
          <p:txBody>
            <a:bodyPr wrap="square" lIns="0" tIns="0" rIns="0" bIns="0" rtlCol="0">
              <a:spAutoFit/>
            </a:bodyPr>
            <a:lstStyle/>
            <a:p>
              <a:pPr algn="ctr">
                <a:lnSpc>
                  <a:spcPts val="900"/>
                </a:lnSpc>
              </a:pPr>
              <a:r>
                <a:rPr lang="en-US" sz="800" dirty="0" smtClean="0">
                  <a:solidFill>
                    <a:schemeClr val="tx1">
                      <a:lumMod val="75000"/>
                      <a:lumOff val="25000"/>
                    </a:schemeClr>
                  </a:solidFill>
                </a:rPr>
                <a:t>Cloud Service Building Blocks</a:t>
              </a:r>
              <a:endParaRPr lang="en-US" sz="800" dirty="0" smtClean="0">
                <a:solidFill>
                  <a:schemeClr val="tx1">
                    <a:lumMod val="75000"/>
                    <a:lumOff val="25000"/>
                  </a:schemeClr>
                </a:solidFill>
                <a:effectLst/>
              </a:endParaRPr>
            </a:p>
          </p:txBody>
        </p:sp>
        <p:sp>
          <p:nvSpPr>
            <p:cNvPr id="63" name="Rectangle 62"/>
            <p:cNvSpPr/>
            <p:nvPr/>
          </p:nvSpPr>
          <p:spPr>
            <a:xfrm>
              <a:off x="7076670" y="1578440"/>
              <a:ext cx="1531228" cy="3017088"/>
            </a:xfrm>
            <a:prstGeom prst="rect">
              <a:avLst/>
            </a:prstGeom>
            <a:gradFill flip="none" rotWithShape="1">
              <a:gsLst>
                <a:gs pos="0">
                  <a:schemeClr val="bg1">
                    <a:alpha val="50000"/>
                  </a:schemeClr>
                </a:gs>
                <a:gs pos="100000">
                  <a:schemeClr val="bg1">
                    <a:shade val="100000"/>
                    <a:satMod val="115000"/>
                    <a:alpha val="0"/>
                  </a:schemeClr>
                </a:gs>
              </a:gsLst>
              <a:lin ang="5400000" scaled="1"/>
              <a:tileRect/>
            </a:gradFill>
            <a:ln w="12700">
              <a:gradFill>
                <a:gsLst>
                  <a:gs pos="0">
                    <a:schemeClr val="tx2"/>
                  </a:gs>
                  <a:gs pos="100000">
                    <a:schemeClr val="accent1">
                      <a:tint val="23500"/>
                      <a:satMod val="160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Content Placeholder 2"/>
            <p:cNvSpPr txBox="1">
              <a:spLocks/>
            </p:cNvSpPr>
            <p:nvPr/>
          </p:nvSpPr>
          <p:spPr bwMode="gray">
            <a:xfrm>
              <a:off x="7082444" y="1612027"/>
              <a:ext cx="1519681" cy="391389"/>
            </a:xfrm>
            <a:prstGeom prst="rect">
              <a:avLst/>
            </a:prstGeom>
          </p:spPr>
          <p:txBody>
            <a:bodyPr wrap="square" lIns="0" tIns="0" rIns="0" bIns="0">
              <a:spAutoFit/>
            </a:bodyPr>
            <a:lstStyle>
              <a:lvl1pPr marL="228600" indent="-228600" algn="l" defTabSz="914400" rtl="0" eaLnBrk="1" latinLnBrk="0" hangingPunct="1">
                <a:spcBef>
                  <a:spcPts val="1200"/>
                </a:spcBef>
                <a:buClr>
                  <a:schemeClr val="tx2"/>
                </a:buClr>
                <a:buFont typeface="Arial" pitchFamily="34" charset="0"/>
                <a:buChar char="•"/>
                <a:defRPr sz="2800" kern="1200">
                  <a:solidFill>
                    <a:schemeClr val="bg2"/>
                  </a:solidFill>
                  <a:latin typeface="MetaNormalLF-Roman" pitchFamily="34" charset="0"/>
                  <a:ea typeface="+mn-ea"/>
                  <a:cs typeface="+mn-cs"/>
                </a:defRPr>
              </a:lvl1pPr>
              <a:lvl2pPr marL="742950" indent="-285750" algn="l" defTabSz="914400" rtl="0" eaLnBrk="1" latinLnBrk="0" hangingPunct="1">
                <a:spcBef>
                  <a:spcPts val="600"/>
                </a:spcBef>
                <a:buClr>
                  <a:schemeClr val="tx2"/>
                </a:buClr>
                <a:buFont typeface="Arial" pitchFamily="34" charset="0"/>
                <a:buChar char="–"/>
                <a:defRPr sz="2400" kern="1200">
                  <a:solidFill>
                    <a:schemeClr val="bg2"/>
                  </a:solidFill>
                  <a:latin typeface="MetaNormalLF-Roman" pitchFamily="34" charset="0"/>
                  <a:ea typeface="+mn-ea"/>
                  <a:cs typeface="+mn-cs"/>
                </a:defRPr>
              </a:lvl2pPr>
              <a:lvl3pPr marL="1143000" indent="-228600" algn="l" defTabSz="914400" rtl="0" eaLnBrk="1" latinLnBrk="0" hangingPunct="1">
                <a:spcBef>
                  <a:spcPts val="600"/>
                </a:spcBef>
                <a:buClr>
                  <a:schemeClr val="tx2"/>
                </a:buClr>
                <a:buFont typeface="Arial" pitchFamily="34" charset="0"/>
                <a:buChar char="•"/>
                <a:defRPr sz="2000" kern="1200">
                  <a:solidFill>
                    <a:schemeClr val="bg2"/>
                  </a:solidFill>
                  <a:latin typeface="MetaNormalLF-Roman" pitchFamily="34" charset="0"/>
                  <a:ea typeface="+mn-ea"/>
                  <a:cs typeface="+mn-cs"/>
                </a:defRPr>
              </a:lvl3pPr>
              <a:lvl4pPr marL="1600200" indent="-228600" algn="l" defTabSz="914400" rtl="0" eaLnBrk="1" latinLnBrk="0" hangingPunct="1">
                <a:spcBef>
                  <a:spcPts val="600"/>
                </a:spcBef>
                <a:buClr>
                  <a:schemeClr val="tx2"/>
                </a:buClr>
                <a:buFont typeface="Wingdings" pitchFamily="2" charset="2"/>
                <a:buChar char="§"/>
                <a:defRPr sz="1800" kern="1200">
                  <a:solidFill>
                    <a:schemeClr val="bg2"/>
                  </a:solidFill>
                  <a:latin typeface="MetaNormalLF-Roman" pitchFamily="34" charset="0"/>
                  <a:ea typeface="+mn-ea"/>
                  <a:cs typeface="+mn-cs"/>
                </a:defRPr>
              </a:lvl4pPr>
              <a:lvl5pPr marL="2057400" indent="-228600" algn="l" defTabSz="914400" rtl="0" eaLnBrk="1" latinLnBrk="0" hangingPunct="1">
                <a:spcBef>
                  <a:spcPts val="600"/>
                </a:spcBef>
                <a:buClr>
                  <a:schemeClr val="tx2"/>
                </a:buClr>
                <a:buFont typeface="Arial" pitchFamily="34" charset="0"/>
                <a:buChar char="»"/>
                <a:defRPr sz="1600" kern="1200">
                  <a:solidFill>
                    <a:schemeClr val="bg2"/>
                  </a:solidFill>
                  <a:latin typeface="MetaNormalLF-Roman"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ts val="0"/>
                </a:spcBef>
                <a:buNone/>
              </a:pPr>
              <a:r>
                <a:rPr lang="en-US" sz="1400" dirty="0" smtClean="0">
                  <a:solidFill>
                    <a:schemeClr val="tx2"/>
                  </a:solidFill>
                  <a:effectLst>
                    <a:glow rad="101600">
                      <a:schemeClr val="bg1">
                        <a:alpha val="75000"/>
                      </a:schemeClr>
                    </a:glow>
                  </a:effectLst>
                  <a:latin typeface="Verdana" pitchFamily="34" charset="0"/>
                </a:rPr>
                <a:t>Service </a:t>
              </a:r>
            </a:p>
            <a:p>
              <a:pPr marL="0" indent="0" algn="ctr">
                <a:lnSpc>
                  <a:spcPct val="90000"/>
                </a:lnSpc>
                <a:spcBef>
                  <a:spcPts val="0"/>
                </a:spcBef>
                <a:buNone/>
              </a:pPr>
              <a:r>
                <a:rPr lang="en-US" sz="1400" dirty="0" smtClean="0">
                  <a:solidFill>
                    <a:schemeClr val="tx2"/>
                  </a:solidFill>
                  <a:effectLst>
                    <a:glow rad="101600">
                      <a:schemeClr val="bg1">
                        <a:alpha val="75000"/>
                      </a:schemeClr>
                    </a:glow>
                  </a:effectLst>
                  <a:latin typeface="Verdana" pitchFamily="34" charset="0"/>
                </a:rPr>
                <a:t>Management</a:t>
              </a:r>
              <a:endParaRPr lang="en-US" sz="1400" dirty="0">
                <a:solidFill>
                  <a:schemeClr val="tx2"/>
                </a:solidFill>
                <a:effectLst>
                  <a:glow rad="101600">
                    <a:schemeClr val="bg1">
                      <a:alpha val="75000"/>
                    </a:schemeClr>
                  </a:glow>
                </a:effectLst>
                <a:latin typeface="Verdana" pitchFamily="34" charset="0"/>
              </a:endParaRPr>
            </a:p>
          </p:txBody>
        </p:sp>
        <p:sp>
          <p:nvSpPr>
            <p:cNvPr id="75" name="Rounded Rectangle 74"/>
            <p:cNvSpPr/>
            <p:nvPr/>
          </p:nvSpPr>
          <p:spPr>
            <a:xfrm>
              <a:off x="7152528" y="2343691"/>
              <a:ext cx="1379512" cy="166255"/>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tx1">
                      <a:lumMod val="85000"/>
                      <a:lumOff val="15000"/>
                    </a:schemeClr>
                  </a:solidFill>
                </a:rPr>
                <a:t>Incident Management</a:t>
              </a:r>
              <a:endParaRPr lang="en-US" sz="800" dirty="0">
                <a:solidFill>
                  <a:schemeClr val="tx1">
                    <a:lumMod val="85000"/>
                    <a:lumOff val="15000"/>
                  </a:schemeClr>
                </a:solidFill>
              </a:endParaRPr>
            </a:p>
          </p:txBody>
        </p:sp>
        <p:sp>
          <p:nvSpPr>
            <p:cNvPr id="76" name="Rounded Rectangle 75"/>
            <p:cNvSpPr/>
            <p:nvPr/>
          </p:nvSpPr>
          <p:spPr>
            <a:xfrm>
              <a:off x="7152528" y="2110497"/>
              <a:ext cx="1379512" cy="166255"/>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tx1">
                      <a:lumMod val="85000"/>
                      <a:lumOff val="15000"/>
                    </a:schemeClr>
                  </a:solidFill>
                </a:rPr>
                <a:t>Request Management</a:t>
              </a:r>
              <a:endParaRPr lang="en-US" sz="800" dirty="0">
                <a:solidFill>
                  <a:schemeClr val="tx1">
                    <a:lumMod val="85000"/>
                    <a:lumOff val="15000"/>
                  </a:schemeClr>
                </a:solidFill>
              </a:endParaRPr>
            </a:p>
          </p:txBody>
        </p:sp>
        <p:sp>
          <p:nvSpPr>
            <p:cNvPr id="77" name="Rounded Rectangle 76"/>
            <p:cNvSpPr/>
            <p:nvPr/>
          </p:nvSpPr>
          <p:spPr>
            <a:xfrm>
              <a:off x="7152528" y="3043273"/>
              <a:ext cx="1379512" cy="166255"/>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tx1">
                      <a:lumMod val="85000"/>
                      <a:lumOff val="15000"/>
                    </a:schemeClr>
                  </a:solidFill>
                </a:rPr>
                <a:t>Knowledge Management</a:t>
              </a:r>
              <a:endParaRPr lang="en-US" sz="800" dirty="0">
                <a:solidFill>
                  <a:schemeClr val="tx1">
                    <a:lumMod val="85000"/>
                    <a:lumOff val="15000"/>
                  </a:schemeClr>
                </a:solidFill>
              </a:endParaRPr>
            </a:p>
          </p:txBody>
        </p:sp>
        <p:sp>
          <p:nvSpPr>
            <p:cNvPr id="78" name="Rounded Rectangle 77"/>
            <p:cNvSpPr/>
            <p:nvPr/>
          </p:nvSpPr>
          <p:spPr>
            <a:xfrm>
              <a:off x="7152528" y="2576885"/>
              <a:ext cx="1379512" cy="166255"/>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tx1">
                      <a:lumMod val="85000"/>
                      <a:lumOff val="15000"/>
                    </a:schemeClr>
                  </a:solidFill>
                </a:rPr>
                <a:t>Problem Management</a:t>
              </a:r>
              <a:endParaRPr lang="en-US" sz="800" dirty="0">
                <a:solidFill>
                  <a:schemeClr val="tx1">
                    <a:lumMod val="85000"/>
                    <a:lumOff val="15000"/>
                  </a:schemeClr>
                </a:solidFill>
              </a:endParaRPr>
            </a:p>
          </p:txBody>
        </p:sp>
        <p:sp>
          <p:nvSpPr>
            <p:cNvPr id="79" name="Rounded Rectangle 78"/>
            <p:cNvSpPr/>
            <p:nvPr/>
          </p:nvSpPr>
          <p:spPr>
            <a:xfrm>
              <a:off x="7152528" y="2810079"/>
              <a:ext cx="1379512" cy="166255"/>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tx1">
                      <a:lumMod val="85000"/>
                      <a:lumOff val="15000"/>
                    </a:schemeClr>
                  </a:solidFill>
                </a:rPr>
                <a:t>Event Management</a:t>
              </a:r>
              <a:endParaRPr lang="en-US" sz="800" dirty="0">
                <a:solidFill>
                  <a:schemeClr val="tx1">
                    <a:lumMod val="85000"/>
                    <a:lumOff val="15000"/>
                  </a:schemeClr>
                </a:solidFill>
              </a:endParaRPr>
            </a:p>
          </p:txBody>
        </p:sp>
        <p:sp>
          <p:nvSpPr>
            <p:cNvPr id="80" name="Rounded Rectangle 79"/>
            <p:cNvSpPr/>
            <p:nvPr/>
          </p:nvSpPr>
          <p:spPr>
            <a:xfrm>
              <a:off x="7152528" y="3276465"/>
              <a:ext cx="1379512" cy="166255"/>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tx1">
                      <a:lumMod val="85000"/>
                      <a:lumOff val="15000"/>
                    </a:schemeClr>
                  </a:solidFill>
                </a:rPr>
                <a:t>Change Management</a:t>
              </a:r>
              <a:endParaRPr lang="en-US" sz="800" dirty="0">
                <a:solidFill>
                  <a:schemeClr val="tx1">
                    <a:lumMod val="85000"/>
                    <a:lumOff val="15000"/>
                  </a:schemeClr>
                </a:solidFill>
              </a:endParaRPr>
            </a:p>
          </p:txBody>
        </p:sp>
        <p:sp>
          <p:nvSpPr>
            <p:cNvPr id="81" name="Rounded Rectangle 80"/>
            <p:cNvSpPr/>
            <p:nvPr/>
          </p:nvSpPr>
          <p:spPr>
            <a:xfrm>
              <a:off x="7152528" y="3520397"/>
              <a:ext cx="1379512" cy="455457"/>
            </a:xfrm>
            <a:prstGeom prst="roundRect">
              <a:avLst>
                <a:gd name="adj" fmla="val 10583"/>
              </a:avLst>
            </a:prstGeom>
            <a:ln>
              <a:noFill/>
            </a:ln>
          </p:spPr>
          <p:style>
            <a:lnRef idx="1">
              <a:schemeClr val="accent1"/>
            </a:lnRef>
            <a:fillRef idx="2">
              <a:schemeClr val="accent1"/>
            </a:fillRef>
            <a:effectRef idx="1">
              <a:schemeClr val="accent1"/>
            </a:effectRef>
            <a:fontRef idx="minor">
              <a:schemeClr val="dk1"/>
            </a:fontRef>
          </p:style>
          <p:txBody>
            <a:bodyPr lIns="45720" tIns="18288" rIns="45720" rtlCol="0" anchor="ctr" anchorCtr="0"/>
            <a:lstStyle/>
            <a:p>
              <a:pPr marL="401638" algn="ctr"/>
              <a:r>
                <a:rPr lang="en-US" sz="800" dirty="0" smtClean="0">
                  <a:solidFill>
                    <a:schemeClr val="tx1">
                      <a:lumMod val="85000"/>
                      <a:lumOff val="15000"/>
                    </a:schemeClr>
                  </a:solidFill>
                </a:rPr>
                <a:t>Configuration Management</a:t>
              </a:r>
              <a:endParaRPr lang="en-US" sz="800" dirty="0">
                <a:solidFill>
                  <a:schemeClr val="tx1">
                    <a:lumMod val="85000"/>
                    <a:lumOff val="15000"/>
                  </a:schemeClr>
                </a:solidFill>
              </a:endParaRPr>
            </a:p>
          </p:txBody>
        </p:sp>
        <p:sp>
          <p:nvSpPr>
            <p:cNvPr id="82" name="Rounded Rectangle 81"/>
            <p:cNvSpPr/>
            <p:nvPr/>
          </p:nvSpPr>
          <p:spPr>
            <a:xfrm>
              <a:off x="7152528" y="4053795"/>
              <a:ext cx="1379512" cy="455457"/>
            </a:xfrm>
            <a:prstGeom prst="roundRect">
              <a:avLst>
                <a:gd name="adj" fmla="val 9062"/>
              </a:avLst>
            </a:prstGeom>
            <a:ln>
              <a:noFill/>
            </a:ln>
          </p:spPr>
          <p:style>
            <a:lnRef idx="1">
              <a:schemeClr val="accent1"/>
            </a:lnRef>
            <a:fillRef idx="2">
              <a:schemeClr val="accent1"/>
            </a:fillRef>
            <a:effectRef idx="1">
              <a:schemeClr val="accent1"/>
            </a:effectRef>
            <a:fontRef idx="minor">
              <a:schemeClr val="dk1"/>
            </a:fontRef>
          </p:style>
          <p:txBody>
            <a:bodyPr lIns="45720" tIns="18288" rIns="45720" rtlCol="0" anchor="ctr" anchorCtr="0"/>
            <a:lstStyle/>
            <a:p>
              <a:pPr marL="457200" algn="ctr"/>
              <a:r>
                <a:rPr lang="en-US" sz="800" dirty="0" smtClean="0">
                  <a:solidFill>
                    <a:schemeClr val="tx1">
                      <a:lumMod val="85000"/>
                      <a:lumOff val="15000"/>
                    </a:schemeClr>
                  </a:solidFill>
                </a:rPr>
                <a:t>Asset </a:t>
              </a:r>
              <a:br>
                <a:rPr lang="en-US" sz="800" dirty="0" smtClean="0">
                  <a:solidFill>
                    <a:schemeClr val="tx1">
                      <a:lumMod val="85000"/>
                      <a:lumOff val="15000"/>
                    </a:schemeClr>
                  </a:solidFill>
                </a:rPr>
              </a:br>
              <a:r>
                <a:rPr lang="en-US" sz="800" dirty="0" smtClean="0">
                  <a:solidFill>
                    <a:schemeClr val="tx1">
                      <a:lumMod val="85000"/>
                      <a:lumOff val="15000"/>
                    </a:schemeClr>
                  </a:solidFill>
                </a:rPr>
                <a:t>Management</a:t>
              </a:r>
              <a:endParaRPr lang="en-US" sz="800" dirty="0">
                <a:solidFill>
                  <a:schemeClr val="tx1">
                    <a:lumMod val="85000"/>
                    <a:lumOff val="15000"/>
                  </a:schemeClr>
                </a:solidFill>
              </a:endParaRPr>
            </a:p>
          </p:txBody>
        </p:sp>
        <p:grpSp>
          <p:nvGrpSpPr>
            <p:cNvPr id="16" name="Group 86"/>
            <p:cNvGrpSpPr/>
            <p:nvPr/>
          </p:nvGrpSpPr>
          <p:grpSpPr>
            <a:xfrm>
              <a:off x="7149411" y="3562084"/>
              <a:ext cx="505226" cy="402487"/>
              <a:chOff x="7149411" y="3437794"/>
              <a:chExt cx="505226" cy="402487"/>
            </a:xfrm>
          </p:grpSpPr>
          <p:pic>
            <p:nvPicPr>
              <p:cNvPr id="83" name="Picture 4" descr="C:\Users\Dan\Desktop\storag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217616" y="3437794"/>
                <a:ext cx="341108" cy="268297"/>
              </a:xfrm>
              <a:prstGeom prst="rect">
                <a:avLst/>
              </a:prstGeom>
              <a:noFill/>
              <a:effectLst>
                <a:outerShdw blurRad="25400" dist="25400" dir="5400000" algn="t" rotWithShape="0">
                  <a:prstClr val="black">
                    <a:alpha val="60000"/>
                  </a:prstClr>
                </a:outerShdw>
              </a:effectLst>
              <a:extLst>
                <a:ext uri="{909E8E84-426E-40DD-AFC4-6F175D3DCCD1}">
                  <a14:hiddenFill xmlns:a14="http://schemas.microsoft.com/office/drawing/2010/main">
                    <a:solidFill>
                      <a:srgbClr val="FFFFFF"/>
                    </a:solidFill>
                  </a14:hiddenFill>
                </a:ext>
              </a:extLst>
            </p:spPr>
          </p:pic>
          <p:sp>
            <p:nvSpPr>
              <p:cNvPr id="85" name="TextBox 84"/>
              <p:cNvSpPr txBox="1"/>
              <p:nvPr/>
            </p:nvSpPr>
            <p:spPr>
              <a:xfrm>
                <a:off x="7149411" y="3735124"/>
                <a:ext cx="505226" cy="105157"/>
              </a:xfrm>
              <a:prstGeom prst="rect">
                <a:avLst/>
              </a:prstGeom>
              <a:noFill/>
            </p:spPr>
            <p:txBody>
              <a:bodyPr wrap="square" lIns="0" tIns="0" rIns="0" bIns="0" rtlCol="0">
                <a:spAutoFit/>
              </a:bodyPr>
              <a:lstStyle/>
              <a:p>
                <a:pPr algn="ctr">
                  <a:lnSpc>
                    <a:spcPts val="900"/>
                  </a:lnSpc>
                </a:pPr>
                <a:r>
                  <a:rPr lang="en-US" sz="700" b="1" dirty="0" smtClean="0">
                    <a:solidFill>
                      <a:schemeClr val="bg2"/>
                    </a:solidFill>
                  </a:rPr>
                  <a:t>CMDB</a:t>
                </a:r>
                <a:endParaRPr lang="en-US" sz="700" b="1" dirty="0" smtClean="0">
                  <a:solidFill>
                    <a:schemeClr val="bg2"/>
                  </a:solidFill>
                  <a:effectLst/>
                </a:endParaRPr>
              </a:p>
            </p:txBody>
          </p:sp>
        </p:grpSp>
        <p:grpSp>
          <p:nvGrpSpPr>
            <p:cNvPr id="17" name="Group 87"/>
            <p:cNvGrpSpPr/>
            <p:nvPr/>
          </p:nvGrpSpPr>
          <p:grpSpPr>
            <a:xfrm>
              <a:off x="7149411" y="4088557"/>
              <a:ext cx="505226" cy="402487"/>
              <a:chOff x="7149411" y="3437794"/>
              <a:chExt cx="505226" cy="402487"/>
            </a:xfrm>
          </p:grpSpPr>
          <p:pic>
            <p:nvPicPr>
              <p:cNvPr id="89" name="Picture 4" descr="C:\Users\Dan\Desktop\storag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217616" y="3437794"/>
                <a:ext cx="341108" cy="268297"/>
              </a:xfrm>
              <a:prstGeom prst="rect">
                <a:avLst/>
              </a:prstGeom>
              <a:noFill/>
              <a:effectLst>
                <a:outerShdw blurRad="25400" dist="25400" dir="5400000" algn="t" rotWithShape="0">
                  <a:prstClr val="black">
                    <a:alpha val="60000"/>
                  </a:prstClr>
                </a:outerShdw>
              </a:effectLst>
              <a:extLst>
                <a:ext uri="{909E8E84-426E-40DD-AFC4-6F175D3DCCD1}">
                  <a14:hiddenFill xmlns:a14="http://schemas.microsoft.com/office/drawing/2010/main">
                    <a:solidFill>
                      <a:srgbClr val="FFFFFF"/>
                    </a:solidFill>
                  </a14:hiddenFill>
                </a:ext>
              </a:extLst>
            </p:spPr>
          </p:pic>
          <p:sp>
            <p:nvSpPr>
              <p:cNvPr id="90" name="TextBox 89"/>
              <p:cNvSpPr txBox="1"/>
              <p:nvPr/>
            </p:nvSpPr>
            <p:spPr>
              <a:xfrm>
                <a:off x="7149411" y="3735124"/>
                <a:ext cx="505226" cy="105157"/>
              </a:xfrm>
              <a:prstGeom prst="rect">
                <a:avLst/>
              </a:prstGeom>
              <a:noFill/>
            </p:spPr>
            <p:txBody>
              <a:bodyPr wrap="square" lIns="0" tIns="0" rIns="0" bIns="0" rtlCol="0">
                <a:spAutoFit/>
              </a:bodyPr>
              <a:lstStyle/>
              <a:p>
                <a:pPr algn="ctr">
                  <a:lnSpc>
                    <a:spcPts val="900"/>
                  </a:lnSpc>
                </a:pPr>
                <a:r>
                  <a:rPr lang="en-US" sz="700" b="1" dirty="0" smtClean="0">
                    <a:solidFill>
                      <a:schemeClr val="bg2"/>
                    </a:solidFill>
                  </a:rPr>
                  <a:t>AMDB</a:t>
                </a:r>
                <a:endParaRPr lang="en-US" sz="700" b="1" dirty="0" smtClean="0">
                  <a:solidFill>
                    <a:schemeClr val="bg2"/>
                  </a:solidFill>
                  <a:effectLst/>
                </a:endParaRPr>
              </a:p>
            </p:txBody>
          </p:sp>
        </p:grpSp>
        <p:sp>
          <p:nvSpPr>
            <p:cNvPr id="98" name="Rounded Rectangle 97"/>
            <p:cNvSpPr/>
            <p:nvPr/>
          </p:nvSpPr>
          <p:spPr>
            <a:xfrm>
              <a:off x="4118520" y="1663700"/>
              <a:ext cx="588821" cy="594120"/>
            </a:xfrm>
            <a:prstGeom prst="roundRect">
              <a:avLst>
                <a:gd name="adj" fmla="val 12319"/>
              </a:avLst>
            </a:prstGeom>
            <a:ln>
              <a:noFill/>
            </a:ln>
          </p:spPr>
          <p:style>
            <a:lnRef idx="1">
              <a:schemeClr val="accent1"/>
            </a:lnRef>
            <a:fillRef idx="2">
              <a:schemeClr val="accent1"/>
            </a:fillRef>
            <a:effectRef idx="1">
              <a:schemeClr val="accent1"/>
            </a:effectRef>
            <a:fontRef idx="minor">
              <a:schemeClr val="dk1"/>
            </a:fontRef>
          </p:style>
          <p:txBody>
            <a:bodyPr lIns="45720" tIns="18288" rIns="45720" rtlCol="0" anchor="t" anchorCtr="0"/>
            <a:lstStyle/>
            <a:p>
              <a:pPr algn="ctr"/>
              <a:r>
                <a:rPr lang="en-US" sz="800" dirty="0" smtClean="0">
                  <a:solidFill>
                    <a:schemeClr val="tx1">
                      <a:lumMod val="85000"/>
                      <a:lumOff val="15000"/>
                    </a:schemeClr>
                  </a:solidFill>
                </a:rPr>
                <a:t>Policy Engine</a:t>
              </a:r>
              <a:endParaRPr lang="en-US" sz="800" dirty="0">
                <a:solidFill>
                  <a:schemeClr val="tx1">
                    <a:lumMod val="85000"/>
                    <a:lumOff val="15000"/>
                  </a:schemeClr>
                </a:solidFill>
              </a:endParaRPr>
            </a:p>
          </p:txBody>
        </p:sp>
        <p:pic>
          <p:nvPicPr>
            <p:cNvPr id="99" name="Picture 4" descr="C:\Users\Dan\Desktop\storag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260818" y="1963115"/>
              <a:ext cx="304224" cy="239286"/>
            </a:xfrm>
            <a:prstGeom prst="rect">
              <a:avLst/>
            </a:prstGeom>
            <a:noFill/>
            <a:effectLst>
              <a:outerShdw blurRad="25400" dist="25400" dir="5400000" algn="t" rotWithShape="0">
                <a:prstClr val="black">
                  <a:alpha val="60000"/>
                </a:prstClr>
              </a:outerShdw>
            </a:effectLst>
            <a:extLst>
              <a:ext uri="{909E8E84-426E-40DD-AFC4-6F175D3DCCD1}">
                <a14:hiddenFill xmlns:a14="http://schemas.microsoft.com/office/drawing/2010/main">
                  <a:solidFill>
                    <a:srgbClr val="FFFFFF"/>
                  </a:solidFill>
                </a14:hiddenFill>
              </a:ext>
            </a:extLst>
          </p:spPr>
        </p:pic>
        <p:sp>
          <p:nvSpPr>
            <p:cNvPr id="91" name="Rounded Rectangle 90"/>
            <p:cNvSpPr/>
            <p:nvPr/>
          </p:nvSpPr>
          <p:spPr>
            <a:xfrm>
              <a:off x="5070024" y="1663700"/>
              <a:ext cx="588821" cy="594120"/>
            </a:xfrm>
            <a:prstGeom prst="roundRect">
              <a:avLst>
                <a:gd name="adj" fmla="val 12319"/>
              </a:avLst>
            </a:prstGeom>
            <a:ln>
              <a:noFill/>
            </a:ln>
          </p:spPr>
          <p:style>
            <a:lnRef idx="1">
              <a:schemeClr val="accent1"/>
            </a:lnRef>
            <a:fillRef idx="2">
              <a:schemeClr val="accent1"/>
            </a:fillRef>
            <a:effectRef idx="1">
              <a:schemeClr val="accent1"/>
            </a:effectRef>
            <a:fontRef idx="minor">
              <a:schemeClr val="dk1"/>
            </a:fontRef>
          </p:style>
          <p:txBody>
            <a:bodyPr lIns="45720" tIns="18288" rIns="45720" rtlCol="0" anchor="t" anchorCtr="0"/>
            <a:lstStyle/>
            <a:p>
              <a:pPr algn="ctr"/>
              <a:r>
                <a:rPr lang="en-US" sz="800" dirty="0" smtClean="0">
                  <a:solidFill>
                    <a:schemeClr val="tx1">
                      <a:lumMod val="85000"/>
                      <a:lumOff val="15000"/>
                    </a:schemeClr>
                  </a:solidFill>
                </a:rPr>
                <a:t>Service Catalog</a:t>
              </a:r>
              <a:endParaRPr lang="en-US" sz="800" dirty="0">
                <a:solidFill>
                  <a:schemeClr val="tx1">
                    <a:lumMod val="85000"/>
                    <a:lumOff val="15000"/>
                  </a:schemeClr>
                </a:solidFill>
              </a:endParaRPr>
            </a:p>
          </p:txBody>
        </p:sp>
        <p:pic>
          <p:nvPicPr>
            <p:cNvPr id="103" name="Picture 102" descr="Book_Icon.png"/>
            <p:cNvPicPr>
              <a:picLocks noChangeAspect="1"/>
            </p:cNvPicPr>
            <p:nvPr/>
          </p:nvPicPr>
          <p:blipFill>
            <a:blip r:embed="rId5" cstate="email">
              <a:lum bright="-26000" contrast="20000"/>
              <a:extLst>
                <a:ext uri="{28A0092B-C50C-407E-A947-70E740481C1C}">
                  <a14:useLocalDpi xmlns:a14="http://schemas.microsoft.com/office/drawing/2010/main"/>
                </a:ext>
              </a:extLst>
            </a:blip>
            <a:stretch>
              <a:fillRect/>
            </a:stretch>
          </p:blipFill>
          <p:spPr>
            <a:xfrm>
              <a:off x="5128763" y="1940073"/>
              <a:ext cx="440187" cy="290027"/>
            </a:xfrm>
            <a:prstGeom prst="rect">
              <a:avLst/>
            </a:prstGeom>
            <a:effectLst>
              <a:outerShdw blurRad="38100" dist="25400" dir="5400000" algn="t" rotWithShape="0">
                <a:prstClr val="black">
                  <a:alpha val="60000"/>
                </a:prstClr>
              </a:outerShdw>
            </a:effectLst>
          </p:spPr>
        </p:pic>
        <p:grpSp>
          <p:nvGrpSpPr>
            <p:cNvPr id="21" name="Group 131"/>
            <p:cNvGrpSpPr/>
            <p:nvPr/>
          </p:nvGrpSpPr>
          <p:grpSpPr>
            <a:xfrm>
              <a:off x="4118520" y="2994490"/>
              <a:ext cx="2485480" cy="1118438"/>
              <a:chOff x="4118520" y="2787650"/>
              <a:chExt cx="2485480" cy="1118438"/>
            </a:xfrm>
          </p:grpSpPr>
          <p:sp>
            <p:nvSpPr>
              <p:cNvPr id="109" name="Rectangle 108"/>
              <p:cNvSpPr/>
              <p:nvPr/>
            </p:nvSpPr>
            <p:spPr>
              <a:xfrm>
                <a:off x="4118520" y="2787650"/>
                <a:ext cx="2485480" cy="1118438"/>
              </a:xfrm>
              <a:prstGeom prst="rect">
                <a:avLst/>
              </a:prstGeom>
              <a:gradFill flip="none" rotWithShape="1">
                <a:gsLst>
                  <a:gs pos="0">
                    <a:schemeClr val="bg1">
                      <a:alpha val="50000"/>
                    </a:schemeClr>
                  </a:gs>
                  <a:gs pos="100000">
                    <a:schemeClr val="bg1">
                      <a:shade val="100000"/>
                      <a:satMod val="115000"/>
                      <a:alpha val="0"/>
                    </a:schemeClr>
                  </a:gs>
                </a:gsLst>
                <a:lin ang="5400000" scaled="1"/>
                <a:tileRect/>
              </a:gradFill>
              <a:ln w="12700">
                <a:gradFill>
                  <a:gsLst>
                    <a:gs pos="0">
                      <a:schemeClr val="bg2"/>
                    </a:gs>
                    <a:gs pos="100000">
                      <a:schemeClr val="bg1">
                        <a:lumMod val="75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114"/>
              <p:cNvGrpSpPr/>
              <p:nvPr/>
            </p:nvGrpSpPr>
            <p:grpSpPr>
              <a:xfrm>
                <a:off x="4200653" y="3308350"/>
                <a:ext cx="2321214" cy="508000"/>
                <a:chOff x="4365336" y="3187700"/>
                <a:chExt cx="2321214" cy="508000"/>
              </a:xfrm>
            </p:grpSpPr>
            <p:sp>
              <p:nvSpPr>
                <p:cNvPr id="110" name="Rounded Rectangle 109"/>
                <p:cNvSpPr/>
                <p:nvPr/>
              </p:nvSpPr>
              <p:spPr>
                <a:xfrm>
                  <a:off x="4365336" y="3187700"/>
                  <a:ext cx="714664" cy="228600"/>
                </a:xfrm>
                <a:prstGeom prst="roundRect">
                  <a:avLst/>
                </a:prstGeom>
                <a:gradFill>
                  <a:gsLst>
                    <a:gs pos="0">
                      <a:schemeClr val="bg1">
                        <a:lumMod val="65000"/>
                      </a:schemeClr>
                    </a:gs>
                    <a:gs pos="35000">
                      <a:schemeClr val="bg1">
                        <a:lumMod val="50000"/>
                      </a:schemeClr>
                    </a:gs>
                    <a:gs pos="100000">
                      <a:schemeClr val="bg1">
                        <a:lumMod val="85000"/>
                      </a:schemeClr>
                    </a:gs>
                  </a:gsLst>
                </a:gradFill>
                <a:ln>
                  <a:noFill/>
                </a:ln>
                <a:effectLst>
                  <a:outerShdw blurRad="38100" dist="254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bg1"/>
                      </a:solidFill>
                    </a:rPr>
                    <a:t>Device</a:t>
                  </a:r>
                </a:p>
              </p:txBody>
            </p:sp>
            <p:sp>
              <p:nvSpPr>
                <p:cNvPr id="111" name="Rounded Rectangle 110"/>
                <p:cNvSpPr/>
                <p:nvPr/>
              </p:nvSpPr>
              <p:spPr>
                <a:xfrm>
                  <a:off x="4365336" y="3467100"/>
                  <a:ext cx="714664" cy="228600"/>
                </a:xfrm>
                <a:prstGeom prst="roundRect">
                  <a:avLst/>
                </a:prstGeom>
                <a:gradFill>
                  <a:gsLst>
                    <a:gs pos="0">
                      <a:schemeClr val="bg1">
                        <a:lumMod val="65000"/>
                      </a:schemeClr>
                    </a:gs>
                    <a:gs pos="35000">
                      <a:schemeClr val="bg1">
                        <a:lumMod val="50000"/>
                      </a:schemeClr>
                    </a:gs>
                    <a:gs pos="100000">
                      <a:schemeClr val="bg1">
                        <a:lumMod val="85000"/>
                      </a:schemeClr>
                    </a:gs>
                  </a:gsLst>
                </a:gradFill>
                <a:ln>
                  <a:noFill/>
                </a:ln>
                <a:effectLst>
                  <a:outerShdw blurRad="38100" dist="254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bg1"/>
                      </a:solidFill>
                    </a:rPr>
                    <a:t>Hosting</a:t>
                  </a:r>
                </a:p>
              </p:txBody>
            </p:sp>
            <p:sp>
              <p:nvSpPr>
                <p:cNvPr id="112" name="Rounded Rectangle 111"/>
                <p:cNvSpPr/>
                <p:nvPr/>
              </p:nvSpPr>
              <p:spPr>
                <a:xfrm>
                  <a:off x="5146386" y="3187700"/>
                  <a:ext cx="714664" cy="228600"/>
                </a:xfrm>
                <a:prstGeom prst="roundRect">
                  <a:avLst/>
                </a:prstGeom>
                <a:gradFill>
                  <a:gsLst>
                    <a:gs pos="0">
                      <a:schemeClr val="bg1">
                        <a:lumMod val="65000"/>
                      </a:schemeClr>
                    </a:gs>
                    <a:gs pos="35000">
                      <a:schemeClr val="bg1">
                        <a:lumMod val="50000"/>
                      </a:schemeClr>
                    </a:gs>
                    <a:gs pos="100000">
                      <a:schemeClr val="bg1">
                        <a:lumMod val="85000"/>
                      </a:schemeClr>
                    </a:gs>
                  </a:gsLst>
                </a:gradFill>
                <a:ln>
                  <a:noFill/>
                </a:ln>
                <a:effectLst>
                  <a:outerShdw blurRad="38100" dist="254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bg1"/>
                      </a:solidFill>
                    </a:rPr>
                    <a:t>Network</a:t>
                  </a:r>
                  <a:endParaRPr lang="en-US" sz="800" dirty="0">
                    <a:solidFill>
                      <a:schemeClr val="bg1"/>
                    </a:solidFill>
                  </a:endParaRPr>
                </a:p>
              </p:txBody>
            </p:sp>
            <p:sp>
              <p:nvSpPr>
                <p:cNvPr id="113" name="Rounded Rectangle 112"/>
                <p:cNvSpPr/>
                <p:nvPr/>
              </p:nvSpPr>
              <p:spPr>
                <a:xfrm>
                  <a:off x="5146386" y="3467100"/>
                  <a:ext cx="714664" cy="228600"/>
                </a:xfrm>
                <a:prstGeom prst="roundRect">
                  <a:avLst/>
                </a:prstGeom>
                <a:gradFill>
                  <a:gsLst>
                    <a:gs pos="0">
                      <a:schemeClr val="bg1">
                        <a:lumMod val="65000"/>
                      </a:schemeClr>
                    </a:gs>
                    <a:gs pos="35000">
                      <a:schemeClr val="bg1">
                        <a:lumMod val="50000"/>
                      </a:schemeClr>
                    </a:gs>
                    <a:gs pos="100000">
                      <a:schemeClr val="bg1">
                        <a:lumMod val="85000"/>
                      </a:schemeClr>
                    </a:gs>
                  </a:gsLst>
                </a:gradFill>
                <a:ln>
                  <a:noFill/>
                </a:ln>
                <a:effectLst>
                  <a:outerShdw blurRad="38100" dist="254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bg1"/>
                      </a:solidFill>
                    </a:rPr>
                    <a:t>Software</a:t>
                  </a:r>
                  <a:endParaRPr lang="en-US" sz="800" dirty="0">
                    <a:solidFill>
                      <a:schemeClr val="bg1"/>
                    </a:solidFill>
                  </a:endParaRPr>
                </a:p>
              </p:txBody>
            </p:sp>
            <p:sp>
              <p:nvSpPr>
                <p:cNvPr id="114" name="Rounded Rectangle 113"/>
                <p:cNvSpPr/>
                <p:nvPr/>
              </p:nvSpPr>
              <p:spPr>
                <a:xfrm>
                  <a:off x="5927436" y="3194050"/>
                  <a:ext cx="759114" cy="501650"/>
                </a:xfrm>
                <a:prstGeom prst="roundRect">
                  <a:avLst>
                    <a:gd name="adj" fmla="val 5275"/>
                  </a:avLst>
                </a:prstGeom>
                <a:gradFill>
                  <a:gsLst>
                    <a:gs pos="0">
                      <a:schemeClr val="bg1">
                        <a:lumMod val="65000"/>
                      </a:schemeClr>
                    </a:gs>
                    <a:gs pos="35000">
                      <a:schemeClr val="bg1">
                        <a:lumMod val="50000"/>
                      </a:schemeClr>
                    </a:gs>
                    <a:gs pos="100000">
                      <a:schemeClr val="bg1">
                        <a:lumMod val="85000"/>
                      </a:schemeClr>
                    </a:gs>
                  </a:gsLst>
                </a:gradFill>
                <a:ln>
                  <a:noFill/>
                </a:ln>
                <a:effectLst>
                  <a:outerShdw blurRad="38100" dist="25400" dir="5400000" algn="t"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bg1"/>
                      </a:solidFill>
                    </a:rPr>
                    <a:t>Professional Services</a:t>
                  </a:r>
                  <a:endParaRPr lang="en-US" sz="800" dirty="0">
                    <a:solidFill>
                      <a:schemeClr val="bg1"/>
                    </a:solidFill>
                  </a:endParaRPr>
                </a:p>
              </p:txBody>
            </p:sp>
          </p:grpSp>
          <p:sp>
            <p:nvSpPr>
              <p:cNvPr id="116" name="Content Placeholder 2"/>
              <p:cNvSpPr txBox="1">
                <a:spLocks/>
              </p:cNvSpPr>
              <p:nvPr/>
            </p:nvSpPr>
            <p:spPr bwMode="gray">
              <a:xfrm>
                <a:off x="4151585" y="2833937"/>
                <a:ext cx="2419350" cy="461665"/>
              </a:xfrm>
              <a:prstGeom prst="rect">
                <a:avLst/>
              </a:prstGeom>
            </p:spPr>
            <p:txBody>
              <a:bodyPr wrap="square" lIns="0" tIns="0" rIns="0" bIns="0">
                <a:spAutoFit/>
              </a:bodyPr>
              <a:lstStyle>
                <a:lvl1pPr marL="228600" indent="-228600" algn="l" defTabSz="914400" rtl="0" eaLnBrk="1" latinLnBrk="0" hangingPunct="1">
                  <a:spcBef>
                    <a:spcPts val="1200"/>
                  </a:spcBef>
                  <a:buClr>
                    <a:schemeClr val="tx2"/>
                  </a:buClr>
                  <a:buFont typeface="Arial" pitchFamily="34" charset="0"/>
                  <a:buChar char="•"/>
                  <a:defRPr sz="2800" kern="1200">
                    <a:solidFill>
                      <a:schemeClr val="bg2"/>
                    </a:solidFill>
                    <a:latin typeface="MetaNormalLF-Roman" pitchFamily="34" charset="0"/>
                    <a:ea typeface="+mn-ea"/>
                    <a:cs typeface="+mn-cs"/>
                  </a:defRPr>
                </a:lvl1pPr>
                <a:lvl2pPr marL="742950" indent="-285750" algn="l" defTabSz="914400" rtl="0" eaLnBrk="1" latinLnBrk="0" hangingPunct="1">
                  <a:spcBef>
                    <a:spcPts val="600"/>
                  </a:spcBef>
                  <a:buClr>
                    <a:schemeClr val="tx2"/>
                  </a:buClr>
                  <a:buFont typeface="Arial" pitchFamily="34" charset="0"/>
                  <a:buChar char="–"/>
                  <a:defRPr sz="2400" kern="1200">
                    <a:solidFill>
                      <a:schemeClr val="bg2"/>
                    </a:solidFill>
                    <a:latin typeface="MetaNormalLF-Roman" pitchFamily="34" charset="0"/>
                    <a:ea typeface="+mn-ea"/>
                    <a:cs typeface="+mn-cs"/>
                  </a:defRPr>
                </a:lvl2pPr>
                <a:lvl3pPr marL="1143000" indent="-228600" algn="l" defTabSz="914400" rtl="0" eaLnBrk="1" latinLnBrk="0" hangingPunct="1">
                  <a:spcBef>
                    <a:spcPts val="600"/>
                  </a:spcBef>
                  <a:buClr>
                    <a:schemeClr val="tx2"/>
                  </a:buClr>
                  <a:buFont typeface="Arial" pitchFamily="34" charset="0"/>
                  <a:buChar char="•"/>
                  <a:defRPr sz="2000" kern="1200">
                    <a:solidFill>
                      <a:schemeClr val="bg2"/>
                    </a:solidFill>
                    <a:latin typeface="MetaNormalLF-Roman" pitchFamily="34" charset="0"/>
                    <a:ea typeface="+mn-ea"/>
                    <a:cs typeface="+mn-cs"/>
                  </a:defRPr>
                </a:lvl3pPr>
                <a:lvl4pPr marL="1600200" indent="-228600" algn="l" defTabSz="914400" rtl="0" eaLnBrk="1" latinLnBrk="0" hangingPunct="1">
                  <a:spcBef>
                    <a:spcPts val="600"/>
                  </a:spcBef>
                  <a:buClr>
                    <a:schemeClr val="tx2"/>
                  </a:buClr>
                  <a:buFont typeface="Wingdings" pitchFamily="2" charset="2"/>
                  <a:buChar char="§"/>
                  <a:defRPr sz="1800" kern="1200">
                    <a:solidFill>
                      <a:schemeClr val="bg2"/>
                    </a:solidFill>
                    <a:latin typeface="MetaNormalLF-Roman" pitchFamily="34" charset="0"/>
                    <a:ea typeface="+mn-ea"/>
                    <a:cs typeface="+mn-cs"/>
                  </a:defRPr>
                </a:lvl4pPr>
                <a:lvl5pPr marL="2057400" indent="-228600" algn="l" defTabSz="914400" rtl="0" eaLnBrk="1" latinLnBrk="0" hangingPunct="1">
                  <a:spcBef>
                    <a:spcPts val="600"/>
                  </a:spcBef>
                  <a:buClr>
                    <a:schemeClr val="tx2"/>
                  </a:buClr>
                  <a:buFont typeface="Arial" pitchFamily="34" charset="0"/>
                  <a:buChar char="»"/>
                  <a:defRPr sz="1600" kern="1200">
                    <a:solidFill>
                      <a:schemeClr val="bg2"/>
                    </a:solidFill>
                    <a:latin typeface="MetaNormalLF-Roman"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1800"/>
                  </a:lnSpc>
                  <a:spcBef>
                    <a:spcPts val="0"/>
                  </a:spcBef>
                  <a:buNone/>
                </a:pPr>
                <a:r>
                  <a:rPr lang="en-US" sz="1600" dirty="0" smtClean="0">
                    <a:effectLst>
                      <a:glow rad="101600">
                        <a:schemeClr val="bg1">
                          <a:alpha val="75000"/>
                        </a:schemeClr>
                      </a:glow>
                    </a:effectLst>
                    <a:latin typeface="Verdana" pitchFamily="34" charset="0"/>
                  </a:rPr>
                  <a:t>Traditional (Non-Cloud) Services </a:t>
                </a:r>
                <a:endParaRPr lang="en-US" sz="1600" dirty="0">
                  <a:effectLst>
                    <a:glow rad="101600">
                      <a:schemeClr val="bg1">
                        <a:alpha val="75000"/>
                      </a:schemeClr>
                    </a:glow>
                  </a:effectLst>
                  <a:latin typeface="Verdana" pitchFamily="34" charset="0"/>
                </a:endParaRPr>
              </a:p>
            </p:txBody>
          </p:sp>
        </p:grpSp>
        <p:sp>
          <p:nvSpPr>
            <p:cNvPr id="139" name="Freeform 138"/>
            <p:cNvSpPr/>
            <p:nvPr/>
          </p:nvSpPr>
          <p:spPr>
            <a:xfrm>
              <a:off x="3549650" y="2664290"/>
              <a:ext cx="577850" cy="622300"/>
            </a:xfrm>
            <a:custGeom>
              <a:avLst/>
              <a:gdLst>
                <a:gd name="connsiteX0" fmla="*/ 539750 w 539750"/>
                <a:gd name="connsiteY0" fmla="*/ 0 h 635000"/>
                <a:gd name="connsiteX1" fmla="*/ 311150 w 539750"/>
                <a:gd name="connsiteY1" fmla="*/ 0 h 635000"/>
                <a:gd name="connsiteX2" fmla="*/ 311150 w 539750"/>
                <a:gd name="connsiteY2" fmla="*/ 635000 h 635000"/>
                <a:gd name="connsiteX3" fmla="*/ 0 w 539750"/>
                <a:gd name="connsiteY3" fmla="*/ 635000 h 635000"/>
              </a:gdLst>
              <a:ahLst/>
              <a:cxnLst>
                <a:cxn ang="0">
                  <a:pos x="connsiteX0" y="connsiteY0"/>
                </a:cxn>
                <a:cxn ang="0">
                  <a:pos x="connsiteX1" y="connsiteY1"/>
                </a:cxn>
                <a:cxn ang="0">
                  <a:pos x="connsiteX2" y="connsiteY2"/>
                </a:cxn>
                <a:cxn ang="0">
                  <a:pos x="connsiteX3" y="connsiteY3"/>
                </a:cxn>
              </a:cxnLst>
              <a:rect l="l" t="t" r="r" b="b"/>
              <a:pathLst>
                <a:path w="539750" h="635000">
                  <a:moveTo>
                    <a:pt x="539750" y="0"/>
                  </a:moveTo>
                  <a:lnTo>
                    <a:pt x="311150" y="0"/>
                  </a:lnTo>
                  <a:lnTo>
                    <a:pt x="311150" y="635000"/>
                  </a:lnTo>
                  <a:lnTo>
                    <a:pt x="0" y="635000"/>
                  </a:lnTo>
                </a:path>
              </a:pathLst>
            </a:cu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4" name="Straight Connector 143"/>
            <p:cNvCxnSpPr/>
            <p:nvPr/>
          </p:nvCxnSpPr>
          <p:spPr>
            <a:xfrm flipH="1">
              <a:off x="3638550" y="4389153"/>
              <a:ext cx="533400" cy="0"/>
            </a:xfrm>
            <a:prstGeom prst="line">
              <a:avLst/>
            </a:pr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rot="5400000" flipH="1">
              <a:off x="5218385" y="4255803"/>
              <a:ext cx="292100" cy="0"/>
            </a:xfrm>
            <a:prstGeom prst="line">
              <a:avLst/>
            </a:pr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24" name="Group 129"/>
            <p:cNvGrpSpPr/>
            <p:nvPr/>
          </p:nvGrpSpPr>
          <p:grpSpPr>
            <a:xfrm>
              <a:off x="4118520" y="4220878"/>
              <a:ext cx="2491830" cy="336550"/>
              <a:chOff x="4118520" y="4083323"/>
              <a:chExt cx="2491830" cy="375215"/>
            </a:xfrm>
          </p:grpSpPr>
          <p:sp>
            <p:nvSpPr>
              <p:cNvPr id="124" name="Rounded Rectangle 123"/>
              <p:cNvSpPr/>
              <p:nvPr/>
            </p:nvSpPr>
            <p:spPr>
              <a:xfrm>
                <a:off x="4118520" y="4083323"/>
                <a:ext cx="2491830" cy="375215"/>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tx1">
                        <a:lumMod val="85000"/>
                        <a:lumOff val="15000"/>
                      </a:schemeClr>
                    </a:solidFill>
                  </a:rPr>
                  <a:t>Metering Engine</a:t>
                </a:r>
                <a:endParaRPr lang="en-US" sz="800" dirty="0">
                  <a:solidFill>
                    <a:schemeClr val="tx1">
                      <a:lumMod val="85000"/>
                      <a:lumOff val="15000"/>
                    </a:schemeClr>
                  </a:solidFill>
                </a:endParaRPr>
              </a:p>
            </p:txBody>
          </p:sp>
          <p:pic>
            <p:nvPicPr>
              <p:cNvPr id="102" name="Picture 4" descr="C:\Users\Dan\Desktop\storag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34877" y="4117786"/>
                <a:ext cx="341108" cy="287932"/>
              </a:xfrm>
              <a:prstGeom prst="rect">
                <a:avLst/>
              </a:prstGeom>
              <a:noFill/>
              <a:effectLst>
                <a:outerShdw blurRad="25400" dist="25400" dir="5400000" algn="t" rotWithShape="0">
                  <a:prstClr val="black">
                    <a:alpha val="60000"/>
                  </a:prstClr>
                </a:outerShdw>
              </a:effectLst>
              <a:extLst>
                <a:ext uri="{909E8E84-426E-40DD-AFC4-6F175D3DCCD1}">
                  <a14:hiddenFill xmlns:a14="http://schemas.microsoft.com/office/drawing/2010/main">
                    <a:solidFill>
                      <a:srgbClr val="FFFFFF"/>
                    </a:solidFill>
                  </a14:hiddenFill>
                </a:ext>
              </a:extLst>
            </p:spPr>
          </p:pic>
          <p:pic>
            <p:nvPicPr>
              <p:cNvPr id="129" name="Picture 128" descr="Icon_2.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a:xfrm>
                <a:off x="5988050" y="4107683"/>
                <a:ext cx="557582" cy="330967"/>
              </a:xfrm>
              <a:prstGeom prst="rect">
                <a:avLst/>
              </a:prstGeom>
              <a:effectLst>
                <a:outerShdw blurRad="38100" dist="25400" dir="5400000" algn="t" rotWithShape="0">
                  <a:prstClr val="black">
                    <a:alpha val="40000"/>
                  </a:prstClr>
                </a:outerShdw>
              </a:effectLst>
            </p:spPr>
          </p:pic>
        </p:grpSp>
        <p:sp>
          <p:nvSpPr>
            <p:cNvPr id="148" name="Freeform 147"/>
            <p:cNvSpPr/>
            <p:nvPr/>
          </p:nvSpPr>
          <p:spPr>
            <a:xfrm>
              <a:off x="6540500" y="1927691"/>
              <a:ext cx="297028" cy="2466510"/>
            </a:xfrm>
            <a:custGeom>
              <a:avLst/>
              <a:gdLst>
                <a:gd name="connsiteX0" fmla="*/ 539750 w 539750"/>
                <a:gd name="connsiteY0" fmla="*/ 0 h 635000"/>
                <a:gd name="connsiteX1" fmla="*/ 311150 w 539750"/>
                <a:gd name="connsiteY1" fmla="*/ 0 h 635000"/>
                <a:gd name="connsiteX2" fmla="*/ 311150 w 539750"/>
                <a:gd name="connsiteY2" fmla="*/ 635000 h 635000"/>
                <a:gd name="connsiteX3" fmla="*/ 0 w 539750"/>
                <a:gd name="connsiteY3" fmla="*/ 635000 h 635000"/>
                <a:gd name="connsiteX0" fmla="*/ 0 w 393611"/>
                <a:gd name="connsiteY0" fmla="*/ 0 h 635000"/>
                <a:gd name="connsiteX1" fmla="*/ 393612 w 393611"/>
                <a:gd name="connsiteY1" fmla="*/ 0 h 635000"/>
                <a:gd name="connsiteX2" fmla="*/ 393612 w 393611"/>
                <a:gd name="connsiteY2" fmla="*/ 635000 h 635000"/>
                <a:gd name="connsiteX3" fmla="*/ 82462 w 393611"/>
                <a:gd name="connsiteY3" fmla="*/ 635000 h 635000"/>
              </a:gdLst>
              <a:ahLst/>
              <a:cxnLst>
                <a:cxn ang="0">
                  <a:pos x="connsiteX0" y="connsiteY0"/>
                </a:cxn>
                <a:cxn ang="0">
                  <a:pos x="connsiteX1" y="connsiteY1"/>
                </a:cxn>
                <a:cxn ang="0">
                  <a:pos x="connsiteX2" y="connsiteY2"/>
                </a:cxn>
                <a:cxn ang="0">
                  <a:pos x="connsiteX3" y="connsiteY3"/>
                </a:cxn>
              </a:cxnLst>
              <a:rect l="l" t="t" r="r" b="b"/>
              <a:pathLst>
                <a:path w="393611" h="635000">
                  <a:moveTo>
                    <a:pt x="0" y="0"/>
                  </a:moveTo>
                  <a:lnTo>
                    <a:pt x="393612" y="0"/>
                  </a:lnTo>
                  <a:lnTo>
                    <a:pt x="393612" y="635000"/>
                  </a:lnTo>
                  <a:lnTo>
                    <a:pt x="82462" y="635000"/>
                  </a:lnTo>
                </a:path>
              </a:pathLst>
            </a:cu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9" name="Straight Connector 148"/>
            <p:cNvCxnSpPr/>
            <p:nvPr/>
          </p:nvCxnSpPr>
          <p:spPr>
            <a:xfrm flipH="1">
              <a:off x="5664200" y="1927690"/>
              <a:ext cx="533400" cy="0"/>
            </a:xfrm>
            <a:prstGeom prst="line">
              <a:avLst/>
            </a:pr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0" name="Freeform 149"/>
            <p:cNvSpPr/>
            <p:nvPr/>
          </p:nvSpPr>
          <p:spPr>
            <a:xfrm rot="16200000" flipV="1">
              <a:off x="5284584" y="687186"/>
              <a:ext cx="171451" cy="1895875"/>
            </a:xfrm>
            <a:custGeom>
              <a:avLst/>
              <a:gdLst>
                <a:gd name="connsiteX0" fmla="*/ 539750 w 539750"/>
                <a:gd name="connsiteY0" fmla="*/ 0 h 635000"/>
                <a:gd name="connsiteX1" fmla="*/ 311150 w 539750"/>
                <a:gd name="connsiteY1" fmla="*/ 0 h 635000"/>
                <a:gd name="connsiteX2" fmla="*/ 311150 w 539750"/>
                <a:gd name="connsiteY2" fmla="*/ 635000 h 635000"/>
                <a:gd name="connsiteX3" fmla="*/ 0 w 539750"/>
                <a:gd name="connsiteY3" fmla="*/ 635000 h 635000"/>
                <a:gd name="connsiteX0" fmla="*/ 0 w 393611"/>
                <a:gd name="connsiteY0" fmla="*/ 0 h 635000"/>
                <a:gd name="connsiteX1" fmla="*/ 393612 w 393611"/>
                <a:gd name="connsiteY1" fmla="*/ 0 h 635000"/>
                <a:gd name="connsiteX2" fmla="*/ 393612 w 393611"/>
                <a:gd name="connsiteY2" fmla="*/ 635000 h 635000"/>
                <a:gd name="connsiteX3" fmla="*/ 82462 w 393611"/>
                <a:gd name="connsiteY3" fmla="*/ 635000 h 635000"/>
              </a:gdLst>
              <a:ahLst/>
              <a:cxnLst>
                <a:cxn ang="0">
                  <a:pos x="connsiteX0" y="connsiteY0"/>
                </a:cxn>
                <a:cxn ang="0">
                  <a:pos x="connsiteX1" y="connsiteY1"/>
                </a:cxn>
                <a:cxn ang="0">
                  <a:pos x="connsiteX2" y="connsiteY2"/>
                </a:cxn>
                <a:cxn ang="0">
                  <a:pos x="connsiteX3" y="connsiteY3"/>
                </a:cxn>
              </a:cxnLst>
              <a:rect l="l" t="t" r="r" b="b"/>
              <a:pathLst>
                <a:path w="393611" h="635000">
                  <a:moveTo>
                    <a:pt x="0" y="0"/>
                  </a:moveTo>
                  <a:lnTo>
                    <a:pt x="393612" y="0"/>
                  </a:lnTo>
                  <a:lnTo>
                    <a:pt x="393612" y="635000"/>
                  </a:lnTo>
                  <a:lnTo>
                    <a:pt x="82462" y="635000"/>
                  </a:lnTo>
                </a:path>
              </a:pathLst>
            </a:cu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51" name="Straight Connector 150"/>
            <p:cNvCxnSpPr/>
            <p:nvPr/>
          </p:nvCxnSpPr>
          <p:spPr>
            <a:xfrm rot="16200000" flipH="1" flipV="1">
              <a:off x="5218385" y="2833403"/>
              <a:ext cx="292100" cy="0"/>
            </a:xfrm>
            <a:prstGeom prst="line">
              <a:avLst/>
            </a:pr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rot="5400000" flipH="1">
              <a:off x="4390624" y="2407953"/>
              <a:ext cx="292100" cy="0"/>
            </a:xfrm>
            <a:prstGeom prst="line">
              <a:avLst/>
            </a:pr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3" name="Freeform 152"/>
            <p:cNvSpPr/>
            <p:nvPr/>
          </p:nvSpPr>
          <p:spPr>
            <a:xfrm rot="16200000" flipH="1">
              <a:off x="3253185" y="2207535"/>
              <a:ext cx="962822" cy="1071561"/>
            </a:xfrm>
            <a:custGeom>
              <a:avLst/>
              <a:gdLst>
                <a:gd name="connsiteX0" fmla="*/ 539750 w 539750"/>
                <a:gd name="connsiteY0" fmla="*/ 0 h 635000"/>
                <a:gd name="connsiteX1" fmla="*/ 311150 w 539750"/>
                <a:gd name="connsiteY1" fmla="*/ 0 h 635000"/>
                <a:gd name="connsiteX2" fmla="*/ 311150 w 539750"/>
                <a:gd name="connsiteY2" fmla="*/ 635000 h 635000"/>
                <a:gd name="connsiteX3" fmla="*/ 0 w 539750"/>
                <a:gd name="connsiteY3" fmla="*/ 635000 h 635000"/>
                <a:gd name="connsiteX0" fmla="*/ 539750 w 1790735"/>
                <a:gd name="connsiteY0" fmla="*/ 0 h 635000"/>
                <a:gd name="connsiteX1" fmla="*/ 1790735 w 1790735"/>
                <a:gd name="connsiteY1" fmla="*/ 0 h 635000"/>
                <a:gd name="connsiteX2" fmla="*/ 311150 w 1790735"/>
                <a:gd name="connsiteY2" fmla="*/ 0 h 635000"/>
                <a:gd name="connsiteX3" fmla="*/ 311150 w 1790735"/>
                <a:gd name="connsiteY3" fmla="*/ 635000 h 635000"/>
                <a:gd name="connsiteX4" fmla="*/ 0 w 1790735"/>
                <a:gd name="connsiteY4" fmla="*/ 635000 h 635000"/>
                <a:gd name="connsiteX0" fmla="*/ 539750 w 1790735"/>
                <a:gd name="connsiteY0" fmla="*/ 105833 h 740833"/>
                <a:gd name="connsiteX1" fmla="*/ 1790735 w 1790735"/>
                <a:gd name="connsiteY1" fmla="*/ 105833 h 740833"/>
                <a:gd name="connsiteX2" fmla="*/ 311150 w 1790735"/>
                <a:gd name="connsiteY2" fmla="*/ 105833 h 740833"/>
                <a:gd name="connsiteX3" fmla="*/ 311150 w 1790735"/>
                <a:gd name="connsiteY3" fmla="*/ 740833 h 740833"/>
                <a:gd name="connsiteX4" fmla="*/ 0 w 1790735"/>
                <a:gd name="connsiteY4" fmla="*/ 740833 h 740833"/>
                <a:gd name="connsiteX0" fmla="*/ 1765844 w 1790735"/>
                <a:gd name="connsiteY0" fmla="*/ 0 h 1344017"/>
                <a:gd name="connsiteX1" fmla="*/ 1790735 w 1790735"/>
                <a:gd name="connsiteY1" fmla="*/ 709017 h 1344017"/>
                <a:gd name="connsiteX2" fmla="*/ 311150 w 1790735"/>
                <a:gd name="connsiteY2" fmla="*/ 709017 h 1344017"/>
                <a:gd name="connsiteX3" fmla="*/ 311150 w 1790735"/>
                <a:gd name="connsiteY3" fmla="*/ 1344017 h 1344017"/>
                <a:gd name="connsiteX4" fmla="*/ 0 w 1790735"/>
                <a:gd name="connsiteY4" fmla="*/ 1344017 h 1344017"/>
                <a:gd name="connsiteX0" fmla="*/ 1765844 w 1790735"/>
                <a:gd name="connsiteY0" fmla="*/ 0 h 1344017"/>
                <a:gd name="connsiteX1" fmla="*/ 1790735 w 1790735"/>
                <a:gd name="connsiteY1" fmla="*/ 709017 h 1344017"/>
                <a:gd name="connsiteX2" fmla="*/ 311150 w 1790735"/>
                <a:gd name="connsiteY2" fmla="*/ 709017 h 1344017"/>
                <a:gd name="connsiteX3" fmla="*/ 311150 w 1790735"/>
                <a:gd name="connsiteY3" fmla="*/ 1344017 h 1344017"/>
                <a:gd name="connsiteX4" fmla="*/ 0 w 1790735"/>
                <a:gd name="connsiteY4" fmla="*/ 1344017 h 1344017"/>
                <a:gd name="connsiteX0" fmla="*/ 1765844 w 1790735"/>
                <a:gd name="connsiteY0" fmla="*/ 0 h 1344017"/>
                <a:gd name="connsiteX1" fmla="*/ 1790735 w 1790735"/>
                <a:gd name="connsiteY1" fmla="*/ 709017 h 1344017"/>
                <a:gd name="connsiteX2" fmla="*/ 311150 w 1790735"/>
                <a:gd name="connsiteY2" fmla="*/ 709017 h 1344017"/>
                <a:gd name="connsiteX3" fmla="*/ 311150 w 1790735"/>
                <a:gd name="connsiteY3" fmla="*/ 1344017 h 1344017"/>
                <a:gd name="connsiteX4" fmla="*/ 0 w 1790735"/>
                <a:gd name="connsiteY4" fmla="*/ 1344017 h 1344017"/>
                <a:gd name="connsiteX0" fmla="*/ 1765844 w 1765844"/>
                <a:gd name="connsiteY0" fmla="*/ 0 h 1344017"/>
                <a:gd name="connsiteX1" fmla="*/ 1737427 w 1765844"/>
                <a:gd name="connsiteY1" fmla="*/ 709017 h 1344017"/>
                <a:gd name="connsiteX2" fmla="*/ 311150 w 1765844"/>
                <a:gd name="connsiteY2" fmla="*/ 709017 h 1344017"/>
                <a:gd name="connsiteX3" fmla="*/ 311150 w 1765844"/>
                <a:gd name="connsiteY3" fmla="*/ 1344017 h 1344017"/>
                <a:gd name="connsiteX4" fmla="*/ 0 w 1765844"/>
                <a:gd name="connsiteY4" fmla="*/ 1344017 h 1344017"/>
                <a:gd name="connsiteX0" fmla="*/ 1765844 w 1765844"/>
                <a:gd name="connsiteY0" fmla="*/ 0 h 1344017"/>
                <a:gd name="connsiteX1" fmla="*/ 1737427 w 1765844"/>
                <a:gd name="connsiteY1" fmla="*/ 38957 h 1344017"/>
                <a:gd name="connsiteX2" fmla="*/ 1737427 w 1765844"/>
                <a:gd name="connsiteY2" fmla="*/ 709017 h 1344017"/>
                <a:gd name="connsiteX3" fmla="*/ 311150 w 1765844"/>
                <a:gd name="connsiteY3" fmla="*/ 709017 h 1344017"/>
                <a:gd name="connsiteX4" fmla="*/ 311150 w 1765844"/>
                <a:gd name="connsiteY4" fmla="*/ 1344017 h 1344017"/>
                <a:gd name="connsiteX5" fmla="*/ 0 w 1765844"/>
                <a:gd name="connsiteY5" fmla="*/ 1344017 h 1344017"/>
                <a:gd name="connsiteX0" fmla="*/ 1765844 w 2013441"/>
                <a:gd name="connsiteY0" fmla="*/ 0 h 1344017"/>
                <a:gd name="connsiteX1" fmla="*/ 1737427 w 2013441"/>
                <a:gd name="connsiteY1" fmla="*/ 38957 h 1344017"/>
                <a:gd name="connsiteX2" fmla="*/ 1737427 w 2013441"/>
                <a:gd name="connsiteY2" fmla="*/ 709017 h 1344017"/>
                <a:gd name="connsiteX3" fmla="*/ 311150 w 2013441"/>
                <a:gd name="connsiteY3" fmla="*/ 709017 h 1344017"/>
                <a:gd name="connsiteX4" fmla="*/ 311150 w 2013441"/>
                <a:gd name="connsiteY4" fmla="*/ 1344017 h 1344017"/>
                <a:gd name="connsiteX5" fmla="*/ 0 w 2013441"/>
                <a:gd name="connsiteY5" fmla="*/ 1344017 h 1344017"/>
                <a:gd name="connsiteX0" fmla="*/ 2020729 w 2020730"/>
                <a:gd name="connsiteY0" fmla="*/ 0 h 1314796"/>
                <a:gd name="connsiteX1" fmla="*/ 1737427 w 2020730"/>
                <a:gd name="connsiteY1" fmla="*/ 9736 h 1314796"/>
                <a:gd name="connsiteX2" fmla="*/ 1737427 w 2020730"/>
                <a:gd name="connsiteY2" fmla="*/ 679796 h 1314796"/>
                <a:gd name="connsiteX3" fmla="*/ 311150 w 2020730"/>
                <a:gd name="connsiteY3" fmla="*/ 679796 h 1314796"/>
                <a:gd name="connsiteX4" fmla="*/ 311150 w 2020730"/>
                <a:gd name="connsiteY4" fmla="*/ 1314796 h 1314796"/>
                <a:gd name="connsiteX5" fmla="*/ 0 w 2020730"/>
                <a:gd name="connsiteY5" fmla="*/ 1314796 h 131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0730" h="1314796">
                  <a:moveTo>
                    <a:pt x="2020729" y="0"/>
                  </a:moveTo>
                  <a:cubicBezTo>
                    <a:pt x="2011257" y="12986"/>
                    <a:pt x="2013441" y="4542"/>
                    <a:pt x="1737427" y="9736"/>
                  </a:cubicBezTo>
                  <a:lnTo>
                    <a:pt x="1737427" y="679796"/>
                  </a:lnTo>
                  <a:lnTo>
                    <a:pt x="311150" y="679796"/>
                  </a:lnTo>
                  <a:lnTo>
                    <a:pt x="311150" y="1314796"/>
                  </a:lnTo>
                  <a:lnTo>
                    <a:pt x="0" y="1314796"/>
                  </a:lnTo>
                </a:path>
              </a:pathLst>
            </a:cu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8" name="Group 153"/>
            <p:cNvGrpSpPr/>
            <p:nvPr/>
          </p:nvGrpSpPr>
          <p:grpSpPr>
            <a:xfrm>
              <a:off x="714166" y="3148466"/>
              <a:ext cx="2843317" cy="200233"/>
              <a:chOff x="714166" y="3036876"/>
              <a:chExt cx="2843317" cy="200233"/>
            </a:xfrm>
          </p:grpSpPr>
          <p:sp>
            <p:nvSpPr>
              <p:cNvPr id="50" name="Rectangle 49"/>
              <p:cNvSpPr/>
              <p:nvPr/>
            </p:nvSpPr>
            <p:spPr>
              <a:xfrm>
                <a:off x="714166" y="3036876"/>
                <a:ext cx="2843317" cy="200233"/>
              </a:xfrm>
              <a:prstGeom prst="rect">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000" dirty="0" smtClean="0">
                    <a:solidFill>
                      <a:schemeClr val="tx1">
                        <a:lumMod val="85000"/>
                        <a:lumOff val="15000"/>
                      </a:schemeClr>
                    </a:solidFill>
                  </a:rPr>
                  <a:t>Cloud Service Broker (CSB)</a:t>
                </a:r>
                <a:endParaRPr lang="en-US" sz="1000" dirty="0">
                  <a:solidFill>
                    <a:schemeClr val="tx1">
                      <a:lumMod val="85000"/>
                      <a:lumOff val="15000"/>
                    </a:schemeClr>
                  </a:solidFill>
                </a:endParaRPr>
              </a:p>
            </p:txBody>
          </p:sp>
          <p:pic>
            <p:nvPicPr>
              <p:cNvPr id="135" name="Picture 134" descr="Icon_1.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276601" y="3039880"/>
                <a:ext cx="279399" cy="179570"/>
              </a:xfrm>
              <a:prstGeom prst="rect">
                <a:avLst/>
              </a:prstGeom>
              <a:effectLst>
                <a:outerShdw blurRad="38100" dist="25400" dir="5400000" algn="t" rotWithShape="0">
                  <a:prstClr val="black">
                    <a:alpha val="40000"/>
                  </a:prstClr>
                </a:outerShdw>
              </a:effectLst>
            </p:spPr>
          </p:pic>
        </p:grpSp>
        <p:grpSp>
          <p:nvGrpSpPr>
            <p:cNvPr id="29" name="Group 52"/>
            <p:cNvGrpSpPr/>
            <p:nvPr/>
          </p:nvGrpSpPr>
          <p:grpSpPr>
            <a:xfrm>
              <a:off x="2920378" y="3348702"/>
              <a:ext cx="433839" cy="246955"/>
              <a:chOff x="2920378" y="3290504"/>
              <a:chExt cx="433839" cy="246955"/>
            </a:xfrm>
          </p:grpSpPr>
          <p:sp>
            <p:nvSpPr>
              <p:cNvPr id="51" name="Down Arrow 50"/>
              <p:cNvSpPr/>
              <p:nvPr/>
            </p:nvSpPr>
            <p:spPr>
              <a:xfrm>
                <a:off x="2920378" y="3290504"/>
                <a:ext cx="433839" cy="246955"/>
              </a:xfrm>
              <a:prstGeom prst="downArrow">
                <a:avLst>
                  <a:gd name="adj1" fmla="val 68461"/>
                  <a:gd name="adj2" fmla="val 38235"/>
                </a:avLst>
              </a:prstGeom>
              <a:gradFill flip="none" rotWithShape="1">
                <a:gsLst>
                  <a:gs pos="0">
                    <a:srgbClr val="95CEFF"/>
                  </a:gs>
                  <a:gs pos="100000">
                    <a:schemeClr val="tx2"/>
                  </a:gs>
                </a:gsLst>
                <a:lin ang="5400000" scaled="0"/>
                <a:tileRect/>
              </a:gradFill>
              <a:ln w="12700">
                <a:noFill/>
              </a:ln>
              <a:effectLst>
                <a:outerShdw blurRad="381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p:cNvSpPr txBox="1"/>
              <p:nvPr/>
            </p:nvSpPr>
            <p:spPr>
              <a:xfrm>
                <a:off x="2992490" y="3341835"/>
                <a:ext cx="304689" cy="115416"/>
              </a:xfrm>
              <a:prstGeom prst="rect">
                <a:avLst/>
              </a:prstGeom>
              <a:noFill/>
            </p:spPr>
            <p:txBody>
              <a:bodyPr wrap="square" lIns="0" tIns="0" rIns="0" bIns="0" rtlCol="0">
                <a:spAutoFit/>
              </a:bodyPr>
              <a:lstStyle/>
              <a:p>
                <a:pPr algn="ctr">
                  <a:lnSpc>
                    <a:spcPts val="900"/>
                  </a:lnSpc>
                </a:pPr>
                <a:r>
                  <a:rPr lang="en-US" sz="800" dirty="0" smtClean="0">
                    <a:solidFill>
                      <a:schemeClr val="bg1"/>
                    </a:solidFill>
                  </a:rPr>
                  <a:t>API</a:t>
                </a:r>
                <a:endParaRPr lang="en-US" sz="800" dirty="0" smtClean="0">
                  <a:solidFill>
                    <a:schemeClr val="bg1"/>
                  </a:solidFill>
                  <a:effectLst/>
                </a:endParaRPr>
              </a:p>
            </p:txBody>
          </p:sp>
        </p:grpSp>
        <p:grpSp>
          <p:nvGrpSpPr>
            <p:cNvPr id="32" name="Group 53"/>
            <p:cNvGrpSpPr/>
            <p:nvPr/>
          </p:nvGrpSpPr>
          <p:grpSpPr>
            <a:xfrm>
              <a:off x="1915490" y="3348702"/>
              <a:ext cx="433839" cy="246955"/>
              <a:chOff x="2920378" y="3290504"/>
              <a:chExt cx="433839" cy="246955"/>
            </a:xfrm>
          </p:grpSpPr>
          <p:sp>
            <p:nvSpPr>
              <p:cNvPr id="55" name="Down Arrow 54"/>
              <p:cNvSpPr/>
              <p:nvPr/>
            </p:nvSpPr>
            <p:spPr>
              <a:xfrm>
                <a:off x="2920378" y="3290504"/>
                <a:ext cx="433839" cy="246955"/>
              </a:xfrm>
              <a:prstGeom prst="downArrow">
                <a:avLst>
                  <a:gd name="adj1" fmla="val 68461"/>
                  <a:gd name="adj2" fmla="val 38235"/>
                </a:avLst>
              </a:prstGeom>
              <a:gradFill flip="none" rotWithShape="1">
                <a:gsLst>
                  <a:gs pos="0">
                    <a:srgbClr val="95CEFF"/>
                  </a:gs>
                  <a:gs pos="100000">
                    <a:schemeClr val="tx2"/>
                  </a:gs>
                </a:gsLst>
                <a:lin ang="5400000" scaled="0"/>
                <a:tileRect/>
              </a:gradFill>
              <a:ln w="12700">
                <a:noFill/>
              </a:ln>
              <a:effectLst>
                <a:outerShdw blurRad="381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p:cNvSpPr txBox="1"/>
              <p:nvPr/>
            </p:nvSpPr>
            <p:spPr>
              <a:xfrm>
                <a:off x="2992490" y="3341835"/>
                <a:ext cx="304689" cy="115416"/>
              </a:xfrm>
              <a:prstGeom prst="rect">
                <a:avLst/>
              </a:prstGeom>
              <a:noFill/>
            </p:spPr>
            <p:txBody>
              <a:bodyPr wrap="square" lIns="0" tIns="0" rIns="0" bIns="0" rtlCol="0">
                <a:spAutoFit/>
              </a:bodyPr>
              <a:lstStyle/>
              <a:p>
                <a:pPr algn="ctr">
                  <a:lnSpc>
                    <a:spcPts val="900"/>
                  </a:lnSpc>
                </a:pPr>
                <a:r>
                  <a:rPr lang="en-US" sz="800" dirty="0" smtClean="0">
                    <a:solidFill>
                      <a:schemeClr val="bg1"/>
                    </a:solidFill>
                  </a:rPr>
                  <a:t>API</a:t>
                </a:r>
                <a:endParaRPr lang="en-US" sz="800" dirty="0" smtClean="0">
                  <a:solidFill>
                    <a:schemeClr val="bg1"/>
                  </a:solidFill>
                  <a:effectLst/>
                </a:endParaRPr>
              </a:p>
            </p:txBody>
          </p:sp>
        </p:grpSp>
        <p:grpSp>
          <p:nvGrpSpPr>
            <p:cNvPr id="34" name="Group 56"/>
            <p:cNvGrpSpPr/>
            <p:nvPr/>
          </p:nvGrpSpPr>
          <p:grpSpPr>
            <a:xfrm>
              <a:off x="929653" y="3348702"/>
              <a:ext cx="433839" cy="246955"/>
              <a:chOff x="2920378" y="3290504"/>
              <a:chExt cx="433839" cy="246955"/>
            </a:xfrm>
          </p:grpSpPr>
          <p:sp>
            <p:nvSpPr>
              <p:cNvPr id="58" name="Down Arrow 57"/>
              <p:cNvSpPr/>
              <p:nvPr/>
            </p:nvSpPr>
            <p:spPr>
              <a:xfrm>
                <a:off x="2920378" y="3290504"/>
                <a:ext cx="433839" cy="246955"/>
              </a:xfrm>
              <a:prstGeom prst="downArrow">
                <a:avLst>
                  <a:gd name="adj1" fmla="val 68461"/>
                  <a:gd name="adj2" fmla="val 38235"/>
                </a:avLst>
              </a:prstGeom>
              <a:gradFill flip="none" rotWithShape="1">
                <a:gsLst>
                  <a:gs pos="0">
                    <a:srgbClr val="95CEFF"/>
                  </a:gs>
                  <a:gs pos="100000">
                    <a:schemeClr val="tx2"/>
                  </a:gs>
                </a:gsLst>
                <a:lin ang="5400000" scaled="0"/>
                <a:tileRect/>
              </a:gradFill>
              <a:ln w="12700">
                <a:noFill/>
              </a:ln>
              <a:effectLst>
                <a:outerShdw blurRad="38100" dist="127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p:cNvSpPr txBox="1"/>
              <p:nvPr/>
            </p:nvSpPr>
            <p:spPr>
              <a:xfrm>
                <a:off x="2992490" y="3341835"/>
                <a:ext cx="304689" cy="115416"/>
              </a:xfrm>
              <a:prstGeom prst="rect">
                <a:avLst/>
              </a:prstGeom>
              <a:noFill/>
            </p:spPr>
            <p:txBody>
              <a:bodyPr wrap="square" lIns="0" tIns="0" rIns="0" bIns="0" rtlCol="0">
                <a:spAutoFit/>
              </a:bodyPr>
              <a:lstStyle/>
              <a:p>
                <a:pPr algn="ctr">
                  <a:lnSpc>
                    <a:spcPts val="900"/>
                  </a:lnSpc>
                </a:pPr>
                <a:r>
                  <a:rPr lang="en-US" sz="800" dirty="0" smtClean="0">
                    <a:solidFill>
                      <a:schemeClr val="bg1"/>
                    </a:solidFill>
                  </a:rPr>
                  <a:t>API</a:t>
                </a:r>
                <a:endParaRPr lang="en-US" sz="800" dirty="0" smtClean="0">
                  <a:solidFill>
                    <a:schemeClr val="bg1"/>
                  </a:solidFill>
                  <a:effectLst/>
                </a:endParaRPr>
              </a:p>
            </p:txBody>
          </p:sp>
        </p:grpSp>
        <p:cxnSp>
          <p:nvCxnSpPr>
            <p:cNvPr id="155" name="Straight Connector 154"/>
            <p:cNvCxnSpPr/>
            <p:nvPr/>
          </p:nvCxnSpPr>
          <p:spPr>
            <a:xfrm rot="16200000" flipH="1" flipV="1">
              <a:off x="6172199" y="2339714"/>
              <a:ext cx="292100" cy="0"/>
            </a:xfrm>
            <a:prstGeom prst="line">
              <a:avLst/>
            </a:pr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1" name="Rounded Rectangle 100"/>
            <p:cNvSpPr/>
            <p:nvPr/>
          </p:nvSpPr>
          <p:spPr>
            <a:xfrm>
              <a:off x="6021529" y="1663700"/>
              <a:ext cx="588821" cy="594120"/>
            </a:xfrm>
            <a:prstGeom prst="roundRect">
              <a:avLst>
                <a:gd name="adj" fmla="val 12319"/>
              </a:avLst>
            </a:prstGeom>
            <a:ln>
              <a:noFill/>
            </a:ln>
          </p:spPr>
          <p:style>
            <a:lnRef idx="1">
              <a:schemeClr val="accent1"/>
            </a:lnRef>
            <a:fillRef idx="2">
              <a:schemeClr val="accent1"/>
            </a:fillRef>
            <a:effectRef idx="1">
              <a:schemeClr val="accent1"/>
            </a:effectRef>
            <a:fontRef idx="minor">
              <a:schemeClr val="dk1"/>
            </a:fontRef>
          </p:style>
          <p:txBody>
            <a:bodyPr lIns="45720" tIns="18288" rIns="45720" rtlCol="0" anchor="t" anchorCtr="0"/>
            <a:lstStyle/>
            <a:p>
              <a:pPr algn="ctr"/>
              <a:r>
                <a:rPr lang="en-US" sz="800" dirty="0" smtClean="0">
                  <a:solidFill>
                    <a:schemeClr val="tx1">
                      <a:lumMod val="85000"/>
                      <a:lumOff val="15000"/>
                    </a:schemeClr>
                  </a:solidFill>
                </a:rPr>
                <a:t>User Portal</a:t>
              </a:r>
              <a:endParaRPr lang="en-US" sz="800" dirty="0">
                <a:solidFill>
                  <a:schemeClr val="tx1">
                    <a:lumMod val="85000"/>
                    <a:lumOff val="15000"/>
                  </a:schemeClr>
                </a:solidFill>
              </a:endParaRPr>
            </a:p>
          </p:txBody>
        </p:sp>
        <p:grpSp>
          <p:nvGrpSpPr>
            <p:cNvPr id="40" name="Group 106"/>
            <p:cNvGrpSpPr/>
            <p:nvPr/>
          </p:nvGrpSpPr>
          <p:grpSpPr>
            <a:xfrm>
              <a:off x="6177627" y="1954756"/>
              <a:ext cx="259669" cy="298885"/>
              <a:chOff x="6011295" y="1773316"/>
              <a:chExt cx="259669" cy="298885"/>
            </a:xfrm>
          </p:grpSpPr>
          <p:sp>
            <p:nvSpPr>
              <p:cNvPr id="106" name="Freeform 105"/>
              <p:cNvSpPr/>
              <p:nvPr/>
            </p:nvSpPr>
            <p:spPr>
              <a:xfrm>
                <a:off x="6105525" y="1850231"/>
                <a:ext cx="85725" cy="152400"/>
              </a:xfrm>
              <a:custGeom>
                <a:avLst/>
                <a:gdLst>
                  <a:gd name="connsiteX0" fmla="*/ 40481 w 85725"/>
                  <a:gd name="connsiteY0" fmla="*/ 152400 h 152400"/>
                  <a:gd name="connsiteX1" fmla="*/ 85725 w 85725"/>
                  <a:gd name="connsiteY1" fmla="*/ 50007 h 152400"/>
                  <a:gd name="connsiteX2" fmla="*/ 64294 w 85725"/>
                  <a:gd name="connsiteY2" fmla="*/ 0 h 152400"/>
                  <a:gd name="connsiteX3" fmla="*/ 40481 w 85725"/>
                  <a:gd name="connsiteY3" fmla="*/ 2382 h 152400"/>
                  <a:gd name="connsiteX4" fmla="*/ 16669 w 85725"/>
                  <a:gd name="connsiteY4" fmla="*/ 28575 h 152400"/>
                  <a:gd name="connsiteX5" fmla="*/ 0 w 85725"/>
                  <a:gd name="connsiteY5" fmla="*/ 111919 h 152400"/>
                  <a:gd name="connsiteX6" fmla="*/ 0 w 85725"/>
                  <a:gd name="connsiteY6" fmla="*/ 111919 h 152400"/>
                  <a:gd name="connsiteX7" fmla="*/ 40481 w 85725"/>
                  <a:gd name="connsiteY7"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152400">
                    <a:moveTo>
                      <a:pt x="40481" y="152400"/>
                    </a:moveTo>
                    <a:lnTo>
                      <a:pt x="85725" y="50007"/>
                    </a:lnTo>
                    <a:lnTo>
                      <a:pt x="64294" y="0"/>
                    </a:lnTo>
                    <a:lnTo>
                      <a:pt x="40481" y="2382"/>
                    </a:lnTo>
                    <a:lnTo>
                      <a:pt x="16669" y="28575"/>
                    </a:lnTo>
                    <a:lnTo>
                      <a:pt x="0" y="111919"/>
                    </a:lnTo>
                    <a:lnTo>
                      <a:pt x="0" y="111919"/>
                    </a:lnTo>
                    <a:lnTo>
                      <a:pt x="40481" y="15240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lumMod val="85000"/>
                      <a:lumOff val="15000"/>
                    </a:schemeClr>
                  </a:solidFill>
                </a:endParaRPr>
              </a:p>
            </p:txBody>
          </p:sp>
          <p:pic>
            <p:nvPicPr>
              <p:cNvPr id="105" name="Picture 104" descr="Businessman image.jpg"/>
              <p:cNvPicPr>
                <a:picLocks noChangeAspect="1"/>
              </p:cNvPicPr>
              <p:nvPr/>
            </p:nvPicPr>
            <p:blipFill>
              <a:blip r:embed="rId9" cstate="email">
                <a:clrChange>
                  <a:clrFrom>
                    <a:srgbClr val="FFFFFF"/>
                  </a:clrFrom>
                  <a:clrTo>
                    <a:srgbClr val="FFFFFF">
                      <a:alpha val="0"/>
                    </a:srgbClr>
                  </a:clrTo>
                </a:clrChange>
                <a:lum bright="10000"/>
                <a:extLst>
                  <a:ext uri="{28A0092B-C50C-407E-A947-70E740481C1C}">
                    <a14:useLocalDpi xmlns:a14="http://schemas.microsoft.com/office/drawing/2010/main"/>
                  </a:ext>
                </a:extLst>
              </a:blip>
              <a:srcRect/>
              <a:stretch>
                <a:fillRect/>
              </a:stretch>
            </p:blipFill>
            <p:spPr>
              <a:xfrm>
                <a:off x="6011295" y="1773316"/>
                <a:ext cx="259669" cy="298885"/>
              </a:xfrm>
              <a:prstGeom prst="rect">
                <a:avLst/>
              </a:prstGeom>
              <a:effectLst/>
            </p:spPr>
          </p:pic>
        </p:grpSp>
        <p:grpSp>
          <p:nvGrpSpPr>
            <p:cNvPr id="47" name="Group 130"/>
            <p:cNvGrpSpPr/>
            <p:nvPr/>
          </p:nvGrpSpPr>
          <p:grpSpPr>
            <a:xfrm>
              <a:off x="4118520" y="2486490"/>
              <a:ext cx="2491830" cy="336550"/>
              <a:chOff x="4118520" y="2349500"/>
              <a:chExt cx="2491830" cy="336550"/>
            </a:xfrm>
          </p:grpSpPr>
          <p:sp>
            <p:nvSpPr>
              <p:cNvPr id="117" name="Rounded Rectangle 116"/>
              <p:cNvSpPr/>
              <p:nvPr/>
            </p:nvSpPr>
            <p:spPr>
              <a:xfrm>
                <a:off x="4118520" y="2349500"/>
                <a:ext cx="2491830" cy="336550"/>
              </a:xfrm>
              <a:prstGeom prst="roundRect">
                <a:avLst/>
              </a:prstGeom>
              <a:ln>
                <a:noFill/>
              </a:ln>
            </p:spPr>
            <p:style>
              <a:lnRef idx="1">
                <a:schemeClr val="accent1"/>
              </a:lnRef>
              <a:fillRef idx="2">
                <a:schemeClr val="accent1"/>
              </a:fillRef>
              <a:effectRef idx="1">
                <a:schemeClr val="accent1"/>
              </a:effectRef>
              <a:fontRef idx="minor">
                <a:schemeClr val="dk1"/>
              </a:fontRef>
            </p:style>
            <p:txBody>
              <a:bodyPr lIns="45720" rIns="45720" rtlCol="0" anchor="ctr" anchorCtr="1"/>
              <a:lstStyle/>
              <a:p>
                <a:pPr algn="ctr"/>
                <a:r>
                  <a:rPr lang="en-US" sz="800" dirty="0" smtClean="0">
                    <a:solidFill>
                      <a:schemeClr val="tx1">
                        <a:lumMod val="85000"/>
                        <a:lumOff val="15000"/>
                      </a:schemeClr>
                    </a:solidFill>
                  </a:rPr>
                  <a:t>Orchestration Engine</a:t>
                </a:r>
                <a:endParaRPr lang="en-US" sz="800" dirty="0">
                  <a:solidFill>
                    <a:schemeClr val="tx1">
                      <a:lumMod val="85000"/>
                      <a:lumOff val="15000"/>
                    </a:schemeClr>
                  </a:solidFill>
                </a:endParaRPr>
              </a:p>
            </p:txBody>
          </p:sp>
          <p:pic>
            <p:nvPicPr>
              <p:cNvPr id="128" name="Picture 127" descr="Icon_1.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026150" y="2362234"/>
                <a:ext cx="484077" cy="311116"/>
              </a:xfrm>
              <a:prstGeom prst="rect">
                <a:avLst/>
              </a:prstGeom>
              <a:effectLst>
                <a:outerShdw blurRad="38100" dist="25400" dir="5400000" algn="t" rotWithShape="0">
                  <a:prstClr val="black">
                    <a:alpha val="40000"/>
                  </a:prstClr>
                </a:outerShdw>
              </a:effectLst>
            </p:spPr>
          </p:pic>
        </p:grpSp>
        <p:grpSp>
          <p:nvGrpSpPr>
            <p:cNvPr id="48" name="Group 159"/>
            <p:cNvGrpSpPr/>
            <p:nvPr/>
          </p:nvGrpSpPr>
          <p:grpSpPr>
            <a:xfrm>
              <a:off x="6605518" y="2565865"/>
              <a:ext cx="462033" cy="204787"/>
              <a:chOff x="6605518" y="2428875"/>
              <a:chExt cx="462033" cy="204787"/>
            </a:xfrm>
          </p:grpSpPr>
          <p:cxnSp>
            <p:nvCxnSpPr>
              <p:cNvPr id="156" name="Straight Connector 155"/>
              <p:cNvCxnSpPr/>
              <p:nvPr/>
            </p:nvCxnSpPr>
            <p:spPr>
              <a:xfrm>
                <a:off x="6933064" y="2527300"/>
                <a:ext cx="134487" cy="0"/>
              </a:xfrm>
              <a:prstGeom prst="line">
                <a:avLst/>
              </a:prstGeom>
              <a:ln w="19050">
                <a:solidFill>
                  <a:srgbClr val="75757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6605518" y="2527300"/>
                <a:ext cx="134487" cy="0"/>
              </a:xfrm>
              <a:prstGeom prst="line">
                <a:avLst/>
              </a:prstGeom>
              <a:ln w="19050">
                <a:solidFill>
                  <a:srgbClr val="75757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9" name="Arc 158"/>
              <p:cNvSpPr/>
              <p:nvPr/>
            </p:nvSpPr>
            <p:spPr>
              <a:xfrm>
                <a:off x="6732113" y="2428875"/>
                <a:ext cx="204787" cy="204787"/>
              </a:xfrm>
              <a:prstGeom prst="arc">
                <a:avLst>
                  <a:gd name="adj1" fmla="val 10711862"/>
                  <a:gd name="adj2" fmla="val 0"/>
                </a:avLst>
              </a:prstGeom>
              <a:ln w="19050">
                <a:solidFill>
                  <a:srgbClr val="75757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Tree>
    <p:extLst>
      <p:ext uri="{BB962C8B-B14F-4D97-AF65-F5344CB8AC3E}">
        <p14:creationId xmlns:p14="http://schemas.microsoft.com/office/powerpoint/2010/main" val="3953757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228601"/>
            <a:ext cx="6353496" cy="698796"/>
          </a:xfrm>
        </p:spPr>
        <p:txBody>
          <a:bodyPr/>
          <a:lstStyle/>
          <a:p>
            <a:r>
              <a:rPr lang="en-US" dirty="0" smtClean="0"/>
              <a:t>FEDERATION ENTERPRISE HYBRID CLOUD SOLUTION</a:t>
            </a:r>
            <a:endParaRPr lang="en-US" dirty="0"/>
          </a:p>
        </p:txBody>
      </p:sp>
      <p:sp>
        <p:nvSpPr>
          <p:cNvPr id="46" name="Subtitle 45"/>
          <p:cNvSpPr>
            <a:spLocks noGrp="1"/>
          </p:cNvSpPr>
          <p:nvPr>
            <p:ph type="subTitle" idx="1"/>
          </p:nvPr>
        </p:nvSpPr>
        <p:spPr>
          <a:xfrm>
            <a:off x="389467" y="1037197"/>
            <a:ext cx="4206034" cy="302417"/>
          </a:xfrm>
        </p:spPr>
        <p:txBody>
          <a:bodyPr/>
          <a:lstStyle/>
          <a:p>
            <a:r>
              <a:rPr lang="en-US" dirty="0" smtClean="0"/>
              <a:t>BUY…</a:t>
            </a:r>
            <a:endParaRPr lang="en-US" dirty="0"/>
          </a:p>
        </p:txBody>
      </p:sp>
      <p:grpSp>
        <p:nvGrpSpPr>
          <p:cNvPr id="3" name="Group 2"/>
          <p:cNvGrpSpPr/>
          <p:nvPr/>
        </p:nvGrpSpPr>
        <p:grpSpPr>
          <a:xfrm>
            <a:off x="372291" y="1457114"/>
            <a:ext cx="6629400" cy="2989871"/>
            <a:chOff x="1206696" y="1571363"/>
            <a:chExt cx="6697898" cy="2590801"/>
          </a:xfrm>
        </p:grpSpPr>
        <p:grpSp>
          <p:nvGrpSpPr>
            <p:cNvPr id="4" name="Group 3"/>
            <p:cNvGrpSpPr/>
            <p:nvPr/>
          </p:nvGrpSpPr>
          <p:grpSpPr>
            <a:xfrm>
              <a:off x="1206696" y="1571363"/>
              <a:ext cx="6697898" cy="2590801"/>
              <a:chOff x="731683" y="1962149"/>
              <a:chExt cx="6697898" cy="2590801"/>
            </a:xfrm>
          </p:grpSpPr>
          <p:sp>
            <p:nvSpPr>
              <p:cNvPr id="28" name="Rounded Rectangle 27"/>
              <p:cNvSpPr/>
              <p:nvPr/>
            </p:nvSpPr>
            <p:spPr>
              <a:xfrm>
                <a:off x="731683" y="1962149"/>
                <a:ext cx="6697898" cy="2590801"/>
              </a:xfrm>
              <a:prstGeom prst="roundRect">
                <a:avLst>
                  <a:gd name="adj" fmla="val 2859"/>
                </a:avLst>
              </a:prstGeom>
              <a:gradFill flip="none" rotWithShape="1">
                <a:gsLst>
                  <a:gs pos="0">
                    <a:schemeClr val="bg2">
                      <a:alpha val="11000"/>
                    </a:schemeClr>
                  </a:gs>
                  <a:gs pos="100000">
                    <a:schemeClr val="bg2">
                      <a:lumMod val="40000"/>
                      <a:lumOff val="60000"/>
                      <a:alpha val="9000"/>
                    </a:schemeClr>
                  </a:gs>
                </a:gsLst>
                <a:lin ang="16200000" scaled="1"/>
                <a:tileRect/>
              </a:gradFill>
              <a:ln>
                <a:solidFill>
                  <a:schemeClr val="bg2"/>
                </a:solidFill>
              </a:ln>
            </p:spPr>
            <p:style>
              <a:lnRef idx="1">
                <a:schemeClr val="dk1"/>
              </a:lnRef>
              <a:fillRef idx="2">
                <a:schemeClr val="dk1"/>
              </a:fillRef>
              <a:effectRef idx="1">
                <a:schemeClr val="dk1"/>
              </a:effectRef>
              <a:fontRef idx="minor">
                <a:schemeClr val="dk1"/>
              </a:fontRef>
            </p:style>
            <p:txBody>
              <a:bodyPr rtlCol="0" anchor="ctr"/>
              <a:lstStyle/>
              <a:p>
                <a:pPr algn="ctr"/>
                <a:endParaRPr lang="en-US">
                  <a:solidFill>
                    <a:srgbClr val="000000"/>
                  </a:solidFill>
                  <a:latin typeface="Verdana"/>
                </a:endParaRPr>
              </a:p>
            </p:txBody>
          </p:sp>
          <p:grpSp>
            <p:nvGrpSpPr>
              <p:cNvPr id="10" name="Group 28"/>
              <p:cNvGrpSpPr/>
              <p:nvPr/>
            </p:nvGrpSpPr>
            <p:grpSpPr>
              <a:xfrm>
                <a:off x="822960" y="2038350"/>
                <a:ext cx="1463040" cy="1463040"/>
                <a:chOff x="838200" y="2038350"/>
                <a:chExt cx="1463040" cy="1463040"/>
              </a:xfrm>
            </p:grpSpPr>
            <p:pic>
              <p:nvPicPr>
                <p:cNvPr id="33" name="Picture 3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8200" y="2038350"/>
                  <a:ext cx="1463040" cy="1463040"/>
                </a:xfrm>
                <a:prstGeom prst="roundRect">
                  <a:avLst>
                    <a:gd name="adj" fmla="val 4948"/>
                  </a:avLst>
                </a:prstGeom>
                <a:ln>
                  <a:solidFill>
                    <a:schemeClr val="bg2"/>
                  </a:solidFill>
                </a:ln>
                <a:effectLst>
                  <a:outerShdw blurRad="50800" dist="25400" dir="2700000" algn="tl" rotWithShape="0">
                    <a:prstClr val="black">
                      <a:alpha val="40000"/>
                    </a:prstClr>
                  </a:outerShdw>
                </a:effectLst>
              </p:spPr>
            </p:pic>
            <p:sp>
              <p:nvSpPr>
                <p:cNvPr id="34" name="Round Same Side Corner Rectangle 33"/>
                <p:cNvSpPr/>
                <p:nvPr/>
              </p:nvSpPr>
              <p:spPr>
                <a:xfrm>
                  <a:off x="838200" y="3028950"/>
                  <a:ext cx="1456944" cy="467589"/>
                </a:xfrm>
                <a:prstGeom prst="round2SameRect">
                  <a:avLst>
                    <a:gd name="adj1" fmla="val 0"/>
                    <a:gd name="adj2" fmla="val 16296"/>
                  </a:avLst>
                </a:prstGeom>
                <a:gradFill flip="none" rotWithShape="1">
                  <a:gsLst>
                    <a:gs pos="0">
                      <a:schemeClr val="tx1">
                        <a:alpha val="70000"/>
                      </a:schemeClr>
                    </a:gs>
                    <a:gs pos="100000">
                      <a:srgbClr val="FFFFFF">
                        <a:alpha val="0"/>
                      </a:srgbClr>
                    </a:gs>
                  </a:gsLst>
                  <a:lin ang="16200000" scaled="0"/>
                  <a:tileRect/>
                </a:gradFill>
              </p:spPr>
              <p:txBody>
                <a:bodyPr wrap="square" lIns="0" tIns="0" rIns="0" bIns="0" anchor="ctr" anchorCtr="0">
                  <a:noAutofit/>
                </a:bodyPr>
                <a:lstStyle/>
                <a:p>
                  <a:pPr algn="ctr">
                    <a:lnSpc>
                      <a:spcPct val="90000"/>
                    </a:lnSpc>
                  </a:pPr>
                  <a:r>
                    <a:rPr lang="en-US" sz="1400" dirty="0">
                      <a:solidFill>
                        <a:srgbClr val="FFFFFF"/>
                      </a:solidFill>
                      <a:effectLst>
                        <a:glow rad="50800">
                          <a:schemeClr val="tx2">
                            <a:alpha val="75000"/>
                          </a:schemeClr>
                        </a:glow>
                      </a:effectLst>
                    </a:rPr>
                    <a:t>Operational </a:t>
                  </a:r>
                </a:p>
                <a:p>
                  <a:pPr algn="ctr">
                    <a:lnSpc>
                      <a:spcPct val="90000"/>
                    </a:lnSpc>
                  </a:pPr>
                  <a:r>
                    <a:rPr lang="en-US" sz="1400" dirty="0">
                      <a:solidFill>
                        <a:srgbClr val="FFFFFF"/>
                      </a:solidFill>
                      <a:effectLst>
                        <a:glow rad="50800">
                          <a:schemeClr val="tx2">
                            <a:alpha val="75000"/>
                          </a:schemeClr>
                        </a:glow>
                      </a:effectLst>
                    </a:rPr>
                    <a:t>Management</a:t>
                  </a:r>
                </a:p>
              </p:txBody>
            </p:sp>
          </p:grpSp>
          <p:grpSp>
            <p:nvGrpSpPr>
              <p:cNvPr id="11" name="Group 29"/>
              <p:cNvGrpSpPr/>
              <p:nvPr/>
            </p:nvGrpSpPr>
            <p:grpSpPr>
              <a:xfrm>
                <a:off x="5867400" y="2038350"/>
                <a:ext cx="1456944" cy="1463040"/>
                <a:chOff x="5925312" y="2038350"/>
                <a:chExt cx="1456944" cy="1463040"/>
              </a:xfrm>
            </p:grpSpPr>
            <p:pic>
              <p:nvPicPr>
                <p:cNvPr id="31" name="Picture 30" descr="Man looking in magnifier 455273739.jpg"/>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5926055" y="2038350"/>
                  <a:ext cx="1455459" cy="1463040"/>
                </a:xfrm>
                <a:prstGeom prst="roundRect">
                  <a:avLst>
                    <a:gd name="adj" fmla="val 5616"/>
                  </a:avLst>
                </a:prstGeom>
                <a:ln>
                  <a:solidFill>
                    <a:schemeClr val="bg2"/>
                  </a:solidFill>
                </a:ln>
                <a:effectLst>
                  <a:outerShdw blurRad="50800" dist="25400" dir="2700000" algn="tl" rotWithShape="0">
                    <a:prstClr val="black">
                      <a:alpha val="40000"/>
                    </a:prstClr>
                  </a:outerShdw>
                </a:effectLst>
              </p:spPr>
            </p:pic>
            <p:sp>
              <p:nvSpPr>
                <p:cNvPr id="32" name="Round Same Side Corner Rectangle 31"/>
                <p:cNvSpPr/>
                <p:nvPr/>
              </p:nvSpPr>
              <p:spPr>
                <a:xfrm>
                  <a:off x="5925312" y="3033801"/>
                  <a:ext cx="1456944" cy="467589"/>
                </a:xfrm>
                <a:prstGeom prst="round2SameRect">
                  <a:avLst>
                    <a:gd name="adj1" fmla="val 0"/>
                    <a:gd name="adj2" fmla="val 16296"/>
                  </a:avLst>
                </a:prstGeom>
                <a:gradFill flip="none" rotWithShape="1">
                  <a:gsLst>
                    <a:gs pos="0">
                      <a:schemeClr val="tx1">
                        <a:alpha val="70000"/>
                      </a:schemeClr>
                    </a:gs>
                    <a:gs pos="100000">
                      <a:srgbClr val="FFFFFF">
                        <a:alpha val="0"/>
                      </a:srgbClr>
                    </a:gs>
                  </a:gsLst>
                  <a:lin ang="16200000" scaled="0"/>
                  <a:tileRect/>
                </a:gradFill>
              </p:spPr>
              <p:txBody>
                <a:bodyPr wrap="square" lIns="0" tIns="0" rIns="0" bIns="0" anchor="ctr" anchorCtr="0">
                  <a:noAutofit/>
                </a:bodyPr>
                <a:lstStyle/>
                <a:p>
                  <a:pPr algn="ctr">
                    <a:lnSpc>
                      <a:spcPct val="90000"/>
                    </a:lnSpc>
                  </a:pPr>
                  <a:r>
                    <a:rPr lang="en-US" sz="1400" dirty="0">
                      <a:solidFill>
                        <a:srgbClr val="FFFFFF"/>
                      </a:solidFill>
                      <a:effectLst>
                        <a:glow rad="50800">
                          <a:schemeClr val="tx2">
                            <a:alpha val="75000"/>
                          </a:schemeClr>
                        </a:glow>
                      </a:effectLst>
                    </a:rPr>
                    <a:t>Financial</a:t>
                  </a:r>
                </a:p>
                <a:p>
                  <a:pPr algn="ctr">
                    <a:lnSpc>
                      <a:spcPct val="90000"/>
                    </a:lnSpc>
                  </a:pPr>
                  <a:r>
                    <a:rPr lang="en-US" sz="1400" dirty="0">
                      <a:solidFill>
                        <a:srgbClr val="FFFFFF"/>
                      </a:solidFill>
                      <a:effectLst>
                        <a:glow rad="50800">
                          <a:schemeClr val="tx2">
                            <a:alpha val="75000"/>
                          </a:schemeClr>
                        </a:glow>
                      </a:effectLst>
                    </a:rPr>
                    <a:t>Transparency</a:t>
                  </a:r>
                </a:p>
              </p:txBody>
            </p:sp>
          </p:grpSp>
        </p:grpSp>
        <p:sp>
          <p:nvSpPr>
            <p:cNvPr id="5" name="Rounded Rectangle 4"/>
            <p:cNvSpPr/>
            <p:nvPr/>
          </p:nvSpPr>
          <p:spPr>
            <a:xfrm>
              <a:off x="2837214" y="1647564"/>
              <a:ext cx="3429000" cy="685800"/>
            </a:xfrm>
            <a:prstGeom prst="roundRect">
              <a:avLst>
                <a:gd name="adj" fmla="val 11081"/>
              </a:avLst>
            </a:prstGeom>
            <a:ln>
              <a:solidFill>
                <a:schemeClr val="bg2"/>
              </a:solidFill>
            </a:ln>
            <a:effectLst>
              <a:outerShdw blurRad="50800" dist="254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a:solidFill>
                  <a:srgbClr val="000000"/>
                </a:solidFill>
                <a:latin typeface="Verdana"/>
              </a:endParaRPr>
            </a:p>
          </p:txBody>
        </p:sp>
        <p:pic>
          <p:nvPicPr>
            <p:cNvPr id="6" name="Picture 5" descr="automation.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837213" y="1647564"/>
              <a:ext cx="3429000" cy="704867"/>
            </a:xfrm>
            <a:prstGeom prst="roundRect">
              <a:avLst>
                <a:gd name="adj" fmla="val 7768"/>
              </a:avLst>
            </a:prstGeom>
            <a:ln>
              <a:solidFill>
                <a:schemeClr val="bg2"/>
              </a:solidFill>
            </a:ln>
          </p:spPr>
        </p:pic>
        <p:pic>
          <p:nvPicPr>
            <p:cNvPr id="7" name="Picture 6" descr="screen.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89713" y="1678484"/>
              <a:ext cx="1524000" cy="673947"/>
            </a:xfrm>
            <a:prstGeom prst="rect">
              <a:avLst/>
            </a:prstGeom>
          </p:spPr>
        </p:pic>
        <p:sp>
          <p:nvSpPr>
            <p:cNvPr id="8" name="Round Same Side Corner Rectangle 7"/>
            <p:cNvSpPr/>
            <p:nvPr/>
          </p:nvSpPr>
          <p:spPr>
            <a:xfrm>
              <a:off x="2837213" y="1952364"/>
              <a:ext cx="3429000" cy="400067"/>
            </a:xfrm>
            <a:prstGeom prst="round2SameRect">
              <a:avLst>
                <a:gd name="adj1" fmla="val 0"/>
                <a:gd name="adj2" fmla="val 16296"/>
              </a:avLst>
            </a:prstGeom>
            <a:gradFill flip="none" rotWithShape="1">
              <a:gsLst>
                <a:gs pos="0">
                  <a:schemeClr val="tx1">
                    <a:alpha val="70000"/>
                  </a:schemeClr>
                </a:gs>
                <a:gs pos="100000">
                  <a:srgbClr val="FFFFFF">
                    <a:alpha val="0"/>
                  </a:srgbClr>
                </a:gs>
              </a:gsLst>
              <a:lin ang="16200000" scaled="0"/>
              <a:tileRect/>
            </a:gradFill>
          </p:spPr>
          <p:txBody>
            <a:bodyPr wrap="square" lIns="0" tIns="0" rIns="0" bIns="45720" anchor="b" anchorCtr="0">
              <a:noAutofit/>
            </a:bodyPr>
            <a:lstStyle/>
            <a:p>
              <a:pPr algn="ctr">
                <a:lnSpc>
                  <a:spcPct val="90000"/>
                </a:lnSpc>
              </a:pPr>
              <a:r>
                <a:rPr lang="en-US" sz="1400" dirty="0">
                  <a:solidFill>
                    <a:srgbClr val="FFFFFF"/>
                  </a:solidFill>
                  <a:effectLst>
                    <a:glow rad="50800">
                      <a:schemeClr val="tx2">
                        <a:alpha val="75000"/>
                      </a:schemeClr>
                    </a:glow>
                  </a:effectLst>
                </a:rPr>
                <a:t>Self-Service &amp; Automation</a:t>
              </a:r>
            </a:p>
          </p:txBody>
        </p:sp>
        <p:pic>
          <p:nvPicPr>
            <p:cNvPr id="9" name="Pictur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37213" y="2410107"/>
              <a:ext cx="3429000" cy="704088"/>
            </a:xfrm>
            <a:prstGeom prst="roundRect">
              <a:avLst>
                <a:gd name="adj" fmla="val 7768"/>
              </a:avLst>
            </a:prstGeom>
            <a:ln>
              <a:solidFill>
                <a:schemeClr val="tx2">
                  <a:lumMod val="50000"/>
                </a:schemeClr>
              </a:solidFill>
            </a:ln>
          </p:spPr>
        </p:pic>
        <p:grpSp>
          <p:nvGrpSpPr>
            <p:cNvPr id="14" name="Group 9"/>
            <p:cNvGrpSpPr/>
            <p:nvPr/>
          </p:nvGrpSpPr>
          <p:grpSpPr>
            <a:xfrm>
              <a:off x="2075213" y="2621363"/>
              <a:ext cx="4953000" cy="1464598"/>
              <a:chOff x="1600200" y="3012149"/>
              <a:chExt cx="4953000" cy="1464598"/>
            </a:xfrm>
          </p:grpSpPr>
          <p:sp>
            <p:nvSpPr>
              <p:cNvPr id="23" name="Rounded Rectangle 8"/>
              <p:cNvSpPr/>
              <p:nvPr/>
            </p:nvSpPr>
            <p:spPr>
              <a:xfrm>
                <a:off x="1600200" y="3012149"/>
                <a:ext cx="4953000" cy="1464598"/>
              </a:xfrm>
              <a:custGeom>
                <a:avLst/>
                <a:gdLst>
                  <a:gd name="connsiteX0" fmla="*/ 0 w 4953000"/>
                  <a:gd name="connsiteY0" fmla="*/ 61695 h 914400"/>
                  <a:gd name="connsiteX1" fmla="*/ 61695 w 4953000"/>
                  <a:gd name="connsiteY1" fmla="*/ 0 h 914400"/>
                  <a:gd name="connsiteX2" fmla="*/ 4891305 w 4953000"/>
                  <a:gd name="connsiteY2" fmla="*/ 0 h 914400"/>
                  <a:gd name="connsiteX3" fmla="*/ 4953000 w 4953000"/>
                  <a:gd name="connsiteY3" fmla="*/ 61695 h 914400"/>
                  <a:gd name="connsiteX4" fmla="*/ 4953000 w 4953000"/>
                  <a:gd name="connsiteY4" fmla="*/ 852705 h 914400"/>
                  <a:gd name="connsiteX5" fmla="*/ 4891305 w 4953000"/>
                  <a:gd name="connsiteY5" fmla="*/ 914400 h 914400"/>
                  <a:gd name="connsiteX6" fmla="*/ 61695 w 4953000"/>
                  <a:gd name="connsiteY6" fmla="*/ 914400 h 914400"/>
                  <a:gd name="connsiteX7" fmla="*/ 0 w 4953000"/>
                  <a:gd name="connsiteY7" fmla="*/ 852705 h 914400"/>
                  <a:gd name="connsiteX8" fmla="*/ 0 w 4953000"/>
                  <a:gd name="connsiteY8" fmla="*/ 61695 h 914400"/>
                  <a:gd name="connsiteX0" fmla="*/ 0 w 4953000"/>
                  <a:gd name="connsiteY0" fmla="*/ 61695 h 914400"/>
                  <a:gd name="connsiteX1" fmla="*/ 61695 w 4953000"/>
                  <a:gd name="connsiteY1" fmla="*/ 0 h 914400"/>
                  <a:gd name="connsiteX2" fmla="*/ 2063750 w 4953000"/>
                  <a:gd name="connsiteY2" fmla="*/ 0 h 914400"/>
                  <a:gd name="connsiteX3" fmla="*/ 4891305 w 4953000"/>
                  <a:gd name="connsiteY3" fmla="*/ 0 h 914400"/>
                  <a:gd name="connsiteX4" fmla="*/ 4953000 w 4953000"/>
                  <a:gd name="connsiteY4" fmla="*/ 61695 h 914400"/>
                  <a:gd name="connsiteX5" fmla="*/ 4953000 w 4953000"/>
                  <a:gd name="connsiteY5" fmla="*/ 852705 h 914400"/>
                  <a:gd name="connsiteX6" fmla="*/ 4891305 w 4953000"/>
                  <a:gd name="connsiteY6" fmla="*/ 914400 h 914400"/>
                  <a:gd name="connsiteX7" fmla="*/ 61695 w 4953000"/>
                  <a:gd name="connsiteY7" fmla="*/ 914400 h 914400"/>
                  <a:gd name="connsiteX8" fmla="*/ 0 w 4953000"/>
                  <a:gd name="connsiteY8" fmla="*/ 852705 h 914400"/>
                  <a:gd name="connsiteX9" fmla="*/ 0 w 4953000"/>
                  <a:gd name="connsiteY9" fmla="*/ 61695 h 914400"/>
                  <a:gd name="connsiteX0" fmla="*/ 0 w 4953000"/>
                  <a:gd name="connsiteY0" fmla="*/ 61695 h 914400"/>
                  <a:gd name="connsiteX1" fmla="*/ 61695 w 4953000"/>
                  <a:gd name="connsiteY1" fmla="*/ 0 h 914400"/>
                  <a:gd name="connsiteX2" fmla="*/ 2063750 w 4953000"/>
                  <a:gd name="connsiteY2" fmla="*/ 0 h 914400"/>
                  <a:gd name="connsiteX3" fmla="*/ 4891305 w 4953000"/>
                  <a:gd name="connsiteY3" fmla="*/ 0 h 914400"/>
                  <a:gd name="connsiteX4" fmla="*/ 4953000 w 4953000"/>
                  <a:gd name="connsiteY4" fmla="*/ 61695 h 914400"/>
                  <a:gd name="connsiteX5" fmla="*/ 4953000 w 4953000"/>
                  <a:gd name="connsiteY5" fmla="*/ 852705 h 914400"/>
                  <a:gd name="connsiteX6" fmla="*/ 4891305 w 4953000"/>
                  <a:gd name="connsiteY6" fmla="*/ 914400 h 914400"/>
                  <a:gd name="connsiteX7" fmla="*/ 61695 w 4953000"/>
                  <a:gd name="connsiteY7" fmla="*/ 914400 h 914400"/>
                  <a:gd name="connsiteX8" fmla="*/ 0 w 4953000"/>
                  <a:gd name="connsiteY8" fmla="*/ 852705 h 914400"/>
                  <a:gd name="connsiteX9" fmla="*/ 0 w 4953000"/>
                  <a:gd name="connsiteY9" fmla="*/ 61695 h 914400"/>
                  <a:gd name="connsiteX0" fmla="*/ 0 w 4953000"/>
                  <a:gd name="connsiteY0" fmla="*/ 61695 h 914400"/>
                  <a:gd name="connsiteX1" fmla="*/ 61695 w 4953000"/>
                  <a:gd name="connsiteY1" fmla="*/ 0 h 914400"/>
                  <a:gd name="connsiteX2" fmla="*/ 2063750 w 4953000"/>
                  <a:gd name="connsiteY2" fmla="*/ 0 h 914400"/>
                  <a:gd name="connsiteX3" fmla="*/ 4891305 w 4953000"/>
                  <a:gd name="connsiteY3" fmla="*/ 0 h 914400"/>
                  <a:gd name="connsiteX4" fmla="*/ 4953000 w 4953000"/>
                  <a:gd name="connsiteY4" fmla="*/ 61695 h 914400"/>
                  <a:gd name="connsiteX5" fmla="*/ 4953000 w 4953000"/>
                  <a:gd name="connsiteY5" fmla="*/ 852705 h 914400"/>
                  <a:gd name="connsiteX6" fmla="*/ 4891305 w 4953000"/>
                  <a:gd name="connsiteY6" fmla="*/ 914400 h 914400"/>
                  <a:gd name="connsiteX7" fmla="*/ 61695 w 4953000"/>
                  <a:gd name="connsiteY7" fmla="*/ 914400 h 914400"/>
                  <a:gd name="connsiteX8" fmla="*/ 0 w 4953000"/>
                  <a:gd name="connsiteY8" fmla="*/ 852705 h 914400"/>
                  <a:gd name="connsiteX9" fmla="*/ 0 w 4953000"/>
                  <a:gd name="connsiteY9" fmla="*/ 61695 h 914400"/>
                  <a:gd name="connsiteX0" fmla="*/ 0 w 4953000"/>
                  <a:gd name="connsiteY0" fmla="*/ 61695 h 914400"/>
                  <a:gd name="connsiteX1" fmla="*/ 61695 w 4953000"/>
                  <a:gd name="connsiteY1" fmla="*/ 0 h 914400"/>
                  <a:gd name="connsiteX2" fmla="*/ 2063750 w 4953000"/>
                  <a:gd name="connsiteY2" fmla="*/ 0 h 914400"/>
                  <a:gd name="connsiteX3" fmla="*/ 4891305 w 4953000"/>
                  <a:gd name="connsiteY3" fmla="*/ 0 h 914400"/>
                  <a:gd name="connsiteX4" fmla="*/ 4953000 w 4953000"/>
                  <a:gd name="connsiteY4" fmla="*/ 61695 h 914400"/>
                  <a:gd name="connsiteX5" fmla="*/ 4953000 w 4953000"/>
                  <a:gd name="connsiteY5" fmla="*/ 852705 h 914400"/>
                  <a:gd name="connsiteX6" fmla="*/ 4891305 w 4953000"/>
                  <a:gd name="connsiteY6" fmla="*/ 914400 h 914400"/>
                  <a:gd name="connsiteX7" fmla="*/ 61695 w 4953000"/>
                  <a:gd name="connsiteY7" fmla="*/ 914400 h 914400"/>
                  <a:gd name="connsiteX8" fmla="*/ 0 w 4953000"/>
                  <a:gd name="connsiteY8" fmla="*/ 852705 h 914400"/>
                  <a:gd name="connsiteX9" fmla="*/ 0 w 4953000"/>
                  <a:gd name="connsiteY9" fmla="*/ 61695 h 914400"/>
                  <a:gd name="connsiteX0" fmla="*/ 0 w 4953000"/>
                  <a:gd name="connsiteY0" fmla="*/ 61695 h 914400"/>
                  <a:gd name="connsiteX1" fmla="*/ 61695 w 4953000"/>
                  <a:gd name="connsiteY1" fmla="*/ 0 h 914400"/>
                  <a:gd name="connsiteX2" fmla="*/ 2063750 w 4953000"/>
                  <a:gd name="connsiteY2" fmla="*/ 0 h 914400"/>
                  <a:gd name="connsiteX3" fmla="*/ 4891305 w 4953000"/>
                  <a:gd name="connsiteY3" fmla="*/ 0 h 914400"/>
                  <a:gd name="connsiteX4" fmla="*/ 4953000 w 4953000"/>
                  <a:gd name="connsiteY4" fmla="*/ 61695 h 914400"/>
                  <a:gd name="connsiteX5" fmla="*/ 4953000 w 4953000"/>
                  <a:gd name="connsiteY5" fmla="*/ 852705 h 914400"/>
                  <a:gd name="connsiteX6" fmla="*/ 4891305 w 4953000"/>
                  <a:gd name="connsiteY6" fmla="*/ 914400 h 914400"/>
                  <a:gd name="connsiteX7" fmla="*/ 61695 w 4953000"/>
                  <a:gd name="connsiteY7" fmla="*/ 914400 h 914400"/>
                  <a:gd name="connsiteX8" fmla="*/ 0 w 4953000"/>
                  <a:gd name="connsiteY8" fmla="*/ 852705 h 914400"/>
                  <a:gd name="connsiteX9" fmla="*/ 0 w 4953000"/>
                  <a:gd name="connsiteY9" fmla="*/ 61695 h 914400"/>
                  <a:gd name="connsiteX0" fmla="*/ 0 w 4953000"/>
                  <a:gd name="connsiteY0" fmla="*/ 61695 h 914400"/>
                  <a:gd name="connsiteX1" fmla="*/ 61695 w 4953000"/>
                  <a:gd name="connsiteY1" fmla="*/ 0 h 914400"/>
                  <a:gd name="connsiteX2" fmla="*/ 2063750 w 4953000"/>
                  <a:gd name="connsiteY2" fmla="*/ 0 h 914400"/>
                  <a:gd name="connsiteX3" fmla="*/ 4891305 w 4953000"/>
                  <a:gd name="connsiteY3" fmla="*/ 0 h 914400"/>
                  <a:gd name="connsiteX4" fmla="*/ 4953000 w 4953000"/>
                  <a:gd name="connsiteY4" fmla="*/ 61695 h 914400"/>
                  <a:gd name="connsiteX5" fmla="*/ 4953000 w 4953000"/>
                  <a:gd name="connsiteY5" fmla="*/ 852705 h 914400"/>
                  <a:gd name="connsiteX6" fmla="*/ 4891305 w 4953000"/>
                  <a:gd name="connsiteY6" fmla="*/ 914400 h 914400"/>
                  <a:gd name="connsiteX7" fmla="*/ 61695 w 4953000"/>
                  <a:gd name="connsiteY7" fmla="*/ 914400 h 914400"/>
                  <a:gd name="connsiteX8" fmla="*/ 0 w 4953000"/>
                  <a:gd name="connsiteY8" fmla="*/ 852705 h 914400"/>
                  <a:gd name="connsiteX9" fmla="*/ 0 w 4953000"/>
                  <a:gd name="connsiteY9" fmla="*/ 61695 h 914400"/>
                  <a:gd name="connsiteX0" fmla="*/ 0 w 4953000"/>
                  <a:gd name="connsiteY0" fmla="*/ 64870 h 917575"/>
                  <a:gd name="connsiteX1" fmla="*/ 61695 w 4953000"/>
                  <a:gd name="connsiteY1" fmla="*/ 3175 h 917575"/>
                  <a:gd name="connsiteX2" fmla="*/ 2063750 w 4953000"/>
                  <a:gd name="connsiteY2" fmla="*/ 3175 h 917575"/>
                  <a:gd name="connsiteX3" fmla="*/ 2892425 w 4953000"/>
                  <a:gd name="connsiteY3" fmla="*/ 0 h 917575"/>
                  <a:gd name="connsiteX4" fmla="*/ 4891305 w 4953000"/>
                  <a:gd name="connsiteY4" fmla="*/ 3175 h 917575"/>
                  <a:gd name="connsiteX5" fmla="*/ 4953000 w 4953000"/>
                  <a:gd name="connsiteY5" fmla="*/ 64870 h 917575"/>
                  <a:gd name="connsiteX6" fmla="*/ 4953000 w 4953000"/>
                  <a:gd name="connsiteY6" fmla="*/ 855880 h 917575"/>
                  <a:gd name="connsiteX7" fmla="*/ 4891305 w 4953000"/>
                  <a:gd name="connsiteY7" fmla="*/ 917575 h 917575"/>
                  <a:gd name="connsiteX8" fmla="*/ 61695 w 4953000"/>
                  <a:gd name="connsiteY8" fmla="*/ 917575 h 917575"/>
                  <a:gd name="connsiteX9" fmla="*/ 0 w 4953000"/>
                  <a:gd name="connsiteY9" fmla="*/ 855880 h 917575"/>
                  <a:gd name="connsiteX10" fmla="*/ 0 w 4953000"/>
                  <a:gd name="connsiteY10" fmla="*/ 64870 h 917575"/>
                  <a:gd name="connsiteX0" fmla="*/ 0 w 4953000"/>
                  <a:gd name="connsiteY0" fmla="*/ 64870 h 917575"/>
                  <a:gd name="connsiteX1" fmla="*/ 61695 w 4953000"/>
                  <a:gd name="connsiteY1" fmla="*/ 3175 h 917575"/>
                  <a:gd name="connsiteX2" fmla="*/ 2063750 w 4953000"/>
                  <a:gd name="connsiteY2" fmla="*/ 3175 h 917575"/>
                  <a:gd name="connsiteX3" fmla="*/ 2892425 w 4953000"/>
                  <a:gd name="connsiteY3" fmla="*/ 0 h 917575"/>
                  <a:gd name="connsiteX4" fmla="*/ 4891305 w 4953000"/>
                  <a:gd name="connsiteY4" fmla="*/ 3175 h 917575"/>
                  <a:gd name="connsiteX5" fmla="*/ 4953000 w 4953000"/>
                  <a:gd name="connsiteY5" fmla="*/ 64870 h 917575"/>
                  <a:gd name="connsiteX6" fmla="*/ 4953000 w 4953000"/>
                  <a:gd name="connsiteY6" fmla="*/ 855880 h 917575"/>
                  <a:gd name="connsiteX7" fmla="*/ 4891305 w 4953000"/>
                  <a:gd name="connsiteY7" fmla="*/ 917575 h 917575"/>
                  <a:gd name="connsiteX8" fmla="*/ 61695 w 4953000"/>
                  <a:gd name="connsiteY8" fmla="*/ 917575 h 917575"/>
                  <a:gd name="connsiteX9" fmla="*/ 0 w 4953000"/>
                  <a:gd name="connsiteY9" fmla="*/ 855880 h 917575"/>
                  <a:gd name="connsiteX10" fmla="*/ 0 w 4953000"/>
                  <a:gd name="connsiteY10" fmla="*/ 64870 h 917575"/>
                  <a:gd name="connsiteX0" fmla="*/ 0 w 4953000"/>
                  <a:gd name="connsiteY0" fmla="*/ 64870 h 917575"/>
                  <a:gd name="connsiteX1" fmla="*/ 61695 w 4953000"/>
                  <a:gd name="connsiteY1" fmla="*/ 3175 h 917575"/>
                  <a:gd name="connsiteX2" fmla="*/ 2063750 w 4953000"/>
                  <a:gd name="connsiteY2" fmla="*/ 3175 h 917575"/>
                  <a:gd name="connsiteX3" fmla="*/ 2892425 w 4953000"/>
                  <a:gd name="connsiteY3" fmla="*/ 0 h 917575"/>
                  <a:gd name="connsiteX4" fmla="*/ 4891305 w 4953000"/>
                  <a:gd name="connsiteY4" fmla="*/ 3175 h 917575"/>
                  <a:gd name="connsiteX5" fmla="*/ 4953000 w 4953000"/>
                  <a:gd name="connsiteY5" fmla="*/ 64870 h 917575"/>
                  <a:gd name="connsiteX6" fmla="*/ 4953000 w 4953000"/>
                  <a:gd name="connsiteY6" fmla="*/ 855880 h 917575"/>
                  <a:gd name="connsiteX7" fmla="*/ 4891305 w 4953000"/>
                  <a:gd name="connsiteY7" fmla="*/ 917575 h 917575"/>
                  <a:gd name="connsiteX8" fmla="*/ 61695 w 4953000"/>
                  <a:gd name="connsiteY8" fmla="*/ 917575 h 917575"/>
                  <a:gd name="connsiteX9" fmla="*/ 0 w 4953000"/>
                  <a:gd name="connsiteY9" fmla="*/ 855880 h 917575"/>
                  <a:gd name="connsiteX10" fmla="*/ 0 w 4953000"/>
                  <a:gd name="connsiteY10" fmla="*/ 64870 h 917575"/>
                  <a:gd name="connsiteX0" fmla="*/ 0 w 4953000"/>
                  <a:gd name="connsiteY0" fmla="*/ 64870 h 917575"/>
                  <a:gd name="connsiteX1" fmla="*/ 61695 w 4953000"/>
                  <a:gd name="connsiteY1" fmla="*/ 3175 h 917575"/>
                  <a:gd name="connsiteX2" fmla="*/ 2063750 w 4953000"/>
                  <a:gd name="connsiteY2" fmla="*/ 3175 h 917575"/>
                  <a:gd name="connsiteX3" fmla="*/ 2514600 w 4953000"/>
                  <a:gd name="connsiteY3" fmla="*/ 1 h 917575"/>
                  <a:gd name="connsiteX4" fmla="*/ 2892425 w 4953000"/>
                  <a:gd name="connsiteY4" fmla="*/ 0 h 917575"/>
                  <a:gd name="connsiteX5" fmla="*/ 4891305 w 4953000"/>
                  <a:gd name="connsiteY5" fmla="*/ 3175 h 917575"/>
                  <a:gd name="connsiteX6" fmla="*/ 4953000 w 4953000"/>
                  <a:gd name="connsiteY6" fmla="*/ 64870 h 917575"/>
                  <a:gd name="connsiteX7" fmla="*/ 4953000 w 4953000"/>
                  <a:gd name="connsiteY7" fmla="*/ 855880 h 917575"/>
                  <a:gd name="connsiteX8" fmla="*/ 4891305 w 4953000"/>
                  <a:gd name="connsiteY8" fmla="*/ 917575 h 917575"/>
                  <a:gd name="connsiteX9" fmla="*/ 61695 w 4953000"/>
                  <a:gd name="connsiteY9" fmla="*/ 917575 h 917575"/>
                  <a:gd name="connsiteX10" fmla="*/ 0 w 4953000"/>
                  <a:gd name="connsiteY10" fmla="*/ 855880 h 917575"/>
                  <a:gd name="connsiteX11" fmla="*/ 0 w 4953000"/>
                  <a:gd name="connsiteY11" fmla="*/ 64870 h 917575"/>
                  <a:gd name="connsiteX0" fmla="*/ 0 w 4953000"/>
                  <a:gd name="connsiteY0" fmla="*/ 64870 h 917575"/>
                  <a:gd name="connsiteX1" fmla="*/ 61695 w 4953000"/>
                  <a:gd name="connsiteY1" fmla="*/ 3175 h 917575"/>
                  <a:gd name="connsiteX2" fmla="*/ 2063750 w 4953000"/>
                  <a:gd name="connsiteY2" fmla="*/ 3175 h 917575"/>
                  <a:gd name="connsiteX3" fmla="*/ 2244725 w 4953000"/>
                  <a:gd name="connsiteY3" fmla="*/ 1 h 917575"/>
                  <a:gd name="connsiteX4" fmla="*/ 2514600 w 4953000"/>
                  <a:gd name="connsiteY4" fmla="*/ 1 h 917575"/>
                  <a:gd name="connsiteX5" fmla="*/ 2892425 w 4953000"/>
                  <a:gd name="connsiteY5" fmla="*/ 0 h 917575"/>
                  <a:gd name="connsiteX6" fmla="*/ 4891305 w 4953000"/>
                  <a:gd name="connsiteY6" fmla="*/ 3175 h 917575"/>
                  <a:gd name="connsiteX7" fmla="*/ 4953000 w 4953000"/>
                  <a:gd name="connsiteY7" fmla="*/ 64870 h 917575"/>
                  <a:gd name="connsiteX8" fmla="*/ 4953000 w 4953000"/>
                  <a:gd name="connsiteY8" fmla="*/ 855880 h 917575"/>
                  <a:gd name="connsiteX9" fmla="*/ 4891305 w 4953000"/>
                  <a:gd name="connsiteY9" fmla="*/ 917575 h 917575"/>
                  <a:gd name="connsiteX10" fmla="*/ 61695 w 4953000"/>
                  <a:gd name="connsiteY10" fmla="*/ 917575 h 917575"/>
                  <a:gd name="connsiteX11" fmla="*/ 0 w 4953000"/>
                  <a:gd name="connsiteY11" fmla="*/ 855880 h 917575"/>
                  <a:gd name="connsiteX12" fmla="*/ 0 w 4953000"/>
                  <a:gd name="connsiteY12" fmla="*/ 64870 h 917575"/>
                  <a:gd name="connsiteX0" fmla="*/ 0 w 4953000"/>
                  <a:gd name="connsiteY0" fmla="*/ 591919 h 1444624"/>
                  <a:gd name="connsiteX1" fmla="*/ 61695 w 4953000"/>
                  <a:gd name="connsiteY1" fmla="*/ 530224 h 1444624"/>
                  <a:gd name="connsiteX2" fmla="*/ 2063750 w 4953000"/>
                  <a:gd name="connsiteY2" fmla="*/ 530224 h 1444624"/>
                  <a:gd name="connsiteX3" fmla="*/ 2060575 w 4953000"/>
                  <a:gd name="connsiteY3" fmla="*/ 0 h 1444624"/>
                  <a:gd name="connsiteX4" fmla="*/ 2514600 w 4953000"/>
                  <a:gd name="connsiteY4" fmla="*/ 527050 h 1444624"/>
                  <a:gd name="connsiteX5" fmla="*/ 2892425 w 4953000"/>
                  <a:gd name="connsiteY5" fmla="*/ 527049 h 1444624"/>
                  <a:gd name="connsiteX6" fmla="*/ 4891305 w 4953000"/>
                  <a:gd name="connsiteY6" fmla="*/ 530224 h 1444624"/>
                  <a:gd name="connsiteX7" fmla="*/ 4953000 w 4953000"/>
                  <a:gd name="connsiteY7" fmla="*/ 591919 h 1444624"/>
                  <a:gd name="connsiteX8" fmla="*/ 4953000 w 4953000"/>
                  <a:gd name="connsiteY8" fmla="*/ 1382929 h 1444624"/>
                  <a:gd name="connsiteX9" fmla="*/ 4891305 w 4953000"/>
                  <a:gd name="connsiteY9" fmla="*/ 1444624 h 1444624"/>
                  <a:gd name="connsiteX10" fmla="*/ 61695 w 4953000"/>
                  <a:gd name="connsiteY10" fmla="*/ 1444624 h 1444624"/>
                  <a:gd name="connsiteX11" fmla="*/ 0 w 4953000"/>
                  <a:gd name="connsiteY11" fmla="*/ 1382929 h 1444624"/>
                  <a:gd name="connsiteX12" fmla="*/ 0 w 4953000"/>
                  <a:gd name="connsiteY12" fmla="*/ 591919 h 1444624"/>
                  <a:gd name="connsiteX0" fmla="*/ 0 w 4953000"/>
                  <a:gd name="connsiteY0" fmla="*/ 591919 h 1444624"/>
                  <a:gd name="connsiteX1" fmla="*/ 61695 w 4953000"/>
                  <a:gd name="connsiteY1" fmla="*/ 530224 h 1444624"/>
                  <a:gd name="connsiteX2" fmla="*/ 2063750 w 4953000"/>
                  <a:gd name="connsiteY2" fmla="*/ 530224 h 1444624"/>
                  <a:gd name="connsiteX3" fmla="*/ 2060575 w 4953000"/>
                  <a:gd name="connsiteY3" fmla="*/ 0 h 1444624"/>
                  <a:gd name="connsiteX4" fmla="*/ 2514600 w 4953000"/>
                  <a:gd name="connsiteY4" fmla="*/ 527050 h 1444624"/>
                  <a:gd name="connsiteX5" fmla="*/ 2892425 w 4953000"/>
                  <a:gd name="connsiteY5" fmla="*/ 527049 h 1444624"/>
                  <a:gd name="connsiteX6" fmla="*/ 4891305 w 4953000"/>
                  <a:gd name="connsiteY6" fmla="*/ 530224 h 1444624"/>
                  <a:gd name="connsiteX7" fmla="*/ 4953000 w 4953000"/>
                  <a:gd name="connsiteY7" fmla="*/ 591919 h 1444624"/>
                  <a:gd name="connsiteX8" fmla="*/ 4953000 w 4953000"/>
                  <a:gd name="connsiteY8" fmla="*/ 1382929 h 1444624"/>
                  <a:gd name="connsiteX9" fmla="*/ 4891305 w 4953000"/>
                  <a:gd name="connsiteY9" fmla="*/ 1444624 h 1444624"/>
                  <a:gd name="connsiteX10" fmla="*/ 61695 w 4953000"/>
                  <a:gd name="connsiteY10" fmla="*/ 1444624 h 1444624"/>
                  <a:gd name="connsiteX11" fmla="*/ 0 w 4953000"/>
                  <a:gd name="connsiteY11" fmla="*/ 1382929 h 1444624"/>
                  <a:gd name="connsiteX12" fmla="*/ 0 w 4953000"/>
                  <a:gd name="connsiteY12" fmla="*/ 591919 h 1444624"/>
                  <a:gd name="connsiteX0" fmla="*/ 0 w 4953000"/>
                  <a:gd name="connsiteY0" fmla="*/ 598269 h 1450974"/>
                  <a:gd name="connsiteX1" fmla="*/ 61695 w 4953000"/>
                  <a:gd name="connsiteY1" fmla="*/ 536574 h 1450974"/>
                  <a:gd name="connsiteX2" fmla="*/ 2063750 w 4953000"/>
                  <a:gd name="connsiteY2" fmla="*/ 536574 h 1450974"/>
                  <a:gd name="connsiteX3" fmla="*/ 2060575 w 4953000"/>
                  <a:gd name="connsiteY3" fmla="*/ 6350 h 1450974"/>
                  <a:gd name="connsiteX4" fmla="*/ 2895600 w 4953000"/>
                  <a:gd name="connsiteY4" fmla="*/ 0 h 1450974"/>
                  <a:gd name="connsiteX5" fmla="*/ 2892425 w 4953000"/>
                  <a:gd name="connsiteY5" fmla="*/ 533399 h 1450974"/>
                  <a:gd name="connsiteX6" fmla="*/ 4891305 w 4953000"/>
                  <a:gd name="connsiteY6" fmla="*/ 536574 h 1450974"/>
                  <a:gd name="connsiteX7" fmla="*/ 4953000 w 4953000"/>
                  <a:gd name="connsiteY7" fmla="*/ 598269 h 1450974"/>
                  <a:gd name="connsiteX8" fmla="*/ 4953000 w 4953000"/>
                  <a:gd name="connsiteY8" fmla="*/ 1389279 h 1450974"/>
                  <a:gd name="connsiteX9" fmla="*/ 4891305 w 4953000"/>
                  <a:gd name="connsiteY9" fmla="*/ 1450974 h 1450974"/>
                  <a:gd name="connsiteX10" fmla="*/ 61695 w 4953000"/>
                  <a:gd name="connsiteY10" fmla="*/ 1450974 h 1450974"/>
                  <a:gd name="connsiteX11" fmla="*/ 0 w 4953000"/>
                  <a:gd name="connsiteY11" fmla="*/ 1389279 h 1450974"/>
                  <a:gd name="connsiteX12" fmla="*/ 0 w 4953000"/>
                  <a:gd name="connsiteY12" fmla="*/ 598269 h 1450974"/>
                  <a:gd name="connsiteX0" fmla="*/ 0 w 4953000"/>
                  <a:gd name="connsiteY0" fmla="*/ 595094 h 1447799"/>
                  <a:gd name="connsiteX1" fmla="*/ 61695 w 4953000"/>
                  <a:gd name="connsiteY1" fmla="*/ 533399 h 1447799"/>
                  <a:gd name="connsiteX2" fmla="*/ 2063750 w 4953000"/>
                  <a:gd name="connsiteY2" fmla="*/ 533399 h 1447799"/>
                  <a:gd name="connsiteX3" fmla="*/ 2060575 w 4953000"/>
                  <a:gd name="connsiteY3" fmla="*/ 3175 h 1447799"/>
                  <a:gd name="connsiteX4" fmla="*/ 2889250 w 4953000"/>
                  <a:gd name="connsiteY4" fmla="*/ 0 h 1447799"/>
                  <a:gd name="connsiteX5" fmla="*/ 2892425 w 4953000"/>
                  <a:gd name="connsiteY5" fmla="*/ 530224 h 1447799"/>
                  <a:gd name="connsiteX6" fmla="*/ 4891305 w 4953000"/>
                  <a:gd name="connsiteY6" fmla="*/ 533399 h 1447799"/>
                  <a:gd name="connsiteX7" fmla="*/ 4953000 w 4953000"/>
                  <a:gd name="connsiteY7" fmla="*/ 595094 h 1447799"/>
                  <a:gd name="connsiteX8" fmla="*/ 4953000 w 4953000"/>
                  <a:gd name="connsiteY8" fmla="*/ 1386104 h 1447799"/>
                  <a:gd name="connsiteX9" fmla="*/ 4891305 w 4953000"/>
                  <a:gd name="connsiteY9" fmla="*/ 1447799 h 1447799"/>
                  <a:gd name="connsiteX10" fmla="*/ 61695 w 4953000"/>
                  <a:gd name="connsiteY10" fmla="*/ 1447799 h 1447799"/>
                  <a:gd name="connsiteX11" fmla="*/ 0 w 4953000"/>
                  <a:gd name="connsiteY11" fmla="*/ 1386104 h 1447799"/>
                  <a:gd name="connsiteX12" fmla="*/ 0 w 4953000"/>
                  <a:gd name="connsiteY12" fmla="*/ 595094 h 1447799"/>
                  <a:gd name="connsiteX0" fmla="*/ 0 w 4953000"/>
                  <a:gd name="connsiteY0" fmla="*/ 595095 h 1447800"/>
                  <a:gd name="connsiteX1" fmla="*/ 61695 w 4953000"/>
                  <a:gd name="connsiteY1" fmla="*/ 533400 h 1447800"/>
                  <a:gd name="connsiteX2" fmla="*/ 2063750 w 4953000"/>
                  <a:gd name="connsiteY2" fmla="*/ 533400 h 1447800"/>
                  <a:gd name="connsiteX3" fmla="*/ 2060575 w 4953000"/>
                  <a:gd name="connsiteY3" fmla="*/ 3176 h 1447800"/>
                  <a:gd name="connsiteX4" fmla="*/ 2889250 w 4953000"/>
                  <a:gd name="connsiteY4" fmla="*/ 1 h 1447800"/>
                  <a:gd name="connsiteX5" fmla="*/ 2892425 w 4953000"/>
                  <a:gd name="connsiteY5" fmla="*/ 530225 h 1447800"/>
                  <a:gd name="connsiteX6" fmla="*/ 4891305 w 4953000"/>
                  <a:gd name="connsiteY6" fmla="*/ 533400 h 1447800"/>
                  <a:gd name="connsiteX7" fmla="*/ 4953000 w 4953000"/>
                  <a:gd name="connsiteY7" fmla="*/ 595095 h 1447800"/>
                  <a:gd name="connsiteX8" fmla="*/ 4953000 w 4953000"/>
                  <a:gd name="connsiteY8" fmla="*/ 1386105 h 1447800"/>
                  <a:gd name="connsiteX9" fmla="*/ 4891305 w 4953000"/>
                  <a:gd name="connsiteY9" fmla="*/ 1447800 h 1447800"/>
                  <a:gd name="connsiteX10" fmla="*/ 61695 w 4953000"/>
                  <a:gd name="connsiteY10" fmla="*/ 1447800 h 1447800"/>
                  <a:gd name="connsiteX11" fmla="*/ 0 w 4953000"/>
                  <a:gd name="connsiteY11" fmla="*/ 1386105 h 1447800"/>
                  <a:gd name="connsiteX12" fmla="*/ 0 w 4953000"/>
                  <a:gd name="connsiteY12" fmla="*/ 595095 h 1447800"/>
                  <a:gd name="connsiteX0" fmla="*/ 0 w 4953000"/>
                  <a:gd name="connsiteY0" fmla="*/ 595097 h 1447802"/>
                  <a:gd name="connsiteX1" fmla="*/ 61695 w 4953000"/>
                  <a:gd name="connsiteY1" fmla="*/ 533402 h 1447802"/>
                  <a:gd name="connsiteX2" fmla="*/ 2063750 w 4953000"/>
                  <a:gd name="connsiteY2" fmla="*/ 533402 h 1447802"/>
                  <a:gd name="connsiteX3" fmla="*/ 2060575 w 4953000"/>
                  <a:gd name="connsiteY3" fmla="*/ 3178 h 1447802"/>
                  <a:gd name="connsiteX4" fmla="*/ 2889250 w 4953000"/>
                  <a:gd name="connsiteY4" fmla="*/ 3 h 1447802"/>
                  <a:gd name="connsiteX5" fmla="*/ 2892425 w 4953000"/>
                  <a:gd name="connsiteY5" fmla="*/ 530227 h 1447802"/>
                  <a:gd name="connsiteX6" fmla="*/ 4891305 w 4953000"/>
                  <a:gd name="connsiteY6" fmla="*/ 533402 h 1447802"/>
                  <a:gd name="connsiteX7" fmla="*/ 4953000 w 4953000"/>
                  <a:gd name="connsiteY7" fmla="*/ 595097 h 1447802"/>
                  <a:gd name="connsiteX8" fmla="*/ 4953000 w 4953000"/>
                  <a:gd name="connsiteY8" fmla="*/ 1386107 h 1447802"/>
                  <a:gd name="connsiteX9" fmla="*/ 4891305 w 4953000"/>
                  <a:gd name="connsiteY9" fmla="*/ 1447802 h 1447802"/>
                  <a:gd name="connsiteX10" fmla="*/ 61695 w 4953000"/>
                  <a:gd name="connsiteY10" fmla="*/ 1447802 h 1447802"/>
                  <a:gd name="connsiteX11" fmla="*/ 0 w 4953000"/>
                  <a:gd name="connsiteY11" fmla="*/ 1386107 h 1447802"/>
                  <a:gd name="connsiteX12" fmla="*/ 0 w 4953000"/>
                  <a:gd name="connsiteY12" fmla="*/ 595097 h 1447802"/>
                  <a:gd name="connsiteX0" fmla="*/ 0 w 4953000"/>
                  <a:gd name="connsiteY0" fmla="*/ 602545 h 1455250"/>
                  <a:gd name="connsiteX1" fmla="*/ 61695 w 4953000"/>
                  <a:gd name="connsiteY1" fmla="*/ 540850 h 1455250"/>
                  <a:gd name="connsiteX2" fmla="*/ 2063750 w 4953000"/>
                  <a:gd name="connsiteY2" fmla="*/ 540850 h 1455250"/>
                  <a:gd name="connsiteX3" fmla="*/ 2060575 w 4953000"/>
                  <a:gd name="connsiteY3" fmla="*/ 10626 h 1455250"/>
                  <a:gd name="connsiteX4" fmla="*/ 2889250 w 4953000"/>
                  <a:gd name="connsiteY4" fmla="*/ 7451 h 1455250"/>
                  <a:gd name="connsiteX5" fmla="*/ 2892425 w 4953000"/>
                  <a:gd name="connsiteY5" fmla="*/ 537675 h 1455250"/>
                  <a:gd name="connsiteX6" fmla="*/ 4891305 w 4953000"/>
                  <a:gd name="connsiteY6" fmla="*/ 540850 h 1455250"/>
                  <a:gd name="connsiteX7" fmla="*/ 4953000 w 4953000"/>
                  <a:gd name="connsiteY7" fmla="*/ 602545 h 1455250"/>
                  <a:gd name="connsiteX8" fmla="*/ 4953000 w 4953000"/>
                  <a:gd name="connsiteY8" fmla="*/ 1393555 h 1455250"/>
                  <a:gd name="connsiteX9" fmla="*/ 4891305 w 4953000"/>
                  <a:gd name="connsiteY9" fmla="*/ 1455250 h 1455250"/>
                  <a:gd name="connsiteX10" fmla="*/ 61695 w 4953000"/>
                  <a:gd name="connsiteY10" fmla="*/ 1455250 h 1455250"/>
                  <a:gd name="connsiteX11" fmla="*/ 0 w 4953000"/>
                  <a:gd name="connsiteY11" fmla="*/ 1393555 h 1455250"/>
                  <a:gd name="connsiteX12" fmla="*/ 0 w 4953000"/>
                  <a:gd name="connsiteY12" fmla="*/ 602545 h 1455250"/>
                  <a:gd name="connsiteX0" fmla="*/ 0 w 4953000"/>
                  <a:gd name="connsiteY0" fmla="*/ 591953 h 1444658"/>
                  <a:gd name="connsiteX1" fmla="*/ 61695 w 4953000"/>
                  <a:gd name="connsiteY1" fmla="*/ 530258 h 1444658"/>
                  <a:gd name="connsiteX2" fmla="*/ 2063750 w 4953000"/>
                  <a:gd name="connsiteY2" fmla="*/ 530258 h 1444658"/>
                  <a:gd name="connsiteX3" fmla="*/ 2060575 w 4953000"/>
                  <a:gd name="connsiteY3" fmla="*/ 34 h 1444658"/>
                  <a:gd name="connsiteX4" fmla="*/ 2892425 w 4953000"/>
                  <a:gd name="connsiteY4" fmla="*/ 41309 h 1444658"/>
                  <a:gd name="connsiteX5" fmla="*/ 2892425 w 4953000"/>
                  <a:gd name="connsiteY5" fmla="*/ 527083 h 1444658"/>
                  <a:gd name="connsiteX6" fmla="*/ 4891305 w 4953000"/>
                  <a:gd name="connsiteY6" fmla="*/ 530258 h 1444658"/>
                  <a:gd name="connsiteX7" fmla="*/ 4953000 w 4953000"/>
                  <a:gd name="connsiteY7" fmla="*/ 591953 h 1444658"/>
                  <a:gd name="connsiteX8" fmla="*/ 4953000 w 4953000"/>
                  <a:gd name="connsiteY8" fmla="*/ 1382963 h 1444658"/>
                  <a:gd name="connsiteX9" fmla="*/ 4891305 w 4953000"/>
                  <a:gd name="connsiteY9" fmla="*/ 1444658 h 1444658"/>
                  <a:gd name="connsiteX10" fmla="*/ 61695 w 4953000"/>
                  <a:gd name="connsiteY10" fmla="*/ 1444658 h 1444658"/>
                  <a:gd name="connsiteX11" fmla="*/ 0 w 4953000"/>
                  <a:gd name="connsiteY11" fmla="*/ 1382963 h 1444658"/>
                  <a:gd name="connsiteX12" fmla="*/ 0 w 4953000"/>
                  <a:gd name="connsiteY12" fmla="*/ 591953 h 1444658"/>
                  <a:gd name="connsiteX0" fmla="*/ 0 w 4953000"/>
                  <a:gd name="connsiteY0" fmla="*/ 592916 h 1445621"/>
                  <a:gd name="connsiteX1" fmla="*/ 61695 w 4953000"/>
                  <a:gd name="connsiteY1" fmla="*/ 531221 h 1445621"/>
                  <a:gd name="connsiteX2" fmla="*/ 2063750 w 4953000"/>
                  <a:gd name="connsiteY2" fmla="*/ 531221 h 1445621"/>
                  <a:gd name="connsiteX3" fmla="*/ 2060575 w 4953000"/>
                  <a:gd name="connsiteY3" fmla="*/ 997 h 1445621"/>
                  <a:gd name="connsiteX4" fmla="*/ 2892425 w 4953000"/>
                  <a:gd name="connsiteY4" fmla="*/ 42272 h 1445621"/>
                  <a:gd name="connsiteX5" fmla="*/ 2892425 w 4953000"/>
                  <a:gd name="connsiteY5" fmla="*/ 528046 h 1445621"/>
                  <a:gd name="connsiteX6" fmla="*/ 4891305 w 4953000"/>
                  <a:gd name="connsiteY6" fmla="*/ 531221 h 1445621"/>
                  <a:gd name="connsiteX7" fmla="*/ 4953000 w 4953000"/>
                  <a:gd name="connsiteY7" fmla="*/ 592916 h 1445621"/>
                  <a:gd name="connsiteX8" fmla="*/ 4953000 w 4953000"/>
                  <a:gd name="connsiteY8" fmla="*/ 1383926 h 1445621"/>
                  <a:gd name="connsiteX9" fmla="*/ 4891305 w 4953000"/>
                  <a:gd name="connsiteY9" fmla="*/ 1445621 h 1445621"/>
                  <a:gd name="connsiteX10" fmla="*/ 61695 w 4953000"/>
                  <a:gd name="connsiteY10" fmla="*/ 1445621 h 1445621"/>
                  <a:gd name="connsiteX11" fmla="*/ 0 w 4953000"/>
                  <a:gd name="connsiteY11" fmla="*/ 1383926 h 1445621"/>
                  <a:gd name="connsiteX12" fmla="*/ 0 w 4953000"/>
                  <a:gd name="connsiteY12" fmla="*/ 592916 h 1445621"/>
                  <a:gd name="connsiteX0" fmla="*/ 0 w 4953000"/>
                  <a:gd name="connsiteY0" fmla="*/ 607106 h 1459811"/>
                  <a:gd name="connsiteX1" fmla="*/ 61695 w 4953000"/>
                  <a:gd name="connsiteY1" fmla="*/ 545411 h 1459811"/>
                  <a:gd name="connsiteX2" fmla="*/ 2063750 w 4953000"/>
                  <a:gd name="connsiteY2" fmla="*/ 545411 h 1459811"/>
                  <a:gd name="connsiteX3" fmla="*/ 2060575 w 4953000"/>
                  <a:gd name="connsiteY3" fmla="*/ 15187 h 1459811"/>
                  <a:gd name="connsiteX4" fmla="*/ 2892425 w 4953000"/>
                  <a:gd name="connsiteY4" fmla="*/ 56462 h 1459811"/>
                  <a:gd name="connsiteX5" fmla="*/ 2892425 w 4953000"/>
                  <a:gd name="connsiteY5" fmla="*/ 542236 h 1459811"/>
                  <a:gd name="connsiteX6" fmla="*/ 4891305 w 4953000"/>
                  <a:gd name="connsiteY6" fmla="*/ 545411 h 1459811"/>
                  <a:gd name="connsiteX7" fmla="*/ 4953000 w 4953000"/>
                  <a:gd name="connsiteY7" fmla="*/ 607106 h 1459811"/>
                  <a:gd name="connsiteX8" fmla="*/ 4953000 w 4953000"/>
                  <a:gd name="connsiteY8" fmla="*/ 1398116 h 1459811"/>
                  <a:gd name="connsiteX9" fmla="*/ 4891305 w 4953000"/>
                  <a:gd name="connsiteY9" fmla="*/ 1459811 h 1459811"/>
                  <a:gd name="connsiteX10" fmla="*/ 61695 w 4953000"/>
                  <a:gd name="connsiteY10" fmla="*/ 1459811 h 1459811"/>
                  <a:gd name="connsiteX11" fmla="*/ 0 w 4953000"/>
                  <a:gd name="connsiteY11" fmla="*/ 1398116 h 1459811"/>
                  <a:gd name="connsiteX12" fmla="*/ 0 w 4953000"/>
                  <a:gd name="connsiteY12" fmla="*/ 607106 h 1459811"/>
                  <a:gd name="connsiteX0" fmla="*/ 0 w 4953000"/>
                  <a:gd name="connsiteY0" fmla="*/ 635070 h 1487775"/>
                  <a:gd name="connsiteX1" fmla="*/ 61695 w 4953000"/>
                  <a:gd name="connsiteY1" fmla="*/ 573375 h 1487775"/>
                  <a:gd name="connsiteX2" fmla="*/ 2063750 w 4953000"/>
                  <a:gd name="connsiteY2" fmla="*/ 573375 h 1487775"/>
                  <a:gd name="connsiteX3" fmla="*/ 2060575 w 4953000"/>
                  <a:gd name="connsiteY3" fmla="*/ 43151 h 1487775"/>
                  <a:gd name="connsiteX4" fmla="*/ 2806700 w 4953000"/>
                  <a:gd name="connsiteY4" fmla="*/ 36802 h 1487775"/>
                  <a:gd name="connsiteX5" fmla="*/ 2892425 w 4953000"/>
                  <a:gd name="connsiteY5" fmla="*/ 84426 h 1487775"/>
                  <a:gd name="connsiteX6" fmla="*/ 2892425 w 4953000"/>
                  <a:gd name="connsiteY6" fmla="*/ 570200 h 1487775"/>
                  <a:gd name="connsiteX7" fmla="*/ 4891305 w 4953000"/>
                  <a:gd name="connsiteY7" fmla="*/ 573375 h 1487775"/>
                  <a:gd name="connsiteX8" fmla="*/ 4953000 w 4953000"/>
                  <a:gd name="connsiteY8" fmla="*/ 635070 h 1487775"/>
                  <a:gd name="connsiteX9" fmla="*/ 4953000 w 4953000"/>
                  <a:gd name="connsiteY9" fmla="*/ 1426080 h 1487775"/>
                  <a:gd name="connsiteX10" fmla="*/ 4891305 w 4953000"/>
                  <a:gd name="connsiteY10" fmla="*/ 1487775 h 1487775"/>
                  <a:gd name="connsiteX11" fmla="*/ 61695 w 4953000"/>
                  <a:gd name="connsiteY11" fmla="*/ 1487775 h 1487775"/>
                  <a:gd name="connsiteX12" fmla="*/ 0 w 4953000"/>
                  <a:gd name="connsiteY12" fmla="*/ 1426080 h 1487775"/>
                  <a:gd name="connsiteX13" fmla="*/ 0 w 4953000"/>
                  <a:gd name="connsiteY13" fmla="*/ 635070 h 1487775"/>
                  <a:gd name="connsiteX0" fmla="*/ 0 w 4953000"/>
                  <a:gd name="connsiteY0" fmla="*/ 643403 h 1496108"/>
                  <a:gd name="connsiteX1" fmla="*/ 61695 w 4953000"/>
                  <a:gd name="connsiteY1" fmla="*/ 581708 h 1496108"/>
                  <a:gd name="connsiteX2" fmla="*/ 2063750 w 4953000"/>
                  <a:gd name="connsiteY2" fmla="*/ 581708 h 1496108"/>
                  <a:gd name="connsiteX3" fmla="*/ 2060575 w 4953000"/>
                  <a:gd name="connsiteY3" fmla="*/ 51484 h 1496108"/>
                  <a:gd name="connsiteX4" fmla="*/ 2120900 w 4953000"/>
                  <a:gd name="connsiteY4" fmla="*/ 19735 h 1496108"/>
                  <a:gd name="connsiteX5" fmla="*/ 2806700 w 4953000"/>
                  <a:gd name="connsiteY5" fmla="*/ 45135 h 1496108"/>
                  <a:gd name="connsiteX6" fmla="*/ 2892425 w 4953000"/>
                  <a:gd name="connsiteY6" fmla="*/ 92759 h 1496108"/>
                  <a:gd name="connsiteX7" fmla="*/ 2892425 w 4953000"/>
                  <a:gd name="connsiteY7" fmla="*/ 578533 h 1496108"/>
                  <a:gd name="connsiteX8" fmla="*/ 4891305 w 4953000"/>
                  <a:gd name="connsiteY8" fmla="*/ 581708 h 1496108"/>
                  <a:gd name="connsiteX9" fmla="*/ 4953000 w 4953000"/>
                  <a:gd name="connsiteY9" fmla="*/ 643403 h 1496108"/>
                  <a:gd name="connsiteX10" fmla="*/ 4953000 w 4953000"/>
                  <a:gd name="connsiteY10" fmla="*/ 1434413 h 1496108"/>
                  <a:gd name="connsiteX11" fmla="*/ 4891305 w 4953000"/>
                  <a:gd name="connsiteY11" fmla="*/ 1496108 h 1496108"/>
                  <a:gd name="connsiteX12" fmla="*/ 61695 w 4953000"/>
                  <a:gd name="connsiteY12" fmla="*/ 1496108 h 1496108"/>
                  <a:gd name="connsiteX13" fmla="*/ 0 w 4953000"/>
                  <a:gd name="connsiteY13" fmla="*/ 1434413 h 1496108"/>
                  <a:gd name="connsiteX14" fmla="*/ 0 w 4953000"/>
                  <a:gd name="connsiteY14" fmla="*/ 643403 h 1496108"/>
                  <a:gd name="connsiteX0" fmla="*/ 0 w 4953000"/>
                  <a:gd name="connsiteY0" fmla="*/ 623724 h 1476429"/>
                  <a:gd name="connsiteX1" fmla="*/ 61695 w 4953000"/>
                  <a:gd name="connsiteY1" fmla="*/ 562029 h 1476429"/>
                  <a:gd name="connsiteX2" fmla="*/ 2063750 w 4953000"/>
                  <a:gd name="connsiteY2" fmla="*/ 562029 h 1476429"/>
                  <a:gd name="connsiteX3" fmla="*/ 2060575 w 4953000"/>
                  <a:gd name="connsiteY3" fmla="*/ 92130 h 1476429"/>
                  <a:gd name="connsiteX4" fmla="*/ 2120900 w 4953000"/>
                  <a:gd name="connsiteY4" fmla="*/ 56 h 1476429"/>
                  <a:gd name="connsiteX5" fmla="*/ 2806700 w 4953000"/>
                  <a:gd name="connsiteY5" fmla="*/ 25456 h 1476429"/>
                  <a:gd name="connsiteX6" fmla="*/ 2892425 w 4953000"/>
                  <a:gd name="connsiteY6" fmla="*/ 73080 h 1476429"/>
                  <a:gd name="connsiteX7" fmla="*/ 2892425 w 4953000"/>
                  <a:gd name="connsiteY7" fmla="*/ 558854 h 1476429"/>
                  <a:gd name="connsiteX8" fmla="*/ 4891305 w 4953000"/>
                  <a:gd name="connsiteY8" fmla="*/ 562029 h 1476429"/>
                  <a:gd name="connsiteX9" fmla="*/ 4953000 w 4953000"/>
                  <a:gd name="connsiteY9" fmla="*/ 623724 h 1476429"/>
                  <a:gd name="connsiteX10" fmla="*/ 4953000 w 4953000"/>
                  <a:gd name="connsiteY10" fmla="*/ 1414734 h 1476429"/>
                  <a:gd name="connsiteX11" fmla="*/ 4891305 w 4953000"/>
                  <a:gd name="connsiteY11" fmla="*/ 1476429 h 1476429"/>
                  <a:gd name="connsiteX12" fmla="*/ 61695 w 4953000"/>
                  <a:gd name="connsiteY12" fmla="*/ 1476429 h 1476429"/>
                  <a:gd name="connsiteX13" fmla="*/ 0 w 4953000"/>
                  <a:gd name="connsiteY13" fmla="*/ 1414734 h 1476429"/>
                  <a:gd name="connsiteX14" fmla="*/ 0 w 4953000"/>
                  <a:gd name="connsiteY14" fmla="*/ 623724 h 1476429"/>
                  <a:gd name="connsiteX0" fmla="*/ 0 w 4953000"/>
                  <a:gd name="connsiteY0" fmla="*/ 623724 h 1476429"/>
                  <a:gd name="connsiteX1" fmla="*/ 61695 w 4953000"/>
                  <a:gd name="connsiteY1" fmla="*/ 562029 h 1476429"/>
                  <a:gd name="connsiteX2" fmla="*/ 2063750 w 4953000"/>
                  <a:gd name="connsiteY2" fmla="*/ 562029 h 1476429"/>
                  <a:gd name="connsiteX3" fmla="*/ 2060575 w 4953000"/>
                  <a:gd name="connsiteY3" fmla="*/ 92130 h 1476429"/>
                  <a:gd name="connsiteX4" fmla="*/ 2120900 w 4953000"/>
                  <a:gd name="connsiteY4" fmla="*/ 56 h 1476429"/>
                  <a:gd name="connsiteX5" fmla="*/ 2806700 w 4953000"/>
                  <a:gd name="connsiteY5" fmla="*/ 25456 h 1476429"/>
                  <a:gd name="connsiteX6" fmla="*/ 2892425 w 4953000"/>
                  <a:gd name="connsiteY6" fmla="*/ 73080 h 1476429"/>
                  <a:gd name="connsiteX7" fmla="*/ 2892425 w 4953000"/>
                  <a:gd name="connsiteY7" fmla="*/ 558854 h 1476429"/>
                  <a:gd name="connsiteX8" fmla="*/ 4891305 w 4953000"/>
                  <a:gd name="connsiteY8" fmla="*/ 562029 h 1476429"/>
                  <a:gd name="connsiteX9" fmla="*/ 4953000 w 4953000"/>
                  <a:gd name="connsiteY9" fmla="*/ 623724 h 1476429"/>
                  <a:gd name="connsiteX10" fmla="*/ 4953000 w 4953000"/>
                  <a:gd name="connsiteY10" fmla="*/ 1414734 h 1476429"/>
                  <a:gd name="connsiteX11" fmla="*/ 4891305 w 4953000"/>
                  <a:gd name="connsiteY11" fmla="*/ 1476429 h 1476429"/>
                  <a:gd name="connsiteX12" fmla="*/ 61695 w 4953000"/>
                  <a:gd name="connsiteY12" fmla="*/ 1476429 h 1476429"/>
                  <a:gd name="connsiteX13" fmla="*/ 0 w 4953000"/>
                  <a:gd name="connsiteY13" fmla="*/ 1414734 h 1476429"/>
                  <a:gd name="connsiteX14" fmla="*/ 0 w 4953000"/>
                  <a:gd name="connsiteY14" fmla="*/ 623724 h 1476429"/>
                  <a:gd name="connsiteX0" fmla="*/ 0 w 4953000"/>
                  <a:gd name="connsiteY0" fmla="*/ 623724 h 1476429"/>
                  <a:gd name="connsiteX1" fmla="*/ 61695 w 4953000"/>
                  <a:gd name="connsiteY1" fmla="*/ 562029 h 1476429"/>
                  <a:gd name="connsiteX2" fmla="*/ 2063750 w 4953000"/>
                  <a:gd name="connsiteY2" fmla="*/ 562029 h 1476429"/>
                  <a:gd name="connsiteX3" fmla="*/ 2060575 w 4953000"/>
                  <a:gd name="connsiteY3" fmla="*/ 92130 h 1476429"/>
                  <a:gd name="connsiteX4" fmla="*/ 2120900 w 4953000"/>
                  <a:gd name="connsiteY4" fmla="*/ 56 h 1476429"/>
                  <a:gd name="connsiteX5" fmla="*/ 2806700 w 4953000"/>
                  <a:gd name="connsiteY5" fmla="*/ 25456 h 1476429"/>
                  <a:gd name="connsiteX6" fmla="*/ 2892425 w 4953000"/>
                  <a:gd name="connsiteY6" fmla="*/ 73080 h 1476429"/>
                  <a:gd name="connsiteX7" fmla="*/ 2892425 w 4953000"/>
                  <a:gd name="connsiteY7" fmla="*/ 558854 h 1476429"/>
                  <a:gd name="connsiteX8" fmla="*/ 4891305 w 4953000"/>
                  <a:gd name="connsiteY8" fmla="*/ 562029 h 1476429"/>
                  <a:gd name="connsiteX9" fmla="*/ 4953000 w 4953000"/>
                  <a:gd name="connsiteY9" fmla="*/ 623724 h 1476429"/>
                  <a:gd name="connsiteX10" fmla="*/ 4953000 w 4953000"/>
                  <a:gd name="connsiteY10" fmla="*/ 1414734 h 1476429"/>
                  <a:gd name="connsiteX11" fmla="*/ 4891305 w 4953000"/>
                  <a:gd name="connsiteY11" fmla="*/ 1476429 h 1476429"/>
                  <a:gd name="connsiteX12" fmla="*/ 61695 w 4953000"/>
                  <a:gd name="connsiteY12" fmla="*/ 1476429 h 1476429"/>
                  <a:gd name="connsiteX13" fmla="*/ 0 w 4953000"/>
                  <a:gd name="connsiteY13" fmla="*/ 1414734 h 1476429"/>
                  <a:gd name="connsiteX14" fmla="*/ 0 w 4953000"/>
                  <a:gd name="connsiteY14" fmla="*/ 623724 h 1476429"/>
                  <a:gd name="connsiteX0" fmla="*/ 0 w 4953000"/>
                  <a:gd name="connsiteY0" fmla="*/ 623724 h 1476429"/>
                  <a:gd name="connsiteX1" fmla="*/ 61695 w 4953000"/>
                  <a:gd name="connsiteY1" fmla="*/ 562029 h 1476429"/>
                  <a:gd name="connsiteX2" fmla="*/ 2063750 w 4953000"/>
                  <a:gd name="connsiteY2" fmla="*/ 562029 h 1476429"/>
                  <a:gd name="connsiteX3" fmla="*/ 2060575 w 4953000"/>
                  <a:gd name="connsiteY3" fmla="*/ 92130 h 1476429"/>
                  <a:gd name="connsiteX4" fmla="*/ 2120900 w 4953000"/>
                  <a:gd name="connsiteY4" fmla="*/ 56 h 1476429"/>
                  <a:gd name="connsiteX5" fmla="*/ 2806700 w 4953000"/>
                  <a:gd name="connsiteY5" fmla="*/ 25456 h 1476429"/>
                  <a:gd name="connsiteX6" fmla="*/ 2886075 w 4953000"/>
                  <a:gd name="connsiteY6" fmla="*/ 101655 h 1476429"/>
                  <a:gd name="connsiteX7" fmla="*/ 2892425 w 4953000"/>
                  <a:gd name="connsiteY7" fmla="*/ 558854 h 1476429"/>
                  <a:gd name="connsiteX8" fmla="*/ 4891305 w 4953000"/>
                  <a:gd name="connsiteY8" fmla="*/ 562029 h 1476429"/>
                  <a:gd name="connsiteX9" fmla="*/ 4953000 w 4953000"/>
                  <a:gd name="connsiteY9" fmla="*/ 623724 h 1476429"/>
                  <a:gd name="connsiteX10" fmla="*/ 4953000 w 4953000"/>
                  <a:gd name="connsiteY10" fmla="*/ 1414734 h 1476429"/>
                  <a:gd name="connsiteX11" fmla="*/ 4891305 w 4953000"/>
                  <a:gd name="connsiteY11" fmla="*/ 1476429 h 1476429"/>
                  <a:gd name="connsiteX12" fmla="*/ 61695 w 4953000"/>
                  <a:gd name="connsiteY12" fmla="*/ 1476429 h 1476429"/>
                  <a:gd name="connsiteX13" fmla="*/ 0 w 4953000"/>
                  <a:gd name="connsiteY13" fmla="*/ 1414734 h 1476429"/>
                  <a:gd name="connsiteX14" fmla="*/ 0 w 4953000"/>
                  <a:gd name="connsiteY14" fmla="*/ 623724 h 1476429"/>
                  <a:gd name="connsiteX0" fmla="*/ 0 w 4953000"/>
                  <a:gd name="connsiteY0" fmla="*/ 623724 h 1476429"/>
                  <a:gd name="connsiteX1" fmla="*/ 61695 w 4953000"/>
                  <a:gd name="connsiteY1" fmla="*/ 562029 h 1476429"/>
                  <a:gd name="connsiteX2" fmla="*/ 2063750 w 4953000"/>
                  <a:gd name="connsiteY2" fmla="*/ 562029 h 1476429"/>
                  <a:gd name="connsiteX3" fmla="*/ 2060575 w 4953000"/>
                  <a:gd name="connsiteY3" fmla="*/ 92130 h 1476429"/>
                  <a:gd name="connsiteX4" fmla="*/ 2120900 w 4953000"/>
                  <a:gd name="connsiteY4" fmla="*/ 56 h 1476429"/>
                  <a:gd name="connsiteX5" fmla="*/ 2806700 w 4953000"/>
                  <a:gd name="connsiteY5" fmla="*/ 25456 h 1476429"/>
                  <a:gd name="connsiteX6" fmla="*/ 2886075 w 4953000"/>
                  <a:gd name="connsiteY6" fmla="*/ 101655 h 1476429"/>
                  <a:gd name="connsiteX7" fmla="*/ 2892425 w 4953000"/>
                  <a:gd name="connsiteY7" fmla="*/ 558854 h 1476429"/>
                  <a:gd name="connsiteX8" fmla="*/ 4891305 w 4953000"/>
                  <a:gd name="connsiteY8" fmla="*/ 562029 h 1476429"/>
                  <a:gd name="connsiteX9" fmla="*/ 4953000 w 4953000"/>
                  <a:gd name="connsiteY9" fmla="*/ 623724 h 1476429"/>
                  <a:gd name="connsiteX10" fmla="*/ 4953000 w 4953000"/>
                  <a:gd name="connsiteY10" fmla="*/ 1414734 h 1476429"/>
                  <a:gd name="connsiteX11" fmla="*/ 4891305 w 4953000"/>
                  <a:gd name="connsiteY11" fmla="*/ 1476429 h 1476429"/>
                  <a:gd name="connsiteX12" fmla="*/ 61695 w 4953000"/>
                  <a:gd name="connsiteY12" fmla="*/ 1476429 h 1476429"/>
                  <a:gd name="connsiteX13" fmla="*/ 0 w 4953000"/>
                  <a:gd name="connsiteY13" fmla="*/ 1414734 h 1476429"/>
                  <a:gd name="connsiteX14" fmla="*/ 0 w 4953000"/>
                  <a:gd name="connsiteY14" fmla="*/ 623724 h 1476429"/>
                  <a:gd name="connsiteX0" fmla="*/ 0 w 4953000"/>
                  <a:gd name="connsiteY0" fmla="*/ 623724 h 1476429"/>
                  <a:gd name="connsiteX1" fmla="*/ 61695 w 4953000"/>
                  <a:gd name="connsiteY1" fmla="*/ 562029 h 1476429"/>
                  <a:gd name="connsiteX2" fmla="*/ 2063750 w 4953000"/>
                  <a:gd name="connsiteY2" fmla="*/ 562029 h 1476429"/>
                  <a:gd name="connsiteX3" fmla="*/ 2060575 w 4953000"/>
                  <a:gd name="connsiteY3" fmla="*/ 92130 h 1476429"/>
                  <a:gd name="connsiteX4" fmla="*/ 2120900 w 4953000"/>
                  <a:gd name="connsiteY4" fmla="*/ 56 h 1476429"/>
                  <a:gd name="connsiteX5" fmla="*/ 2806700 w 4953000"/>
                  <a:gd name="connsiteY5" fmla="*/ 25456 h 1476429"/>
                  <a:gd name="connsiteX6" fmla="*/ 2886075 w 4953000"/>
                  <a:gd name="connsiteY6" fmla="*/ 101655 h 1476429"/>
                  <a:gd name="connsiteX7" fmla="*/ 2892425 w 4953000"/>
                  <a:gd name="connsiteY7" fmla="*/ 558854 h 1476429"/>
                  <a:gd name="connsiteX8" fmla="*/ 4891305 w 4953000"/>
                  <a:gd name="connsiteY8" fmla="*/ 562029 h 1476429"/>
                  <a:gd name="connsiteX9" fmla="*/ 4953000 w 4953000"/>
                  <a:gd name="connsiteY9" fmla="*/ 623724 h 1476429"/>
                  <a:gd name="connsiteX10" fmla="*/ 4953000 w 4953000"/>
                  <a:gd name="connsiteY10" fmla="*/ 1414734 h 1476429"/>
                  <a:gd name="connsiteX11" fmla="*/ 4891305 w 4953000"/>
                  <a:gd name="connsiteY11" fmla="*/ 1476429 h 1476429"/>
                  <a:gd name="connsiteX12" fmla="*/ 61695 w 4953000"/>
                  <a:gd name="connsiteY12" fmla="*/ 1476429 h 1476429"/>
                  <a:gd name="connsiteX13" fmla="*/ 0 w 4953000"/>
                  <a:gd name="connsiteY13" fmla="*/ 1414734 h 1476429"/>
                  <a:gd name="connsiteX14" fmla="*/ 0 w 4953000"/>
                  <a:gd name="connsiteY14" fmla="*/ 623724 h 1476429"/>
                  <a:gd name="connsiteX0" fmla="*/ 0 w 4953000"/>
                  <a:gd name="connsiteY0" fmla="*/ 623724 h 1476429"/>
                  <a:gd name="connsiteX1" fmla="*/ 61695 w 4953000"/>
                  <a:gd name="connsiteY1" fmla="*/ 562029 h 1476429"/>
                  <a:gd name="connsiteX2" fmla="*/ 2063750 w 4953000"/>
                  <a:gd name="connsiteY2" fmla="*/ 562029 h 1476429"/>
                  <a:gd name="connsiteX3" fmla="*/ 2060575 w 4953000"/>
                  <a:gd name="connsiteY3" fmla="*/ 92130 h 1476429"/>
                  <a:gd name="connsiteX4" fmla="*/ 2120900 w 4953000"/>
                  <a:gd name="connsiteY4" fmla="*/ 56 h 1476429"/>
                  <a:gd name="connsiteX5" fmla="*/ 2806700 w 4953000"/>
                  <a:gd name="connsiteY5" fmla="*/ 25456 h 1476429"/>
                  <a:gd name="connsiteX6" fmla="*/ 2886075 w 4953000"/>
                  <a:gd name="connsiteY6" fmla="*/ 101655 h 1476429"/>
                  <a:gd name="connsiteX7" fmla="*/ 2892425 w 4953000"/>
                  <a:gd name="connsiteY7" fmla="*/ 558854 h 1476429"/>
                  <a:gd name="connsiteX8" fmla="*/ 4891305 w 4953000"/>
                  <a:gd name="connsiteY8" fmla="*/ 562029 h 1476429"/>
                  <a:gd name="connsiteX9" fmla="*/ 4953000 w 4953000"/>
                  <a:gd name="connsiteY9" fmla="*/ 623724 h 1476429"/>
                  <a:gd name="connsiteX10" fmla="*/ 4953000 w 4953000"/>
                  <a:gd name="connsiteY10" fmla="*/ 1414734 h 1476429"/>
                  <a:gd name="connsiteX11" fmla="*/ 4891305 w 4953000"/>
                  <a:gd name="connsiteY11" fmla="*/ 1476429 h 1476429"/>
                  <a:gd name="connsiteX12" fmla="*/ 61695 w 4953000"/>
                  <a:gd name="connsiteY12" fmla="*/ 1476429 h 1476429"/>
                  <a:gd name="connsiteX13" fmla="*/ 0 w 4953000"/>
                  <a:gd name="connsiteY13" fmla="*/ 1414734 h 1476429"/>
                  <a:gd name="connsiteX14" fmla="*/ 0 w 4953000"/>
                  <a:gd name="connsiteY14" fmla="*/ 623724 h 1476429"/>
                  <a:gd name="connsiteX0" fmla="*/ 0 w 4953000"/>
                  <a:gd name="connsiteY0" fmla="*/ 623724 h 1476429"/>
                  <a:gd name="connsiteX1" fmla="*/ 61695 w 4953000"/>
                  <a:gd name="connsiteY1" fmla="*/ 562029 h 1476429"/>
                  <a:gd name="connsiteX2" fmla="*/ 2063750 w 4953000"/>
                  <a:gd name="connsiteY2" fmla="*/ 562029 h 1476429"/>
                  <a:gd name="connsiteX3" fmla="*/ 2060575 w 4953000"/>
                  <a:gd name="connsiteY3" fmla="*/ 92130 h 1476429"/>
                  <a:gd name="connsiteX4" fmla="*/ 2120900 w 4953000"/>
                  <a:gd name="connsiteY4" fmla="*/ 56 h 1476429"/>
                  <a:gd name="connsiteX5" fmla="*/ 2806700 w 4953000"/>
                  <a:gd name="connsiteY5" fmla="*/ 25456 h 1476429"/>
                  <a:gd name="connsiteX6" fmla="*/ 2886075 w 4953000"/>
                  <a:gd name="connsiteY6" fmla="*/ 101655 h 1476429"/>
                  <a:gd name="connsiteX7" fmla="*/ 2892425 w 4953000"/>
                  <a:gd name="connsiteY7" fmla="*/ 558854 h 1476429"/>
                  <a:gd name="connsiteX8" fmla="*/ 4891305 w 4953000"/>
                  <a:gd name="connsiteY8" fmla="*/ 562029 h 1476429"/>
                  <a:gd name="connsiteX9" fmla="*/ 4953000 w 4953000"/>
                  <a:gd name="connsiteY9" fmla="*/ 623724 h 1476429"/>
                  <a:gd name="connsiteX10" fmla="*/ 4953000 w 4953000"/>
                  <a:gd name="connsiteY10" fmla="*/ 1414734 h 1476429"/>
                  <a:gd name="connsiteX11" fmla="*/ 4891305 w 4953000"/>
                  <a:gd name="connsiteY11" fmla="*/ 1476429 h 1476429"/>
                  <a:gd name="connsiteX12" fmla="*/ 61695 w 4953000"/>
                  <a:gd name="connsiteY12" fmla="*/ 1476429 h 1476429"/>
                  <a:gd name="connsiteX13" fmla="*/ 0 w 4953000"/>
                  <a:gd name="connsiteY13" fmla="*/ 1414734 h 1476429"/>
                  <a:gd name="connsiteX14" fmla="*/ 0 w 4953000"/>
                  <a:gd name="connsiteY14" fmla="*/ 623724 h 1476429"/>
                  <a:gd name="connsiteX0" fmla="*/ 0 w 4953000"/>
                  <a:gd name="connsiteY0" fmla="*/ 623691 h 1476396"/>
                  <a:gd name="connsiteX1" fmla="*/ 61695 w 4953000"/>
                  <a:gd name="connsiteY1" fmla="*/ 561996 h 1476396"/>
                  <a:gd name="connsiteX2" fmla="*/ 2063750 w 4953000"/>
                  <a:gd name="connsiteY2" fmla="*/ 561996 h 1476396"/>
                  <a:gd name="connsiteX3" fmla="*/ 2060575 w 4953000"/>
                  <a:gd name="connsiteY3" fmla="*/ 92097 h 1476396"/>
                  <a:gd name="connsiteX4" fmla="*/ 2120900 w 4953000"/>
                  <a:gd name="connsiteY4" fmla="*/ 23 h 1476396"/>
                  <a:gd name="connsiteX5" fmla="*/ 2806700 w 4953000"/>
                  <a:gd name="connsiteY5" fmla="*/ 25423 h 1476396"/>
                  <a:gd name="connsiteX6" fmla="*/ 2886075 w 4953000"/>
                  <a:gd name="connsiteY6" fmla="*/ 101622 h 1476396"/>
                  <a:gd name="connsiteX7" fmla="*/ 2892425 w 4953000"/>
                  <a:gd name="connsiteY7" fmla="*/ 558821 h 1476396"/>
                  <a:gd name="connsiteX8" fmla="*/ 4891305 w 4953000"/>
                  <a:gd name="connsiteY8" fmla="*/ 561996 h 1476396"/>
                  <a:gd name="connsiteX9" fmla="*/ 4953000 w 4953000"/>
                  <a:gd name="connsiteY9" fmla="*/ 623691 h 1476396"/>
                  <a:gd name="connsiteX10" fmla="*/ 4953000 w 4953000"/>
                  <a:gd name="connsiteY10" fmla="*/ 1414701 h 1476396"/>
                  <a:gd name="connsiteX11" fmla="*/ 4891305 w 4953000"/>
                  <a:gd name="connsiteY11" fmla="*/ 1476396 h 1476396"/>
                  <a:gd name="connsiteX12" fmla="*/ 61695 w 4953000"/>
                  <a:gd name="connsiteY12" fmla="*/ 1476396 h 1476396"/>
                  <a:gd name="connsiteX13" fmla="*/ 0 w 4953000"/>
                  <a:gd name="connsiteY13" fmla="*/ 1414701 h 1476396"/>
                  <a:gd name="connsiteX14" fmla="*/ 0 w 4953000"/>
                  <a:gd name="connsiteY14" fmla="*/ 623691 h 1476396"/>
                  <a:gd name="connsiteX0" fmla="*/ 0 w 4953000"/>
                  <a:gd name="connsiteY0" fmla="*/ 598268 h 1450973"/>
                  <a:gd name="connsiteX1" fmla="*/ 61695 w 4953000"/>
                  <a:gd name="connsiteY1" fmla="*/ 536573 h 1450973"/>
                  <a:gd name="connsiteX2" fmla="*/ 2063750 w 4953000"/>
                  <a:gd name="connsiteY2" fmla="*/ 536573 h 1450973"/>
                  <a:gd name="connsiteX3" fmla="*/ 2060575 w 4953000"/>
                  <a:gd name="connsiteY3" fmla="*/ 66674 h 1450973"/>
                  <a:gd name="connsiteX4" fmla="*/ 2114550 w 4953000"/>
                  <a:gd name="connsiteY4" fmla="*/ 3175 h 1450973"/>
                  <a:gd name="connsiteX5" fmla="*/ 2806700 w 4953000"/>
                  <a:gd name="connsiteY5" fmla="*/ 0 h 1450973"/>
                  <a:gd name="connsiteX6" fmla="*/ 2886075 w 4953000"/>
                  <a:gd name="connsiteY6" fmla="*/ 76199 h 1450973"/>
                  <a:gd name="connsiteX7" fmla="*/ 2892425 w 4953000"/>
                  <a:gd name="connsiteY7" fmla="*/ 533398 h 1450973"/>
                  <a:gd name="connsiteX8" fmla="*/ 4891305 w 4953000"/>
                  <a:gd name="connsiteY8" fmla="*/ 536573 h 1450973"/>
                  <a:gd name="connsiteX9" fmla="*/ 4953000 w 4953000"/>
                  <a:gd name="connsiteY9" fmla="*/ 598268 h 1450973"/>
                  <a:gd name="connsiteX10" fmla="*/ 4953000 w 4953000"/>
                  <a:gd name="connsiteY10" fmla="*/ 1389278 h 1450973"/>
                  <a:gd name="connsiteX11" fmla="*/ 4891305 w 4953000"/>
                  <a:gd name="connsiteY11" fmla="*/ 1450973 h 1450973"/>
                  <a:gd name="connsiteX12" fmla="*/ 61695 w 4953000"/>
                  <a:gd name="connsiteY12" fmla="*/ 1450973 h 1450973"/>
                  <a:gd name="connsiteX13" fmla="*/ 0 w 4953000"/>
                  <a:gd name="connsiteY13" fmla="*/ 1389278 h 1450973"/>
                  <a:gd name="connsiteX14" fmla="*/ 0 w 4953000"/>
                  <a:gd name="connsiteY14" fmla="*/ 598268 h 1450973"/>
                  <a:gd name="connsiteX0" fmla="*/ 0 w 4953000"/>
                  <a:gd name="connsiteY0" fmla="*/ 598268 h 1450973"/>
                  <a:gd name="connsiteX1" fmla="*/ 61695 w 4953000"/>
                  <a:gd name="connsiteY1" fmla="*/ 536573 h 1450973"/>
                  <a:gd name="connsiteX2" fmla="*/ 2063750 w 4953000"/>
                  <a:gd name="connsiteY2" fmla="*/ 536573 h 1450973"/>
                  <a:gd name="connsiteX3" fmla="*/ 2060575 w 4953000"/>
                  <a:gd name="connsiteY3" fmla="*/ 66674 h 1450973"/>
                  <a:gd name="connsiteX4" fmla="*/ 2114550 w 4953000"/>
                  <a:gd name="connsiteY4" fmla="*/ 3175 h 1450973"/>
                  <a:gd name="connsiteX5" fmla="*/ 2806700 w 4953000"/>
                  <a:gd name="connsiteY5" fmla="*/ 0 h 1450973"/>
                  <a:gd name="connsiteX6" fmla="*/ 2886075 w 4953000"/>
                  <a:gd name="connsiteY6" fmla="*/ 76199 h 1450973"/>
                  <a:gd name="connsiteX7" fmla="*/ 2892425 w 4953000"/>
                  <a:gd name="connsiteY7" fmla="*/ 533398 h 1450973"/>
                  <a:gd name="connsiteX8" fmla="*/ 4891305 w 4953000"/>
                  <a:gd name="connsiteY8" fmla="*/ 536573 h 1450973"/>
                  <a:gd name="connsiteX9" fmla="*/ 4953000 w 4953000"/>
                  <a:gd name="connsiteY9" fmla="*/ 598268 h 1450973"/>
                  <a:gd name="connsiteX10" fmla="*/ 4953000 w 4953000"/>
                  <a:gd name="connsiteY10" fmla="*/ 1389278 h 1450973"/>
                  <a:gd name="connsiteX11" fmla="*/ 4891305 w 4953000"/>
                  <a:gd name="connsiteY11" fmla="*/ 1450973 h 1450973"/>
                  <a:gd name="connsiteX12" fmla="*/ 61695 w 4953000"/>
                  <a:gd name="connsiteY12" fmla="*/ 1450973 h 1450973"/>
                  <a:gd name="connsiteX13" fmla="*/ 0 w 4953000"/>
                  <a:gd name="connsiteY13" fmla="*/ 1389278 h 1450973"/>
                  <a:gd name="connsiteX14" fmla="*/ 0 w 4953000"/>
                  <a:gd name="connsiteY14" fmla="*/ 598268 h 1450973"/>
                  <a:gd name="connsiteX0" fmla="*/ 0 w 4953000"/>
                  <a:gd name="connsiteY0" fmla="*/ 598268 h 1450973"/>
                  <a:gd name="connsiteX1" fmla="*/ 61695 w 4953000"/>
                  <a:gd name="connsiteY1" fmla="*/ 536573 h 1450973"/>
                  <a:gd name="connsiteX2" fmla="*/ 2063750 w 4953000"/>
                  <a:gd name="connsiteY2" fmla="*/ 536573 h 1450973"/>
                  <a:gd name="connsiteX3" fmla="*/ 2060575 w 4953000"/>
                  <a:gd name="connsiteY3" fmla="*/ 66674 h 1450973"/>
                  <a:gd name="connsiteX4" fmla="*/ 2114550 w 4953000"/>
                  <a:gd name="connsiteY4" fmla="*/ 3175 h 1450973"/>
                  <a:gd name="connsiteX5" fmla="*/ 2806700 w 4953000"/>
                  <a:gd name="connsiteY5" fmla="*/ 0 h 1450973"/>
                  <a:gd name="connsiteX6" fmla="*/ 2886075 w 4953000"/>
                  <a:gd name="connsiteY6" fmla="*/ 76199 h 1450973"/>
                  <a:gd name="connsiteX7" fmla="*/ 2892425 w 4953000"/>
                  <a:gd name="connsiteY7" fmla="*/ 533398 h 1450973"/>
                  <a:gd name="connsiteX8" fmla="*/ 4891305 w 4953000"/>
                  <a:gd name="connsiteY8" fmla="*/ 536573 h 1450973"/>
                  <a:gd name="connsiteX9" fmla="*/ 4953000 w 4953000"/>
                  <a:gd name="connsiteY9" fmla="*/ 598268 h 1450973"/>
                  <a:gd name="connsiteX10" fmla="*/ 4953000 w 4953000"/>
                  <a:gd name="connsiteY10" fmla="*/ 1389278 h 1450973"/>
                  <a:gd name="connsiteX11" fmla="*/ 4891305 w 4953000"/>
                  <a:gd name="connsiteY11" fmla="*/ 1450973 h 1450973"/>
                  <a:gd name="connsiteX12" fmla="*/ 61695 w 4953000"/>
                  <a:gd name="connsiteY12" fmla="*/ 1450973 h 1450973"/>
                  <a:gd name="connsiteX13" fmla="*/ 0 w 4953000"/>
                  <a:gd name="connsiteY13" fmla="*/ 1389278 h 1450973"/>
                  <a:gd name="connsiteX14" fmla="*/ 0 w 4953000"/>
                  <a:gd name="connsiteY14" fmla="*/ 598268 h 1450973"/>
                  <a:gd name="connsiteX0" fmla="*/ 0 w 4953000"/>
                  <a:gd name="connsiteY0" fmla="*/ 598268 h 1450973"/>
                  <a:gd name="connsiteX1" fmla="*/ 61695 w 4953000"/>
                  <a:gd name="connsiteY1" fmla="*/ 536573 h 1450973"/>
                  <a:gd name="connsiteX2" fmla="*/ 2063750 w 4953000"/>
                  <a:gd name="connsiteY2" fmla="*/ 536573 h 1450973"/>
                  <a:gd name="connsiteX3" fmla="*/ 2060575 w 4953000"/>
                  <a:gd name="connsiteY3" fmla="*/ 66674 h 1450973"/>
                  <a:gd name="connsiteX4" fmla="*/ 2114550 w 4953000"/>
                  <a:gd name="connsiteY4" fmla="*/ 3175 h 1450973"/>
                  <a:gd name="connsiteX5" fmla="*/ 2806700 w 4953000"/>
                  <a:gd name="connsiteY5" fmla="*/ 0 h 1450973"/>
                  <a:gd name="connsiteX6" fmla="*/ 2886075 w 4953000"/>
                  <a:gd name="connsiteY6" fmla="*/ 76199 h 1450973"/>
                  <a:gd name="connsiteX7" fmla="*/ 2892425 w 4953000"/>
                  <a:gd name="connsiteY7" fmla="*/ 533398 h 1450973"/>
                  <a:gd name="connsiteX8" fmla="*/ 4891305 w 4953000"/>
                  <a:gd name="connsiteY8" fmla="*/ 536573 h 1450973"/>
                  <a:gd name="connsiteX9" fmla="*/ 4953000 w 4953000"/>
                  <a:gd name="connsiteY9" fmla="*/ 598268 h 1450973"/>
                  <a:gd name="connsiteX10" fmla="*/ 4953000 w 4953000"/>
                  <a:gd name="connsiteY10" fmla="*/ 1389278 h 1450973"/>
                  <a:gd name="connsiteX11" fmla="*/ 4891305 w 4953000"/>
                  <a:gd name="connsiteY11" fmla="*/ 1450973 h 1450973"/>
                  <a:gd name="connsiteX12" fmla="*/ 61695 w 4953000"/>
                  <a:gd name="connsiteY12" fmla="*/ 1450973 h 1450973"/>
                  <a:gd name="connsiteX13" fmla="*/ 0 w 4953000"/>
                  <a:gd name="connsiteY13" fmla="*/ 1389278 h 1450973"/>
                  <a:gd name="connsiteX14" fmla="*/ 0 w 4953000"/>
                  <a:gd name="connsiteY14" fmla="*/ 598268 h 1450973"/>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4550 w 4953000"/>
                  <a:gd name="connsiteY4" fmla="*/ 0 h 1447798"/>
                  <a:gd name="connsiteX5" fmla="*/ 2825750 w 4953000"/>
                  <a:gd name="connsiteY5" fmla="*/ 0 h 1447798"/>
                  <a:gd name="connsiteX6" fmla="*/ 2886075 w 4953000"/>
                  <a:gd name="connsiteY6" fmla="*/ 7302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4550 w 4953000"/>
                  <a:gd name="connsiteY4" fmla="*/ 0 h 1447798"/>
                  <a:gd name="connsiteX5" fmla="*/ 2825750 w 4953000"/>
                  <a:gd name="connsiteY5" fmla="*/ 0 h 1447798"/>
                  <a:gd name="connsiteX6" fmla="*/ 2886075 w 4953000"/>
                  <a:gd name="connsiteY6" fmla="*/ 7302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4550 w 4953000"/>
                  <a:gd name="connsiteY4" fmla="*/ 0 h 1447798"/>
                  <a:gd name="connsiteX5" fmla="*/ 2825750 w 4953000"/>
                  <a:gd name="connsiteY5" fmla="*/ 0 h 1447798"/>
                  <a:gd name="connsiteX6" fmla="*/ 2886075 w 4953000"/>
                  <a:gd name="connsiteY6" fmla="*/ 7302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4550 w 4953000"/>
                  <a:gd name="connsiteY4" fmla="*/ 6350 h 1447798"/>
                  <a:gd name="connsiteX5" fmla="*/ 2825750 w 4953000"/>
                  <a:gd name="connsiteY5" fmla="*/ 0 h 1447798"/>
                  <a:gd name="connsiteX6" fmla="*/ 2886075 w 4953000"/>
                  <a:gd name="connsiteY6" fmla="*/ 7302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86075 w 4953000"/>
                  <a:gd name="connsiteY6" fmla="*/ 7302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86075 w 4953000"/>
                  <a:gd name="connsiteY6" fmla="*/ 7302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86075 w 4953000"/>
                  <a:gd name="connsiteY6" fmla="*/ 7302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95600 w 4953000"/>
                  <a:gd name="connsiteY6" fmla="*/ 7937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86075 w 4953000"/>
                  <a:gd name="connsiteY6" fmla="*/ 82549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86075 w 4953000"/>
                  <a:gd name="connsiteY6" fmla="*/ 82549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86075 w 4953000"/>
                  <a:gd name="connsiteY6" fmla="*/ 82549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92425 w 4953000"/>
                  <a:gd name="connsiteY6" fmla="*/ 88899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3750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89250 w 4953000"/>
                  <a:gd name="connsiteY6" fmla="*/ 9207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0575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89250 w 4953000"/>
                  <a:gd name="connsiteY6" fmla="*/ 9207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0575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89250 w 4953000"/>
                  <a:gd name="connsiteY6" fmla="*/ 9207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0575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95970 w 4953000"/>
                  <a:gd name="connsiteY6" fmla="*/ 92074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0575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95970 w 4953000"/>
                  <a:gd name="connsiteY6" fmla="*/ 65195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595093 h 1447798"/>
                  <a:gd name="connsiteX1" fmla="*/ 61695 w 4953000"/>
                  <a:gd name="connsiteY1" fmla="*/ 533398 h 1447798"/>
                  <a:gd name="connsiteX2" fmla="*/ 2060575 w 4953000"/>
                  <a:gd name="connsiteY2" fmla="*/ 533398 h 1447798"/>
                  <a:gd name="connsiteX3" fmla="*/ 2060575 w 4953000"/>
                  <a:gd name="connsiteY3" fmla="*/ 63499 h 1447798"/>
                  <a:gd name="connsiteX4" fmla="*/ 2117725 w 4953000"/>
                  <a:gd name="connsiteY4" fmla="*/ 0 h 1447798"/>
                  <a:gd name="connsiteX5" fmla="*/ 2825750 w 4953000"/>
                  <a:gd name="connsiteY5" fmla="*/ 0 h 1447798"/>
                  <a:gd name="connsiteX6" fmla="*/ 2892610 w 4953000"/>
                  <a:gd name="connsiteY6" fmla="*/ 65195 h 1447798"/>
                  <a:gd name="connsiteX7" fmla="*/ 2892425 w 4953000"/>
                  <a:gd name="connsiteY7" fmla="*/ 530223 h 1447798"/>
                  <a:gd name="connsiteX8" fmla="*/ 4891305 w 4953000"/>
                  <a:gd name="connsiteY8" fmla="*/ 533398 h 1447798"/>
                  <a:gd name="connsiteX9" fmla="*/ 4953000 w 4953000"/>
                  <a:gd name="connsiteY9" fmla="*/ 595093 h 1447798"/>
                  <a:gd name="connsiteX10" fmla="*/ 4953000 w 4953000"/>
                  <a:gd name="connsiteY10" fmla="*/ 1386103 h 1447798"/>
                  <a:gd name="connsiteX11" fmla="*/ 4891305 w 4953000"/>
                  <a:gd name="connsiteY11" fmla="*/ 1447798 h 1447798"/>
                  <a:gd name="connsiteX12" fmla="*/ 61695 w 4953000"/>
                  <a:gd name="connsiteY12" fmla="*/ 1447798 h 1447798"/>
                  <a:gd name="connsiteX13" fmla="*/ 0 w 4953000"/>
                  <a:gd name="connsiteY13" fmla="*/ 1386103 h 1447798"/>
                  <a:gd name="connsiteX14" fmla="*/ 0 w 4953000"/>
                  <a:gd name="connsiteY14" fmla="*/ 595093 h 1447798"/>
                  <a:gd name="connsiteX0" fmla="*/ 0 w 4953000"/>
                  <a:gd name="connsiteY0" fmla="*/ 611892 h 1464597"/>
                  <a:gd name="connsiteX1" fmla="*/ 61695 w 4953000"/>
                  <a:gd name="connsiteY1" fmla="*/ 550197 h 1464597"/>
                  <a:gd name="connsiteX2" fmla="*/ 2060575 w 4953000"/>
                  <a:gd name="connsiteY2" fmla="*/ 550197 h 1464597"/>
                  <a:gd name="connsiteX3" fmla="*/ 2060575 w 4953000"/>
                  <a:gd name="connsiteY3" fmla="*/ 80298 h 1464597"/>
                  <a:gd name="connsiteX4" fmla="*/ 2117725 w 4953000"/>
                  <a:gd name="connsiteY4" fmla="*/ 16799 h 1464597"/>
                  <a:gd name="connsiteX5" fmla="*/ 2822390 w 4953000"/>
                  <a:gd name="connsiteY5" fmla="*/ 0 h 1464597"/>
                  <a:gd name="connsiteX6" fmla="*/ 2892610 w 4953000"/>
                  <a:gd name="connsiteY6" fmla="*/ 81994 h 1464597"/>
                  <a:gd name="connsiteX7" fmla="*/ 2892425 w 4953000"/>
                  <a:gd name="connsiteY7" fmla="*/ 547022 h 1464597"/>
                  <a:gd name="connsiteX8" fmla="*/ 4891305 w 4953000"/>
                  <a:gd name="connsiteY8" fmla="*/ 550197 h 1464597"/>
                  <a:gd name="connsiteX9" fmla="*/ 4953000 w 4953000"/>
                  <a:gd name="connsiteY9" fmla="*/ 611892 h 1464597"/>
                  <a:gd name="connsiteX10" fmla="*/ 4953000 w 4953000"/>
                  <a:gd name="connsiteY10" fmla="*/ 1402902 h 1464597"/>
                  <a:gd name="connsiteX11" fmla="*/ 4891305 w 4953000"/>
                  <a:gd name="connsiteY11" fmla="*/ 1464597 h 1464597"/>
                  <a:gd name="connsiteX12" fmla="*/ 61695 w 4953000"/>
                  <a:gd name="connsiteY12" fmla="*/ 1464597 h 1464597"/>
                  <a:gd name="connsiteX13" fmla="*/ 0 w 4953000"/>
                  <a:gd name="connsiteY13" fmla="*/ 1402902 h 1464597"/>
                  <a:gd name="connsiteX14" fmla="*/ 0 w 4953000"/>
                  <a:gd name="connsiteY14" fmla="*/ 611892 h 1464597"/>
                  <a:gd name="connsiteX0" fmla="*/ 0 w 4953000"/>
                  <a:gd name="connsiteY0" fmla="*/ 611893 h 1464598"/>
                  <a:gd name="connsiteX1" fmla="*/ 61695 w 4953000"/>
                  <a:gd name="connsiteY1" fmla="*/ 550198 h 1464598"/>
                  <a:gd name="connsiteX2" fmla="*/ 2060575 w 4953000"/>
                  <a:gd name="connsiteY2" fmla="*/ 550198 h 1464598"/>
                  <a:gd name="connsiteX3" fmla="*/ 2060575 w 4953000"/>
                  <a:gd name="connsiteY3" fmla="*/ 80299 h 1464598"/>
                  <a:gd name="connsiteX4" fmla="*/ 2114365 w 4953000"/>
                  <a:gd name="connsiteY4" fmla="*/ 0 h 1464598"/>
                  <a:gd name="connsiteX5" fmla="*/ 2822390 w 4953000"/>
                  <a:gd name="connsiteY5" fmla="*/ 1 h 1464598"/>
                  <a:gd name="connsiteX6" fmla="*/ 2892610 w 4953000"/>
                  <a:gd name="connsiteY6" fmla="*/ 81995 h 1464598"/>
                  <a:gd name="connsiteX7" fmla="*/ 2892425 w 4953000"/>
                  <a:gd name="connsiteY7" fmla="*/ 547023 h 1464598"/>
                  <a:gd name="connsiteX8" fmla="*/ 4891305 w 4953000"/>
                  <a:gd name="connsiteY8" fmla="*/ 550198 h 1464598"/>
                  <a:gd name="connsiteX9" fmla="*/ 4953000 w 4953000"/>
                  <a:gd name="connsiteY9" fmla="*/ 611893 h 1464598"/>
                  <a:gd name="connsiteX10" fmla="*/ 4953000 w 4953000"/>
                  <a:gd name="connsiteY10" fmla="*/ 1402903 h 1464598"/>
                  <a:gd name="connsiteX11" fmla="*/ 4891305 w 4953000"/>
                  <a:gd name="connsiteY11" fmla="*/ 1464598 h 1464598"/>
                  <a:gd name="connsiteX12" fmla="*/ 61695 w 4953000"/>
                  <a:gd name="connsiteY12" fmla="*/ 1464598 h 1464598"/>
                  <a:gd name="connsiteX13" fmla="*/ 0 w 4953000"/>
                  <a:gd name="connsiteY13" fmla="*/ 1402903 h 1464598"/>
                  <a:gd name="connsiteX14" fmla="*/ 0 w 4953000"/>
                  <a:gd name="connsiteY14" fmla="*/ 611893 h 1464598"/>
                  <a:gd name="connsiteX0" fmla="*/ 0 w 4953000"/>
                  <a:gd name="connsiteY0" fmla="*/ 611893 h 1464598"/>
                  <a:gd name="connsiteX1" fmla="*/ 61695 w 4953000"/>
                  <a:gd name="connsiteY1" fmla="*/ 550198 h 1464598"/>
                  <a:gd name="connsiteX2" fmla="*/ 2060575 w 4953000"/>
                  <a:gd name="connsiteY2" fmla="*/ 550198 h 1464598"/>
                  <a:gd name="connsiteX3" fmla="*/ 2060575 w 4953000"/>
                  <a:gd name="connsiteY3" fmla="*/ 80299 h 1464598"/>
                  <a:gd name="connsiteX4" fmla="*/ 2114365 w 4953000"/>
                  <a:gd name="connsiteY4" fmla="*/ 0 h 1464598"/>
                  <a:gd name="connsiteX5" fmla="*/ 2822390 w 4953000"/>
                  <a:gd name="connsiteY5" fmla="*/ 1 h 1464598"/>
                  <a:gd name="connsiteX6" fmla="*/ 2892610 w 4953000"/>
                  <a:gd name="connsiteY6" fmla="*/ 81995 h 1464598"/>
                  <a:gd name="connsiteX7" fmla="*/ 2892425 w 4953000"/>
                  <a:gd name="connsiteY7" fmla="*/ 547023 h 1464598"/>
                  <a:gd name="connsiteX8" fmla="*/ 4891305 w 4953000"/>
                  <a:gd name="connsiteY8" fmla="*/ 550198 h 1464598"/>
                  <a:gd name="connsiteX9" fmla="*/ 4953000 w 4953000"/>
                  <a:gd name="connsiteY9" fmla="*/ 611893 h 1464598"/>
                  <a:gd name="connsiteX10" fmla="*/ 4953000 w 4953000"/>
                  <a:gd name="connsiteY10" fmla="*/ 1402903 h 1464598"/>
                  <a:gd name="connsiteX11" fmla="*/ 4891305 w 4953000"/>
                  <a:gd name="connsiteY11" fmla="*/ 1464598 h 1464598"/>
                  <a:gd name="connsiteX12" fmla="*/ 61695 w 4953000"/>
                  <a:gd name="connsiteY12" fmla="*/ 1464598 h 1464598"/>
                  <a:gd name="connsiteX13" fmla="*/ 0 w 4953000"/>
                  <a:gd name="connsiteY13" fmla="*/ 1402903 h 1464598"/>
                  <a:gd name="connsiteX14" fmla="*/ 0 w 4953000"/>
                  <a:gd name="connsiteY14" fmla="*/ 611893 h 1464598"/>
                  <a:gd name="connsiteX0" fmla="*/ 0 w 4953000"/>
                  <a:gd name="connsiteY0" fmla="*/ 611893 h 1464598"/>
                  <a:gd name="connsiteX1" fmla="*/ 61695 w 4953000"/>
                  <a:gd name="connsiteY1" fmla="*/ 550198 h 1464598"/>
                  <a:gd name="connsiteX2" fmla="*/ 2060575 w 4953000"/>
                  <a:gd name="connsiteY2" fmla="*/ 550198 h 1464598"/>
                  <a:gd name="connsiteX3" fmla="*/ 2060575 w 4953000"/>
                  <a:gd name="connsiteY3" fmla="*/ 80299 h 1464598"/>
                  <a:gd name="connsiteX4" fmla="*/ 2114365 w 4953000"/>
                  <a:gd name="connsiteY4" fmla="*/ 0 h 1464598"/>
                  <a:gd name="connsiteX5" fmla="*/ 2822390 w 4953000"/>
                  <a:gd name="connsiteY5" fmla="*/ 1 h 1464598"/>
                  <a:gd name="connsiteX6" fmla="*/ 2892610 w 4953000"/>
                  <a:gd name="connsiteY6" fmla="*/ 81995 h 1464598"/>
                  <a:gd name="connsiteX7" fmla="*/ 2892425 w 4953000"/>
                  <a:gd name="connsiteY7" fmla="*/ 547023 h 1464598"/>
                  <a:gd name="connsiteX8" fmla="*/ 4891305 w 4953000"/>
                  <a:gd name="connsiteY8" fmla="*/ 550198 h 1464598"/>
                  <a:gd name="connsiteX9" fmla="*/ 4953000 w 4953000"/>
                  <a:gd name="connsiteY9" fmla="*/ 611893 h 1464598"/>
                  <a:gd name="connsiteX10" fmla="*/ 4953000 w 4953000"/>
                  <a:gd name="connsiteY10" fmla="*/ 1402903 h 1464598"/>
                  <a:gd name="connsiteX11" fmla="*/ 4891305 w 4953000"/>
                  <a:gd name="connsiteY11" fmla="*/ 1464598 h 1464598"/>
                  <a:gd name="connsiteX12" fmla="*/ 61695 w 4953000"/>
                  <a:gd name="connsiteY12" fmla="*/ 1464598 h 1464598"/>
                  <a:gd name="connsiteX13" fmla="*/ 0 w 4953000"/>
                  <a:gd name="connsiteY13" fmla="*/ 1402903 h 1464598"/>
                  <a:gd name="connsiteX14" fmla="*/ 0 w 4953000"/>
                  <a:gd name="connsiteY14" fmla="*/ 611893 h 1464598"/>
                  <a:gd name="connsiteX0" fmla="*/ 0 w 4953000"/>
                  <a:gd name="connsiteY0" fmla="*/ 611893 h 1464598"/>
                  <a:gd name="connsiteX1" fmla="*/ 61695 w 4953000"/>
                  <a:gd name="connsiteY1" fmla="*/ 550198 h 1464598"/>
                  <a:gd name="connsiteX2" fmla="*/ 2060575 w 4953000"/>
                  <a:gd name="connsiteY2" fmla="*/ 550198 h 1464598"/>
                  <a:gd name="connsiteX3" fmla="*/ 2060575 w 4953000"/>
                  <a:gd name="connsiteY3" fmla="*/ 80299 h 1464598"/>
                  <a:gd name="connsiteX4" fmla="*/ 2114365 w 4953000"/>
                  <a:gd name="connsiteY4" fmla="*/ 0 h 1464598"/>
                  <a:gd name="connsiteX5" fmla="*/ 2822390 w 4953000"/>
                  <a:gd name="connsiteY5" fmla="*/ 1 h 1464598"/>
                  <a:gd name="connsiteX6" fmla="*/ 2892610 w 4953000"/>
                  <a:gd name="connsiteY6" fmla="*/ 81995 h 1464598"/>
                  <a:gd name="connsiteX7" fmla="*/ 2892425 w 4953000"/>
                  <a:gd name="connsiteY7" fmla="*/ 547023 h 1464598"/>
                  <a:gd name="connsiteX8" fmla="*/ 4891305 w 4953000"/>
                  <a:gd name="connsiteY8" fmla="*/ 550198 h 1464598"/>
                  <a:gd name="connsiteX9" fmla="*/ 4953000 w 4953000"/>
                  <a:gd name="connsiteY9" fmla="*/ 611893 h 1464598"/>
                  <a:gd name="connsiteX10" fmla="*/ 4953000 w 4953000"/>
                  <a:gd name="connsiteY10" fmla="*/ 1402903 h 1464598"/>
                  <a:gd name="connsiteX11" fmla="*/ 4891305 w 4953000"/>
                  <a:gd name="connsiteY11" fmla="*/ 1464598 h 1464598"/>
                  <a:gd name="connsiteX12" fmla="*/ 61695 w 4953000"/>
                  <a:gd name="connsiteY12" fmla="*/ 1464598 h 1464598"/>
                  <a:gd name="connsiteX13" fmla="*/ 0 w 4953000"/>
                  <a:gd name="connsiteY13" fmla="*/ 1402903 h 1464598"/>
                  <a:gd name="connsiteX14" fmla="*/ 0 w 4953000"/>
                  <a:gd name="connsiteY14" fmla="*/ 611893 h 1464598"/>
                  <a:gd name="connsiteX0" fmla="*/ 0 w 4953000"/>
                  <a:gd name="connsiteY0" fmla="*/ 611893 h 1464598"/>
                  <a:gd name="connsiteX1" fmla="*/ 61695 w 4953000"/>
                  <a:gd name="connsiteY1" fmla="*/ 550198 h 1464598"/>
                  <a:gd name="connsiteX2" fmla="*/ 2060575 w 4953000"/>
                  <a:gd name="connsiteY2" fmla="*/ 550198 h 1464598"/>
                  <a:gd name="connsiteX3" fmla="*/ 2060575 w 4953000"/>
                  <a:gd name="connsiteY3" fmla="*/ 80299 h 1464598"/>
                  <a:gd name="connsiteX4" fmla="*/ 2114365 w 4953000"/>
                  <a:gd name="connsiteY4" fmla="*/ 0 h 1464598"/>
                  <a:gd name="connsiteX5" fmla="*/ 2822390 w 4953000"/>
                  <a:gd name="connsiteY5" fmla="*/ 1 h 1464598"/>
                  <a:gd name="connsiteX6" fmla="*/ 2892610 w 4953000"/>
                  <a:gd name="connsiteY6" fmla="*/ 81995 h 1464598"/>
                  <a:gd name="connsiteX7" fmla="*/ 2892425 w 4953000"/>
                  <a:gd name="connsiteY7" fmla="*/ 547023 h 1464598"/>
                  <a:gd name="connsiteX8" fmla="*/ 4891305 w 4953000"/>
                  <a:gd name="connsiteY8" fmla="*/ 550198 h 1464598"/>
                  <a:gd name="connsiteX9" fmla="*/ 4953000 w 4953000"/>
                  <a:gd name="connsiteY9" fmla="*/ 611893 h 1464598"/>
                  <a:gd name="connsiteX10" fmla="*/ 4953000 w 4953000"/>
                  <a:gd name="connsiteY10" fmla="*/ 1402903 h 1464598"/>
                  <a:gd name="connsiteX11" fmla="*/ 4891305 w 4953000"/>
                  <a:gd name="connsiteY11" fmla="*/ 1464598 h 1464598"/>
                  <a:gd name="connsiteX12" fmla="*/ 61695 w 4953000"/>
                  <a:gd name="connsiteY12" fmla="*/ 1464598 h 1464598"/>
                  <a:gd name="connsiteX13" fmla="*/ 0 w 4953000"/>
                  <a:gd name="connsiteY13" fmla="*/ 1402903 h 1464598"/>
                  <a:gd name="connsiteX14" fmla="*/ 0 w 4953000"/>
                  <a:gd name="connsiteY14" fmla="*/ 611893 h 1464598"/>
                  <a:gd name="connsiteX0" fmla="*/ 0 w 4953000"/>
                  <a:gd name="connsiteY0" fmla="*/ 611893 h 1464598"/>
                  <a:gd name="connsiteX1" fmla="*/ 61695 w 4953000"/>
                  <a:gd name="connsiteY1" fmla="*/ 550198 h 1464598"/>
                  <a:gd name="connsiteX2" fmla="*/ 2060575 w 4953000"/>
                  <a:gd name="connsiteY2" fmla="*/ 550198 h 1464598"/>
                  <a:gd name="connsiteX3" fmla="*/ 2060575 w 4953000"/>
                  <a:gd name="connsiteY3" fmla="*/ 80299 h 1464598"/>
                  <a:gd name="connsiteX4" fmla="*/ 2114365 w 4953000"/>
                  <a:gd name="connsiteY4" fmla="*/ 0 h 1464598"/>
                  <a:gd name="connsiteX5" fmla="*/ 2822390 w 4953000"/>
                  <a:gd name="connsiteY5" fmla="*/ 1 h 1464598"/>
                  <a:gd name="connsiteX6" fmla="*/ 2895970 w 4953000"/>
                  <a:gd name="connsiteY6" fmla="*/ 85355 h 1464598"/>
                  <a:gd name="connsiteX7" fmla="*/ 2892425 w 4953000"/>
                  <a:gd name="connsiteY7" fmla="*/ 547023 h 1464598"/>
                  <a:gd name="connsiteX8" fmla="*/ 4891305 w 4953000"/>
                  <a:gd name="connsiteY8" fmla="*/ 550198 h 1464598"/>
                  <a:gd name="connsiteX9" fmla="*/ 4953000 w 4953000"/>
                  <a:gd name="connsiteY9" fmla="*/ 611893 h 1464598"/>
                  <a:gd name="connsiteX10" fmla="*/ 4953000 w 4953000"/>
                  <a:gd name="connsiteY10" fmla="*/ 1402903 h 1464598"/>
                  <a:gd name="connsiteX11" fmla="*/ 4891305 w 4953000"/>
                  <a:gd name="connsiteY11" fmla="*/ 1464598 h 1464598"/>
                  <a:gd name="connsiteX12" fmla="*/ 61695 w 4953000"/>
                  <a:gd name="connsiteY12" fmla="*/ 1464598 h 1464598"/>
                  <a:gd name="connsiteX13" fmla="*/ 0 w 4953000"/>
                  <a:gd name="connsiteY13" fmla="*/ 1402903 h 1464598"/>
                  <a:gd name="connsiteX14" fmla="*/ 0 w 4953000"/>
                  <a:gd name="connsiteY14" fmla="*/ 611893 h 1464598"/>
                  <a:gd name="connsiteX0" fmla="*/ 0 w 4953000"/>
                  <a:gd name="connsiteY0" fmla="*/ 611893 h 1464598"/>
                  <a:gd name="connsiteX1" fmla="*/ 61695 w 4953000"/>
                  <a:gd name="connsiteY1" fmla="*/ 550198 h 1464598"/>
                  <a:gd name="connsiteX2" fmla="*/ 2060575 w 4953000"/>
                  <a:gd name="connsiteY2" fmla="*/ 550198 h 1464598"/>
                  <a:gd name="connsiteX3" fmla="*/ 2060575 w 4953000"/>
                  <a:gd name="connsiteY3" fmla="*/ 80299 h 1464598"/>
                  <a:gd name="connsiteX4" fmla="*/ 2127804 w 4953000"/>
                  <a:gd name="connsiteY4" fmla="*/ 0 h 1464598"/>
                  <a:gd name="connsiteX5" fmla="*/ 2822390 w 4953000"/>
                  <a:gd name="connsiteY5" fmla="*/ 1 h 1464598"/>
                  <a:gd name="connsiteX6" fmla="*/ 2895970 w 4953000"/>
                  <a:gd name="connsiteY6" fmla="*/ 85355 h 1464598"/>
                  <a:gd name="connsiteX7" fmla="*/ 2892425 w 4953000"/>
                  <a:gd name="connsiteY7" fmla="*/ 547023 h 1464598"/>
                  <a:gd name="connsiteX8" fmla="*/ 4891305 w 4953000"/>
                  <a:gd name="connsiteY8" fmla="*/ 550198 h 1464598"/>
                  <a:gd name="connsiteX9" fmla="*/ 4953000 w 4953000"/>
                  <a:gd name="connsiteY9" fmla="*/ 611893 h 1464598"/>
                  <a:gd name="connsiteX10" fmla="*/ 4953000 w 4953000"/>
                  <a:gd name="connsiteY10" fmla="*/ 1402903 h 1464598"/>
                  <a:gd name="connsiteX11" fmla="*/ 4891305 w 4953000"/>
                  <a:gd name="connsiteY11" fmla="*/ 1464598 h 1464598"/>
                  <a:gd name="connsiteX12" fmla="*/ 61695 w 4953000"/>
                  <a:gd name="connsiteY12" fmla="*/ 1464598 h 1464598"/>
                  <a:gd name="connsiteX13" fmla="*/ 0 w 4953000"/>
                  <a:gd name="connsiteY13" fmla="*/ 1402903 h 1464598"/>
                  <a:gd name="connsiteX14" fmla="*/ 0 w 4953000"/>
                  <a:gd name="connsiteY14" fmla="*/ 611893 h 1464598"/>
                  <a:gd name="connsiteX0" fmla="*/ 0 w 4953000"/>
                  <a:gd name="connsiteY0" fmla="*/ 611893 h 1464598"/>
                  <a:gd name="connsiteX1" fmla="*/ 61695 w 4953000"/>
                  <a:gd name="connsiteY1" fmla="*/ 550198 h 1464598"/>
                  <a:gd name="connsiteX2" fmla="*/ 2060575 w 4953000"/>
                  <a:gd name="connsiteY2" fmla="*/ 550198 h 1464598"/>
                  <a:gd name="connsiteX3" fmla="*/ 2060575 w 4953000"/>
                  <a:gd name="connsiteY3" fmla="*/ 80299 h 1464598"/>
                  <a:gd name="connsiteX4" fmla="*/ 2127804 w 4953000"/>
                  <a:gd name="connsiteY4" fmla="*/ 0 h 1464598"/>
                  <a:gd name="connsiteX5" fmla="*/ 2822390 w 4953000"/>
                  <a:gd name="connsiteY5" fmla="*/ 1 h 1464598"/>
                  <a:gd name="connsiteX6" fmla="*/ 2895970 w 4953000"/>
                  <a:gd name="connsiteY6" fmla="*/ 75275 h 1464598"/>
                  <a:gd name="connsiteX7" fmla="*/ 2892425 w 4953000"/>
                  <a:gd name="connsiteY7" fmla="*/ 547023 h 1464598"/>
                  <a:gd name="connsiteX8" fmla="*/ 4891305 w 4953000"/>
                  <a:gd name="connsiteY8" fmla="*/ 550198 h 1464598"/>
                  <a:gd name="connsiteX9" fmla="*/ 4953000 w 4953000"/>
                  <a:gd name="connsiteY9" fmla="*/ 611893 h 1464598"/>
                  <a:gd name="connsiteX10" fmla="*/ 4953000 w 4953000"/>
                  <a:gd name="connsiteY10" fmla="*/ 1402903 h 1464598"/>
                  <a:gd name="connsiteX11" fmla="*/ 4891305 w 4953000"/>
                  <a:gd name="connsiteY11" fmla="*/ 1464598 h 1464598"/>
                  <a:gd name="connsiteX12" fmla="*/ 61695 w 4953000"/>
                  <a:gd name="connsiteY12" fmla="*/ 1464598 h 1464598"/>
                  <a:gd name="connsiteX13" fmla="*/ 0 w 4953000"/>
                  <a:gd name="connsiteY13" fmla="*/ 1402903 h 1464598"/>
                  <a:gd name="connsiteX14" fmla="*/ 0 w 4953000"/>
                  <a:gd name="connsiteY14" fmla="*/ 611893 h 1464598"/>
                  <a:gd name="connsiteX0" fmla="*/ 0 w 4953000"/>
                  <a:gd name="connsiteY0" fmla="*/ 611893 h 1464598"/>
                  <a:gd name="connsiteX1" fmla="*/ 61695 w 4953000"/>
                  <a:gd name="connsiteY1" fmla="*/ 550198 h 1464598"/>
                  <a:gd name="connsiteX2" fmla="*/ 2060575 w 4953000"/>
                  <a:gd name="connsiteY2" fmla="*/ 550198 h 1464598"/>
                  <a:gd name="connsiteX3" fmla="*/ 2060575 w 4953000"/>
                  <a:gd name="connsiteY3" fmla="*/ 80299 h 1464598"/>
                  <a:gd name="connsiteX4" fmla="*/ 2127804 w 4953000"/>
                  <a:gd name="connsiteY4" fmla="*/ 0 h 1464598"/>
                  <a:gd name="connsiteX5" fmla="*/ 2822390 w 4953000"/>
                  <a:gd name="connsiteY5" fmla="*/ 1 h 1464598"/>
                  <a:gd name="connsiteX6" fmla="*/ 2895970 w 4953000"/>
                  <a:gd name="connsiteY6" fmla="*/ 75275 h 1464598"/>
                  <a:gd name="connsiteX7" fmla="*/ 2892425 w 4953000"/>
                  <a:gd name="connsiteY7" fmla="*/ 547023 h 1464598"/>
                  <a:gd name="connsiteX8" fmla="*/ 4891305 w 4953000"/>
                  <a:gd name="connsiteY8" fmla="*/ 550198 h 1464598"/>
                  <a:gd name="connsiteX9" fmla="*/ 4953000 w 4953000"/>
                  <a:gd name="connsiteY9" fmla="*/ 611893 h 1464598"/>
                  <a:gd name="connsiteX10" fmla="*/ 4953000 w 4953000"/>
                  <a:gd name="connsiteY10" fmla="*/ 1402903 h 1464598"/>
                  <a:gd name="connsiteX11" fmla="*/ 4891305 w 4953000"/>
                  <a:gd name="connsiteY11" fmla="*/ 1464598 h 1464598"/>
                  <a:gd name="connsiteX12" fmla="*/ 61695 w 4953000"/>
                  <a:gd name="connsiteY12" fmla="*/ 1464598 h 1464598"/>
                  <a:gd name="connsiteX13" fmla="*/ 0 w 4953000"/>
                  <a:gd name="connsiteY13" fmla="*/ 1402903 h 1464598"/>
                  <a:gd name="connsiteX14" fmla="*/ 0 w 4953000"/>
                  <a:gd name="connsiteY14" fmla="*/ 611893 h 146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53000" h="1464598">
                    <a:moveTo>
                      <a:pt x="0" y="611893"/>
                    </a:moveTo>
                    <a:cubicBezTo>
                      <a:pt x="0" y="577820"/>
                      <a:pt x="27622" y="550198"/>
                      <a:pt x="61695" y="550198"/>
                    </a:cubicBezTo>
                    <a:lnTo>
                      <a:pt x="2060575" y="550198"/>
                    </a:lnTo>
                    <a:lnTo>
                      <a:pt x="2060575" y="80299"/>
                    </a:lnTo>
                    <a:cubicBezTo>
                      <a:pt x="2063750" y="27912"/>
                      <a:pt x="2079650" y="7408"/>
                      <a:pt x="2127804" y="0"/>
                    </a:cubicBezTo>
                    <a:lnTo>
                      <a:pt x="2822390" y="1"/>
                    </a:lnTo>
                    <a:cubicBezTo>
                      <a:pt x="2860414" y="2277"/>
                      <a:pt x="2897737" y="17703"/>
                      <a:pt x="2895970" y="75275"/>
                    </a:cubicBezTo>
                    <a:cubicBezTo>
                      <a:pt x="2894203" y="132847"/>
                      <a:pt x="2892487" y="392014"/>
                      <a:pt x="2892425" y="547023"/>
                    </a:cubicBezTo>
                    <a:lnTo>
                      <a:pt x="4891305" y="550198"/>
                    </a:lnTo>
                    <a:cubicBezTo>
                      <a:pt x="4925378" y="550198"/>
                      <a:pt x="4953000" y="577820"/>
                      <a:pt x="4953000" y="611893"/>
                    </a:cubicBezTo>
                    <a:lnTo>
                      <a:pt x="4953000" y="1402903"/>
                    </a:lnTo>
                    <a:cubicBezTo>
                      <a:pt x="4953000" y="1436976"/>
                      <a:pt x="4925378" y="1464598"/>
                      <a:pt x="4891305" y="1464598"/>
                    </a:cubicBezTo>
                    <a:lnTo>
                      <a:pt x="61695" y="1464598"/>
                    </a:lnTo>
                    <a:cubicBezTo>
                      <a:pt x="27622" y="1464598"/>
                      <a:pt x="0" y="1436976"/>
                      <a:pt x="0" y="1402903"/>
                    </a:cubicBezTo>
                    <a:lnTo>
                      <a:pt x="0" y="611893"/>
                    </a:lnTo>
                    <a:close/>
                  </a:path>
                </a:pathLst>
              </a:custGeom>
              <a:blipFill rotWithShape="1">
                <a:blip r:embed="rId7" cstate="screen">
                  <a:extLst>
                    <a:ext uri="{28A0092B-C50C-407E-A947-70E740481C1C}">
                      <a14:useLocalDpi xmlns:a14="http://schemas.microsoft.com/office/drawing/2010/main"/>
                    </a:ext>
                  </a:extLst>
                </a:blip>
                <a:stretch>
                  <a:fillRect/>
                </a:stretch>
              </a:blipFill>
              <a:ln w="12700" cmpd="sng">
                <a:solidFill>
                  <a:schemeClr val="bg2"/>
                </a:solidFill>
              </a:ln>
              <a:effectLst>
                <a:outerShdw blurRad="50800" dist="254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4" name="Picture 23" descr="VMAX icon.jp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905000" y="3865992"/>
                <a:ext cx="838200" cy="558800"/>
              </a:xfrm>
              <a:prstGeom prst="rect">
                <a:avLst/>
              </a:prstGeom>
            </p:spPr>
          </p:pic>
          <p:pic>
            <p:nvPicPr>
              <p:cNvPr id="25" name="Picture 24" descr="VNX icon.jpg"/>
              <p:cNvPicPr>
                <a:picLocks/>
              </p:cNvPicPr>
              <p:nvPr/>
            </p:nvPicPr>
            <p:blipFill>
              <a:blip r:embed="rId9" cstate="screen">
                <a:extLst>
                  <a:ext uri="{28A0092B-C50C-407E-A947-70E740481C1C}">
                    <a14:useLocalDpi xmlns:a14="http://schemas.microsoft.com/office/drawing/2010/main"/>
                  </a:ext>
                </a:extLst>
              </a:blip>
              <a:stretch>
                <a:fillRect/>
              </a:stretch>
            </p:blipFill>
            <p:spPr>
              <a:xfrm>
                <a:off x="2821137" y="3865992"/>
                <a:ext cx="841035" cy="566786"/>
              </a:xfrm>
              <a:prstGeom prst="rect">
                <a:avLst/>
              </a:prstGeom>
            </p:spPr>
          </p:pic>
          <p:pic>
            <p:nvPicPr>
              <p:cNvPr id="26" name="Picture 25" descr="XtremIO icon.jpg"/>
              <p:cNvPicPr>
                <a:picLocks/>
              </p:cNvPicPr>
              <p:nvPr/>
            </p:nvPicPr>
            <p:blipFill>
              <a:blip r:embed="rId10" cstate="screen">
                <a:extLst>
                  <a:ext uri="{28A0092B-C50C-407E-A947-70E740481C1C}">
                    <a14:useLocalDpi xmlns:a14="http://schemas.microsoft.com/office/drawing/2010/main"/>
                  </a:ext>
                </a:extLst>
              </a:blip>
              <a:stretch>
                <a:fillRect/>
              </a:stretch>
            </p:blipFill>
            <p:spPr>
              <a:xfrm>
                <a:off x="4419600" y="3867150"/>
                <a:ext cx="841248" cy="566928"/>
              </a:xfrm>
              <a:prstGeom prst="rect">
                <a:avLst/>
              </a:prstGeom>
            </p:spPr>
          </p:pic>
          <p:pic>
            <p:nvPicPr>
              <p:cNvPr id="27" name="Picture 26" descr="COTS HW.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334000" y="3867150"/>
                <a:ext cx="850392" cy="566928"/>
              </a:xfrm>
              <a:prstGeom prst="rect">
                <a:avLst/>
              </a:prstGeom>
            </p:spPr>
          </p:pic>
        </p:grpSp>
        <p:grpSp>
          <p:nvGrpSpPr>
            <p:cNvPr id="29" name="Group 10"/>
            <p:cNvGrpSpPr/>
            <p:nvPr/>
          </p:nvGrpSpPr>
          <p:grpSpPr>
            <a:xfrm>
              <a:off x="3294413" y="2409564"/>
              <a:ext cx="2514600" cy="711200"/>
              <a:chOff x="2819400" y="2800350"/>
              <a:chExt cx="2514600" cy="711200"/>
            </a:xfrm>
          </p:grpSpPr>
          <p:grpSp>
            <p:nvGrpSpPr>
              <p:cNvPr id="30" name="Group 13"/>
              <p:cNvGrpSpPr/>
              <p:nvPr/>
            </p:nvGrpSpPr>
            <p:grpSpPr>
              <a:xfrm>
                <a:off x="3824863" y="3034611"/>
                <a:ext cx="501610" cy="462451"/>
                <a:chOff x="3824863" y="3026670"/>
                <a:chExt cx="501610" cy="462451"/>
              </a:xfrm>
            </p:grpSpPr>
            <p:pic>
              <p:nvPicPr>
                <p:cNvPr id="21" name="Picture 4" descr="C:\Users\Dan\Desktop\storage.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918168" y="3077301"/>
                  <a:ext cx="315000" cy="32536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2" name="Picture 21" descr="basic 3d box trans.png"/>
                <p:cNvPicPr>
                  <a:picLocks noChangeAspect="1"/>
                </p:cNvPicPr>
                <p:nvPr/>
              </p:nvPicPr>
              <p:blipFill>
                <a:blip r:embed="rId13" cstate="screen">
                  <a:duotone>
                    <a:schemeClr val="accent1">
                      <a:shade val="45000"/>
                      <a:satMod val="135000"/>
                    </a:schemeClr>
                    <a:prstClr val="white"/>
                  </a:duotone>
                  <a:extLst>
                    <a:ext uri="{BEBA8EAE-BF5A-486C-A8C5-ECC9F3942E4B}">
                      <a14:imgProps xmlns:a14="http://schemas.microsoft.com/office/drawing/2010/main">
                        <a14:imgLayer r:embed="rId14">
                          <a14:imgEffect>
                            <a14:colorTemperature colorTemp="4700"/>
                          </a14:imgEffect>
                          <a14:imgEffect>
                            <a14:saturation sat="200000"/>
                          </a14:imgEffect>
                        </a14:imgLayer>
                      </a14:imgProps>
                    </a:ext>
                    <a:ext uri="{28A0092B-C50C-407E-A947-70E740481C1C}">
                      <a14:useLocalDpi xmlns:a14="http://schemas.microsoft.com/office/drawing/2010/main"/>
                    </a:ext>
                  </a:extLst>
                </a:blip>
                <a:stretch>
                  <a:fillRect/>
                </a:stretch>
              </p:blipFill>
              <p:spPr>
                <a:xfrm>
                  <a:off x="3824863" y="3026670"/>
                  <a:ext cx="501610" cy="462451"/>
                </a:xfrm>
                <a:prstGeom prst="rect">
                  <a:avLst/>
                </a:prstGeom>
                <a:noFill/>
                <a:ln>
                  <a:noFill/>
                </a:ln>
              </p:spPr>
            </p:pic>
          </p:grpSp>
          <p:pic>
            <p:nvPicPr>
              <p:cNvPr id="15" name="Picture 14" descr="storage disks.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886200" y="2919766"/>
                <a:ext cx="381000" cy="469194"/>
              </a:xfrm>
              <a:prstGeom prst="rect">
                <a:avLst/>
              </a:prstGeom>
            </p:spPr>
          </p:pic>
          <p:pic>
            <p:nvPicPr>
              <p:cNvPr id="16" name="Picture 15" descr="basic 3d box trans.png"/>
              <p:cNvPicPr>
                <a:picLocks noChangeAspect="1"/>
              </p:cNvPicPr>
              <p:nvPr/>
            </p:nvPicPr>
            <p:blipFill>
              <a:blip r:embed="rId16"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3771900" y="2800350"/>
                <a:ext cx="609600" cy="711200"/>
              </a:xfrm>
              <a:prstGeom prst="rect">
                <a:avLst/>
              </a:prstGeom>
            </p:spPr>
          </p:pic>
          <p:pic>
            <p:nvPicPr>
              <p:cNvPr id="17" name="Picture 21" descr="ICON_BladeServer_Q408"/>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895600" y="2952750"/>
                <a:ext cx="457200" cy="411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descr="basic 3d box trans.png"/>
              <p:cNvPicPr>
                <a:picLocks noChangeAspect="1"/>
              </p:cNvPicPr>
              <p:nvPr/>
            </p:nvPicPr>
            <p:blipFill>
              <a:blip r:embed="rId16"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2819400" y="2800350"/>
                <a:ext cx="609600" cy="711200"/>
              </a:xfrm>
              <a:prstGeom prst="rect">
                <a:avLst/>
              </a:prstGeom>
            </p:spPr>
          </p:pic>
          <p:pic>
            <p:nvPicPr>
              <p:cNvPr id="19" name="Picture 18" descr="switch.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775215" y="2982453"/>
                <a:ext cx="495300" cy="355824"/>
              </a:xfrm>
              <a:prstGeom prst="rect">
                <a:avLst/>
              </a:prstGeom>
            </p:spPr>
          </p:pic>
          <p:pic>
            <p:nvPicPr>
              <p:cNvPr id="20" name="Picture 19" descr="basic 3d box trans.png"/>
              <p:cNvPicPr>
                <a:picLocks noChangeAspect="1"/>
              </p:cNvPicPr>
              <p:nvPr/>
            </p:nvPicPr>
            <p:blipFill>
              <a:blip r:embed="rId16"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4724400" y="2800350"/>
                <a:ext cx="609600" cy="711200"/>
              </a:xfrm>
              <a:prstGeom prst="rect">
                <a:avLst/>
              </a:prstGeom>
            </p:spPr>
          </p:pic>
        </p:grpSp>
        <p:sp>
          <p:nvSpPr>
            <p:cNvPr id="12" name="Round Same Side Corner Rectangle 11"/>
            <p:cNvSpPr/>
            <p:nvPr/>
          </p:nvSpPr>
          <p:spPr>
            <a:xfrm>
              <a:off x="2837213" y="2409718"/>
              <a:ext cx="3429000" cy="284738"/>
            </a:xfrm>
            <a:prstGeom prst="round2SameRect">
              <a:avLst>
                <a:gd name="adj1" fmla="val 15788"/>
                <a:gd name="adj2" fmla="val 0"/>
              </a:avLst>
            </a:prstGeom>
            <a:gradFill flip="none" rotWithShape="1">
              <a:gsLst>
                <a:gs pos="0">
                  <a:schemeClr val="tx2">
                    <a:lumMod val="50000"/>
                    <a:alpha val="70000"/>
                  </a:schemeClr>
                </a:gs>
                <a:gs pos="100000">
                  <a:srgbClr val="FFFFFF">
                    <a:alpha val="0"/>
                  </a:srgbClr>
                </a:gs>
              </a:gsLst>
              <a:lin ang="5400000" scaled="0"/>
              <a:tileRect/>
            </a:gradFill>
          </p:spPr>
          <p:txBody>
            <a:bodyPr wrap="square" lIns="0" tIns="9144" rIns="0" bIns="0" anchor="t" anchorCtr="0">
              <a:noAutofit/>
            </a:bodyPr>
            <a:lstStyle/>
            <a:p>
              <a:pPr algn="ctr">
                <a:lnSpc>
                  <a:spcPct val="90000"/>
                </a:lnSpc>
              </a:pPr>
              <a:r>
                <a:rPr lang="en-US" sz="1400" dirty="0">
                  <a:solidFill>
                    <a:srgbClr val="FFFFFF"/>
                  </a:solidFill>
                  <a:effectLst>
                    <a:glow rad="50800">
                      <a:schemeClr val="tx2">
                        <a:alpha val="75000"/>
                      </a:schemeClr>
                    </a:glow>
                  </a:effectLst>
                </a:rPr>
                <a:t>Virtualized Infrastructure</a:t>
              </a:r>
            </a:p>
          </p:txBody>
        </p:sp>
        <p:sp>
          <p:nvSpPr>
            <p:cNvPr id="13" name="Rectangle 12"/>
            <p:cNvSpPr/>
            <p:nvPr/>
          </p:nvSpPr>
          <p:spPr>
            <a:xfrm>
              <a:off x="2608613" y="3226458"/>
              <a:ext cx="3200400" cy="197490"/>
            </a:xfrm>
            <a:prstGeom prst="rect">
              <a:avLst/>
            </a:prstGeom>
            <a:noFill/>
          </p:spPr>
          <p:txBody>
            <a:bodyPr wrap="square" lIns="0" tIns="0" rIns="0" bIns="0" anchor="ctr" anchorCtr="0">
              <a:spAutoFit/>
            </a:bodyPr>
            <a:lstStyle/>
            <a:p>
              <a:pPr algn="r">
                <a:lnSpc>
                  <a:spcPct val="90000"/>
                </a:lnSpc>
              </a:pPr>
              <a:r>
                <a:rPr lang="en-US" sz="1400" dirty="0" smtClean="0">
                  <a:effectLst>
                    <a:glow rad="76200">
                      <a:schemeClr val="bg1"/>
                    </a:glow>
                  </a:effectLst>
                </a:rPr>
                <a:t>Software-Defined Storage</a:t>
              </a:r>
              <a:endParaRPr lang="en-US" sz="1400" dirty="0">
                <a:effectLst>
                  <a:glow rad="76200">
                    <a:schemeClr val="bg1"/>
                  </a:glow>
                </a:effectLst>
              </a:endParaRPr>
            </a:p>
          </p:txBody>
        </p:sp>
      </p:grpSp>
      <p:grpSp>
        <p:nvGrpSpPr>
          <p:cNvPr id="37" name="Group 36"/>
          <p:cNvGrpSpPr/>
          <p:nvPr/>
        </p:nvGrpSpPr>
        <p:grpSpPr>
          <a:xfrm>
            <a:off x="7815443" y="1592093"/>
            <a:ext cx="935324" cy="603804"/>
            <a:chOff x="8072685" y="1102206"/>
            <a:chExt cx="935324" cy="603804"/>
          </a:xfrm>
        </p:grpSpPr>
        <p:pic>
          <p:nvPicPr>
            <p:cNvPr id="38" name="Picture 37" descr="cloud public orange 100percent.png"/>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072685" y="1102206"/>
              <a:ext cx="935324" cy="603804"/>
            </a:xfrm>
            <a:prstGeom prst="rect">
              <a:avLst/>
            </a:prstGeom>
          </p:spPr>
        </p:pic>
        <p:pic>
          <p:nvPicPr>
            <p:cNvPr id="39" name="Picture 38"/>
            <p:cNvPicPr>
              <a:picLocks noChangeAspect="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76064" y="1214349"/>
              <a:ext cx="473496" cy="174602"/>
            </a:xfrm>
            <a:prstGeom prst="rect">
              <a:avLst/>
            </a:prstGeom>
            <a:noFill/>
            <a:ln>
              <a:noFill/>
            </a:ln>
            <a:effectLst>
              <a:glow rad="101600">
                <a:schemeClr val="bg1">
                  <a:alpha val="75000"/>
                </a:schemeClr>
              </a:glow>
            </a:effectLst>
          </p:spPr>
        </p:pic>
        <p:pic>
          <p:nvPicPr>
            <p:cNvPr id="40" name="Picture 39"/>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220890" y="1444722"/>
              <a:ext cx="664249" cy="100709"/>
            </a:xfrm>
            <a:prstGeom prst="rect">
              <a:avLst/>
            </a:prstGeom>
          </p:spPr>
        </p:pic>
      </p:grpSp>
      <p:grpSp>
        <p:nvGrpSpPr>
          <p:cNvPr id="41" name="Group 40"/>
          <p:cNvGrpSpPr/>
          <p:nvPr/>
        </p:nvGrpSpPr>
        <p:grpSpPr>
          <a:xfrm>
            <a:off x="7221034" y="1989720"/>
            <a:ext cx="1652284" cy="1066641"/>
            <a:chOff x="7040382" y="2003688"/>
            <a:chExt cx="1447498" cy="934440"/>
          </a:xfrm>
        </p:grpSpPr>
        <p:pic>
          <p:nvPicPr>
            <p:cNvPr id="42" name="Picture 41" descr="cloud public orange 100percent.pn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040382" y="2003688"/>
              <a:ext cx="1447498" cy="934440"/>
            </a:xfrm>
            <a:prstGeom prst="rect">
              <a:avLst/>
            </a:prstGeom>
          </p:spPr>
        </p:pic>
        <p:sp>
          <p:nvSpPr>
            <p:cNvPr id="43" name="TextBox 42"/>
            <p:cNvSpPr txBox="1"/>
            <p:nvPr/>
          </p:nvSpPr>
          <p:spPr>
            <a:xfrm>
              <a:off x="7190252" y="2319978"/>
              <a:ext cx="1230872" cy="336701"/>
            </a:xfrm>
            <a:prstGeom prst="rect">
              <a:avLst/>
            </a:prstGeom>
            <a:effectLst/>
          </p:spPr>
          <p:txBody>
            <a:bodyPr wrap="square" rtlCol="0">
              <a:spAutoFit/>
            </a:bodyPr>
            <a:lstStyle/>
            <a:p>
              <a:pPr algn="ctr">
                <a:lnSpc>
                  <a:spcPct val="85000"/>
                </a:lnSpc>
                <a:buClr>
                  <a:srgbClr val="339933"/>
                </a:buClr>
              </a:pPr>
              <a:r>
                <a:rPr lang="en-US" sz="1100" dirty="0" smtClean="0">
                  <a:solidFill>
                    <a:srgbClr val="7F7F7F"/>
                  </a:solidFill>
                  <a:effectLst>
                    <a:glow rad="50800">
                      <a:srgbClr val="FFFFFF">
                        <a:alpha val="66000"/>
                      </a:srgbClr>
                    </a:glow>
                  </a:effectLst>
                  <a:latin typeface="Verdana"/>
                </a:rPr>
                <a:t>EMC Cloud Service Providers</a:t>
              </a:r>
              <a:endParaRPr lang="en-US" sz="1100" dirty="0">
                <a:solidFill>
                  <a:srgbClr val="7F7F7F"/>
                </a:solidFill>
                <a:effectLst>
                  <a:glow rad="50800">
                    <a:srgbClr val="FFFFFF">
                      <a:alpha val="66000"/>
                    </a:srgbClr>
                  </a:glow>
                </a:effectLst>
                <a:latin typeface="Verdana"/>
              </a:endParaRPr>
            </a:p>
          </p:txBody>
        </p:sp>
      </p:grpSp>
      <p:pic>
        <p:nvPicPr>
          <p:cNvPr id="45" name="Picture 44" descr="cloud public orange 100percent.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6587318" y="2735093"/>
            <a:ext cx="2226816" cy="1437533"/>
          </a:xfrm>
          <a:prstGeom prst="rect">
            <a:avLst/>
          </a:prstGeom>
        </p:spPr>
      </p:pic>
      <p:sp>
        <p:nvSpPr>
          <p:cNvPr id="35" name="Rectangle 34"/>
          <p:cNvSpPr/>
          <p:nvPr/>
        </p:nvSpPr>
        <p:spPr>
          <a:xfrm>
            <a:off x="2166361" y="2958261"/>
            <a:ext cx="996787" cy="307777"/>
          </a:xfrm>
          <a:prstGeom prst="rect">
            <a:avLst/>
          </a:prstGeom>
        </p:spPr>
        <p:txBody>
          <a:bodyPr wrap="none">
            <a:spAutoFit/>
          </a:bodyPr>
          <a:lstStyle/>
          <a:p>
            <a:r>
              <a:rPr lang="en-US" sz="1400" dirty="0" smtClean="0">
                <a:solidFill>
                  <a:srgbClr val="FFFFFF"/>
                </a:solidFill>
                <a:effectLst>
                  <a:glow rad="50800">
                    <a:schemeClr val="tx2">
                      <a:alpha val="75000"/>
                    </a:schemeClr>
                  </a:glow>
                </a:effectLst>
              </a:rPr>
              <a:t>Compute</a:t>
            </a:r>
            <a:endParaRPr lang="en-US" sz="1400" dirty="0"/>
          </a:p>
        </p:txBody>
      </p:sp>
      <p:sp>
        <p:nvSpPr>
          <p:cNvPr id="53" name="Rectangle 52"/>
          <p:cNvSpPr/>
          <p:nvPr/>
        </p:nvSpPr>
        <p:spPr>
          <a:xfrm>
            <a:off x="4196190" y="2958261"/>
            <a:ext cx="935422" cy="307777"/>
          </a:xfrm>
          <a:prstGeom prst="rect">
            <a:avLst/>
          </a:prstGeom>
        </p:spPr>
        <p:txBody>
          <a:bodyPr wrap="none">
            <a:spAutoFit/>
          </a:bodyPr>
          <a:lstStyle/>
          <a:p>
            <a:r>
              <a:rPr lang="en-US" sz="1400" dirty="0" smtClean="0">
                <a:solidFill>
                  <a:srgbClr val="FFFFFF"/>
                </a:solidFill>
                <a:effectLst>
                  <a:glow rad="50800">
                    <a:schemeClr val="tx2">
                      <a:alpha val="75000"/>
                    </a:schemeClr>
                  </a:glow>
                </a:effectLst>
              </a:rPr>
              <a:t>Network</a:t>
            </a:r>
            <a:endParaRPr lang="en-US" sz="1400" dirty="0"/>
          </a:p>
        </p:txBody>
      </p:sp>
      <p:pic>
        <p:nvPicPr>
          <p:cNvPr id="55" name="Picture 54" descr="vCLOUD AIR NETWORK gray.png"/>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7076765" y="3297736"/>
            <a:ext cx="1390711" cy="512109"/>
          </a:xfrm>
          <a:prstGeom prst="rect">
            <a:avLst/>
          </a:prstGeom>
          <a:effectLst>
            <a:glow rad="101600">
              <a:schemeClr val="bg1">
                <a:alpha val="60000"/>
              </a:schemeClr>
            </a:glow>
          </a:effectLst>
        </p:spPr>
      </p:pic>
      <p:pic>
        <p:nvPicPr>
          <p:cNvPr id="58" name="Picture 57" descr="Fed HybrdCloud Logo outlined.png"/>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7966639" y="133678"/>
            <a:ext cx="943785" cy="1161335"/>
          </a:xfrm>
          <a:prstGeom prst="rect">
            <a:avLst/>
          </a:prstGeom>
        </p:spPr>
      </p:pic>
    </p:spTree>
    <p:extLst>
      <p:ext uri="{BB962C8B-B14F-4D97-AF65-F5344CB8AC3E}">
        <p14:creationId xmlns:p14="http://schemas.microsoft.com/office/powerpoint/2010/main" val="1258050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2.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4632960"/>
          </a:xfrm>
          <a:prstGeom prst="rect">
            <a:avLst/>
          </a:prstGeom>
        </p:spPr>
      </p:pic>
      <p:sp>
        <p:nvSpPr>
          <p:cNvPr id="2" name="Title 1"/>
          <p:cNvSpPr>
            <a:spLocks noGrp="1"/>
          </p:cNvSpPr>
          <p:nvPr>
            <p:ph type="ctrTitle"/>
          </p:nvPr>
        </p:nvSpPr>
        <p:spPr/>
        <p:txBody>
          <a:bodyPr/>
          <a:lstStyle/>
          <a:p>
            <a:r>
              <a:rPr lang="en-US" dirty="0" smtClean="0"/>
              <a:t>THREE LEVELS OF</a:t>
            </a:r>
            <a:br>
              <a:rPr lang="en-US" dirty="0" smtClean="0"/>
            </a:br>
            <a:r>
              <a:rPr lang="en-US" dirty="0" smtClean="0"/>
              <a:t>IT TRANSFORMATION</a:t>
            </a:r>
            <a:br>
              <a:rPr lang="en-US" dirty="0" smtClean="0"/>
            </a:br>
            <a:r>
              <a:rPr lang="en-US" sz="2400" dirty="0" smtClean="0">
                <a:solidFill>
                  <a:srgbClr val="717074"/>
                </a:solidFill>
              </a:rPr>
              <a:t>OPERATING MODEL TRANSFORMATION</a:t>
            </a:r>
            <a:br>
              <a:rPr lang="en-US" sz="2400" dirty="0" smtClean="0">
                <a:solidFill>
                  <a:srgbClr val="717074"/>
                </a:solidFill>
              </a:rPr>
            </a:br>
            <a:endParaRPr lang="en-US" sz="2400" dirty="0">
              <a:solidFill>
                <a:srgbClr val="717074"/>
              </a:solidFill>
            </a:endParaRPr>
          </a:p>
        </p:txBody>
      </p:sp>
    </p:spTree>
    <p:extLst>
      <p:ext uri="{BB962C8B-B14F-4D97-AF65-F5344CB8AC3E}">
        <p14:creationId xmlns:p14="http://schemas.microsoft.com/office/powerpoint/2010/main" val="3268435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NEW IT OPERATING MODEL</a:t>
            </a:r>
            <a:endParaRPr lang="en-US" dirty="0"/>
          </a:p>
        </p:txBody>
      </p:sp>
      <p:sp>
        <p:nvSpPr>
          <p:cNvPr id="2" name="Subtitle 1"/>
          <p:cNvSpPr>
            <a:spLocks noGrp="1"/>
          </p:cNvSpPr>
          <p:nvPr>
            <p:ph type="subTitle" idx="1"/>
          </p:nvPr>
        </p:nvSpPr>
        <p:spPr/>
        <p:txBody>
          <a:bodyPr/>
          <a:lstStyle/>
          <a:p>
            <a:r>
              <a:rPr lang="en-US" dirty="0" smtClean="0"/>
              <a:t>NEW ORGANIZATION &amp; ROLES IN IT TRANSFORMATION</a:t>
            </a:r>
            <a:endParaRPr lang="en-US" dirty="0"/>
          </a:p>
        </p:txBody>
      </p:sp>
      <p:sp>
        <p:nvSpPr>
          <p:cNvPr id="55" name="Down Arrow 54"/>
          <p:cNvSpPr/>
          <p:nvPr/>
        </p:nvSpPr>
        <p:spPr>
          <a:xfrm>
            <a:off x="8573589" y="1188716"/>
            <a:ext cx="367936" cy="3095783"/>
          </a:xfrm>
          <a:prstGeom prst="downArrow">
            <a:avLst>
              <a:gd name="adj1" fmla="val 68091"/>
              <a:gd name="adj2" fmla="val 50000"/>
            </a:avLst>
          </a:prstGeom>
          <a:gradFill flip="none" rotWithShape="1">
            <a:gsLst>
              <a:gs pos="0">
                <a:schemeClr val="tx1">
                  <a:lumMod val="50000"/>
                  <a:lumOff val="50000"/>
                </a:schemeClr>
              </a:gs>
              <a:gs pos="50000">
                <a:schemeClr val="bg1">
                  <a:lumMod val="85000"/>
                  <a:shade val="67500"/>
                  <a:satMod val="115000"/>
                </a:schemeClr>
              </a:gs>
              <a:gs pos="100000">
                <a:schemeClr val="bg1">
                  <a:lumMod val="85000"/>
                  <a:shade val="100000"/>
                  <a:satMod val="115000"/>
                  <a:alpha val="50000"/>
                </a:schemeClr>
              </a:gs>
            </a:gsLst>
            <a:lin ang="162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vert="vert" lIns="27432" tIns="0" rIns="0" bIns="0" rtlCol="0" anchor="ctr" anchorCtr="1"/>
          <a:lstStyle/>
          <a:p>
            <a:pPr algn="ctr"/>
            <a:r>
              <a:rPr lang="en-US" spc="300" dirty="0" smtClean="0">
                <a:solidFill>
                  <a:schemeClr val="tx1"/>
                </a:solidFill>
              </a:rPr>
              <a:t>DEMAND</a:t>
            </a:r>
            <a:endParaRPr lang="en-US" spc="300" dirty="0">
              <a:solidFill>
                <a:schemeClr val="tx1"/>
              </a:solidFill>
            </a:endParaRPr>
          </a:p>
        </p:txBody>
      </p:sp>
      <p:grpSp>
        <p:nvGrpSpPr>
          <p:cNvPr id="51" name="Group 50"/>
          <p:cNvGrpSpPr/>
          <p:nvPr/>
        </p:nvGrpSpPr>
        <p:grpSpPr>
          <a:xfrm>
            <a:off x="585087" y="1178855"/>
            <a:ext cx="7933916" cy="3173991"/>
            <a:chOff x="585087" y="1178855"/>
            <a:chExt cx="7933916" cy="3173991"/>
          </a:xfrm>
        </p:grpSpPr>
        <p:sp>
          <p:nvSpPr>
            <p:cNvPr id="7" name="Rectangle 6"/>
            <p:cNvSpPr/>
            <p:nvPr/>
          </p:nvSpPr>
          <p:spPr>
            <a:xfrm>
              <a:off x="585087" y="3409404"/>
              <a:ext cx="7928526" cy="943442"/>
            </a:xfrm>
            <a:prstGeom prst="rect">
              <a:avLst/>
            </a:prstGeom>
            <a:solidFill>
              <a:schemeClr val="tx2">
                <a:lumMod val="60000"/>
                <a:lumOff val="40000"/>
              </a:schemeClr>
            </a:solidFill>
            <a:ln w="25400" cmpd="sng">
              <a:noFill/>
            </a:ln>
            <a:effectLst/>
          </p:spPr>
          <p:style>
            <a:lnRef idx="1">
              <a:schemeClr val="accent1"/>
            </a:lnRef>
            <a:fillRef idx="3">
              <a:schemeClr val="accent1"/>
            </a:fillRef>
            <a:effectRef idx="2">
              <a:schemeClr val="accent1"/>
            </a:effectRef>
            <a:fontRef idx="minor">
              <a:schemeClr val="lt1"/>
            </a:fontRef>
          </p:style>
          <p:txBody>
            <a:bodyPr bIns="27432" rtlCol="0" anchor="b" anchorCtr="0"/>
            <a:lstStyle/>
            <a:p>
              <a:pPr algn="ctr"/>
              <a:r>
                <a:rPr lang="en-US" sz="1400" dirty="0" smtClean="0">
                  <a:solidFill>
                    <a:srgbClr val="FFFFFF"/>
                  </a:solidFill>
                </a:rPr>
                <a:t>“ELASTIC IT” SUPPLY</a:t>
              </a:r>
              <a:endParaRPr lang="en-US" sz="1400" dirty="0">
                <a:solidFill>
                  <a:srgbClr val="FFFFFF"/>
                </a:solidFill>
              </a:endParaRPr>
            </a:p>
          </p:txBody>
        </p:sp>
        <p:sp>
          <p:nvSpPr>
            <p:cNvPr id="13" name="TextBox 12"/>
            <p:cNvSpPr txBox="1"/>
            <p:nvPr/>
          </p:nvSpPr>
          <p:spPr>
            <a:xfrm>
              <a:off x="4568795" y="2457495"/>
              <a:ext cx="3950208" cy="697681"/>
            </a:xfrm>
            <a:prstGeom prst="rect">
              <a:avLst/>
            </a:prstGeom>
            <a:solidFill>
              <a:srgbClr val="6DB769"/>
            </a:solidFill>
            <a:ln>
              <a:noFill/>
            </a:ln>
          </p:spPr>
          <p:txBody>
            <a:bodyPr wrap="square" lIns="0" tIns="91440" rIns="0" bIns="0" rtlCol="0">
              <a:noAutofit/>
            </a:bodyPr>
            <a:lstStyle>
              <a:defPPr>
                <a:defRPr lang="en-US"/>
              </a:defPPr>
              <a:lvl1pPr algn="ctr">
                <a:defRPr sz="1000">
                  <a:solidFill>
                    <a:srgbClr val="FFFFFF"/>
                  </a:solidFill>
                </a:defRPr>
              </a:lvl1pPr>
            </a:lstStyle>
            <a:p>
              <a:r>
                <a:rPr lang="en-US" sz="1400" b="1" dirty="0" smtClean="0">
                  <a:solidFill>
                    <a:schemeClr val="tx1"/>
                  </a:solidFill>
                </a:rPr>
                <a:t>SERVICE OPERATIONS</a:t>
              </a:r>
            </a:p>
            <a:p>
              <a:endParaRPr lang="en-US" dirty="0" smtClean="0">
                <a:solidFill>
                  <a:schemeClr val="tx1"/>
                </a:solidFill>
              </a:endParaRPr>
            </a:p>
            <a:p>
              <a:r>
                <a:rPr lang="en-US" dirty="0" smtClean="0">
                  <a:solidFill>
                    <a:schemeClr val="tx1"/>
                  </a:solidFill>
                </a:rPr>
                <a:t>Monitor</a:t>
              </a:r>
              <a:r>
                <a:rPr lang="en-US" dirty="0">
                  <a:solidFill>
                    <a:schemeClr val="tx1"/>
                  </a:solidFill>
                </a:rPr>
                <a:t>, Support, Measure, Improve </a:t>
              </a:r>
              <a:r>
                <a:rPr lang="en-US" dirty="0" smtClean="0">
                  <a:solidFill>
                    <a:schemeClr val="tx1"/>
                  </a:solidFill>
                </a:rPr>
                <a:t>Services</a:t>
              </a: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a:p>
              <a:endParaRPr lang="en-US" dirty="0" smtClean="0">
                <a:solidFill>
                  <a:schemeClr val="tx1"/>
                </a:solidFill>
              </a:endParaRPr>
            </a:p>
          </p:txBody>
        </p:sp>
        <p:sp>
          <p:nvSpPr>
            <p:cNvPr id="23" name="TextBox 22"/>
            <p:cNvSpPr txBox="1"/>
            <p:nvPr/>
          </p:nvSpPr>
          <p:spPr>
            <a:xfrm rot="16200000">
              <a:off x="5404870" y="2694060"/>
              <a:ext cx="428883" cy="1508760"/>
            </a:xfrm>
            <a:prstGeom prst="homePlate">
              <a:avLst>
                <a:gd name="adj" fmla="val 42189"/>
              </a:avLst>
            </a:prstGeom>
            <a:solidFill>
              <a:srgbClr val="2083C6"/>
            </a:solidFill>
            <a:ln w="28575" cmpd="sng">
              <a:noFill/>
            </a:ln>
            <a:effectLst>
              <a:outerShdw blurRad="38100" dist="12700" dir="16200000" rotWithShape="0">
                <a:prstClr val="black">
                  <a:alpha val="40000"/>
                </a:prstClr>
              </a:outerShdw>
            </a:effectLst>
          </p:spPr>
          <p:txBody>
            <a:bodyPr vert="vert" wrap="square" lIns="0" tIns="0" rIns="0" bIns="0" rtlCol="0" anchor="ctr" anchorCtr="0">
              <a:noAutofit/>
            </a:bodyPr>
            <a:lstStyle/>
            <a:p>
              <a:pPr algn="ctr"/>
              <a:r>
                <a:rPr lang="en-US" sz="1000" dirty="0" smtClean="0">
                  <a:solidFill>
                    <a:schemeClr val="bg1"/>
                  </a:solidFill>
                </a:rPr>
                <a:t>Supply</a:t>
              </a:r>
            </a:p>
          </p:txBody>
        </p:sp>
        <p:sp>
          <p:nvSpPr>
            <p:cNvPr id="32" name="Rectangle 31"/>
            <p:cNvSpPr/>
            <p:nvPr/>
          </p:nvSpPr>
          <p:spPr>
            <a:xfrm>
              <a:off x="585087" y="3695221"/>
              <a:ext cx="1508760" cy="329861"/>
            </a:xfrm>
            <a:prstGeom prst="rect">
              <a:avLst/>
            </a:prstGeom>
            <a:solidFill>
              <a:srgbClr val="399CDF"/>
            </a:solidFill>
            <a:ln w="28575" cmpd="sng">
              <a:noFill/>
            </a:ln>
            <a:effectLst>
              <a:outerShdw blurRad="25400" dist="254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solidFill>
                    <a:schemeClr val="bg1"/>
                  </a:solidFill>
                </a:rPr>
                <a:t>IT Service Center</a:t>
              </a:r>
              <a:endParaRPr lang="en-US" sz="1000" dirty="0">
                <a:solidFill>
                  <a:schemeClr val="bg1"/>
                </a:solidFill>
              </a:endParaRPr>
            </a:p>
          </p:txBody>
        </p:sp>
        <p:sp>
          <p:nvSpPr>
            <p:cNvPr id="33" name="Rectangle 32"/>
            <p:cNvSpPr/>
            <p:nvPr/>
          </p:nvSpPr>
          <p:spPr>
            <a:xfrm>
              <a:off x="2725009" y="3695221"/>
              <a:ext cx="1508760" cy="329861"/>
            </a:xfrm>
            <a:prstGeom prst="rect">
              <a:avLst/>
            </a:prstGeom>
            <a:solidFill>
              <a:srgbClr val="399CDF"/>
            </a:solidFill>
            <a:ln w="28575" cmpd="sng">
              <a:noFill/>
            </a:ln>
            <a:effectLst>
              <a:outerShdw blurRad="25400" dist="254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solidFill>
                    <a:schemeClr val="bg1"/>
                  </a:solidFill>
                </a:rPr>
                <a:t>IT Service Center</a:t>
              </a:r>
              <a:endParaRPr lang="en-US" sz="1000" dirty="0">
                <a:solidFill>
                  <a:schemeClr val="bg1"/>
                </a:solidFill>
              </a:endParaRPr>
            </a:p>
          </p:txBody>
        </p:sp>
        <p:sp>
          <p:nvSpPr>
            <p:cNvPr id="34" name="Rectangle 33"/>
            <p:cNvSpPr/>
            <p:nvPr/>
          </p:nvSpPr>
          <p:spPr>
            <a:xfrm>
              <a:off x="4864931" y="3695221"/>
              <a:ext cx="1508760" cy="329861"/>
            </a:xfrm>
            <a:prstGeom prst="rect">
              <a:avLst/>
            </a:prstGeom>
            <a:solidFill>
              <a:srgbClr val="399CDF"/>
            </a:solidFill>
            <a:ln w="28575" cmpd="sng">
              <a:noFill/>
            </a:ln>
            <a:effectLst>
              <a:outerShdw blurRad="25400" dist="254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solidFill>
                    <a:schemeClr val="bg1"/>
                  </a:solidFill>
                </a:rPr>
                <a:t>IT Service Center</a:t>
              </a:r>
              <a:endParaRPr lang="en-US" sz="1000" dirty="0">
                <a:solidFill>
                  <a:schemeClr val="bg1"/>
                </a:solidFill>
              </a:endParaRPr>
            </a:p>
          </p:txBody>
        </p:sp>
        <p:sp>
          <p:nvSpPr>
            <p:cNvPr id="35" name="Rectangle 34"/>
            <p:cNvSpPr/>
            <p:nvPr/>
          </p:nvSpPr>
          <p:spPr>
            <a:xfrm>
              <a:off x="7004853" y="3695898"/>
              <a:ext cx="1508760" cy="329184"/>
            </a:xfrm>
            <a:prstGeom prst="rect">
              <a:avLst/>
            </a:prstGeom>
            <a:solidFill>
              <a:srgbClr val="399CDF"/>
            </a:solidFill>
            <a:ln w="28575" cmpd="sng">
              <a:noFill/>
            </a:ln>
            <a:effectLst>
              <a:outerShdw blurRad="25400" dist="254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solidFill>
                    <a:schemeClr val="bg1"/>
                  </a:solidFill>
                </a:rPr>
                <a:t>SP Service Center</a:t>
              </a:r>
              <a:endParaRPr lang="en-US" sz="1000" dirty="0">
                <a:solidFill>
                  <a:schemeClr val="bg1"/>
                </a:solidFill>
              </a:endParaRPr>
            </a:p>
          </p:txBody>
        </p:sp>
        <p:sp>
          <p:nvSpPr>
            <p:cNvPr id="58" name="Left-Right Arrow 57"/>
            <p:cNvSpPr/>
            <p:nvPr/>
          </p:nvSpPr>
          <p:spPr>
            <a:xfrm>
              <a:off x="2121962" y="3705375"/>
              <a:ext cx="557098" cy="303669"/>
            </a:xfrm>
            <a:prstGeom prst="leftRightArrow">
              <a:avLst/>
            </a:prstGeom>
            <a:solidFill>
              <a:schemeClr val="bg1"/>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grpSp>
          <p:nvGrpSpPr>
            <p:cNvPr id="50" name="Group 49"/>
            <p:cNvGrpSpPr/>
            <p:nvPr/>
          </p:nvGrpSpPr>
          <p:grpSpPr>
            <a:xfrm>
              <a:off x="585087" y="1178855"/>
              <a:ext cx="7933916" cy="1194609"/>
              <a:chOff x="585087" y="1178855"/>
              <a:chExt cx="7933916" cy="1194609"/>
            </a:xfrm>
          </p:grpSpPr>
          <p:sp>
            <p:nvSpPr>
              <p:cNvPr id="10" name="Rectangle 9"/>
              <p:cNvSpPr/>
              <p:nvPr/>
            </p:nvSpPr>
            <p:spPr>
              <a:xfrm>
                <a:off x="590478" y="1178855"/>
                <a:ext cx="7928525" cy="764245"/>
              </a:xfrm>
              <a:prstGeom prst="rect">
                <a:avLst/>
              </a:prstGeom>
              <a:solidFill>
                <a:schemeClr val="tx1">
                  <a:lumMod val="65000"/>
                  <a:lumOff val="35000"/>
                </a:schemeClr>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27432" rIns="0" bIns="0" rtlCol="0" anchor="t" anchorCtr="0"/>
              <a:lstStyle/>
              <a:p>
                <a:pPr algn="ctr"/>
                <a:r>
                  <a:rPr lang="en-US" sz="1400" dirty="0" smtClean="0">
                    <a:solidFill>
                      <a:schemeClr val="bg1"/>
                    </a:solidFill>
                  </a:rPr>
                  <a:t>BUSINESS</a:t>
                </a:r>
                <a:endParaRPr lang="en-US" sz="1400" dirty="0">
                  <a:solidFill>
                    <a:schemeClr val="bg1"/>
                  </a:solidFill>
                </a:endParaRPr>
              </a:p>
            </p:txBody>
          </p:sp>
          <p:sp>
            <p:nvSpPr>
              <p:cNvPr id="11" name="Rectangle 10"/>
              <p:cNvSpPr/>
              <p:nvPr/>
            </p:nvSpPr>
            <p:spPr>
              <a:xfrm>
                <a:off x="585087" y="1455205"/>
                <a:ext cx="1097280" cy="329861"/>
              </a:xfrm>
              <a:prstGeom prst="rect">
                <a:avLst/>
              </a:prstGeom>
              <a:solidFill>
                <a:schemeClr val="bg1">
                  <a:lumMod val="50000"/>
                </a:schemeClr>
              </a:solidFill>
              <a:ln w="28575" cmpd="sng">
                <a:noFill/>
              </a:ln>
              <a:effectLst>
                <a:outerShdw blurRad="25400" dist="25400" dir="16200000"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t>Department</a:t>
                </a:r>
                <a:endParaRPr lang="en-US" sz="1000" dirty="0"/>
              </a:p>
            </p:txBody>
          </p:sp>
          <p:sp>
            <p:nvSpPr>
              <p:cNvPr id="12" name="Rectangle 11"/>
              <p:cNvSpPr/>
              <p:nvPr/>
            </p:nvSpPr>
            <p:spPr>
              <a:xfrm>
                <a:off x="590477" y="2109004"/>
                <a:ext cx="7928526" cy="264460"/>
              </a:xfrm>
              <a:prstGeom prst="rect">
                <a:avLst/>
              </a:prstGeom>
              <a:solidFill>
                <a:schemeClr val="bg2"/>
              </a:solidFill>
              <a:ln w="2857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chemeClr val="bg1"/>
                    </a:solidFill>
                  </a:rPr>
                  <a:t>BUSINESS RELATIONSHIP MANAGEMENT (BRM)</a:t>
                </a:r>
                <a:endParaRPr lang="en-US" sz="1400" b="1" dirty="0">
                  <a:solidFill>
                    <a:schemeClr val="bg1"/>
                  </a:solidFill>
                </a:endParaRPr>
              </a:p>
            </p:txBody>
          </p:sp>
          <p:sp>
            <p:nvSpPr>
              <p:cNvPr id="16" name="Rectangle 15"/>
              <p:cNvSpPr/>
              <p:nvPr/>
            </p:nvSpPr>
            <p:spPr>
              <a:xfrm>
                <a:off x="1724526" y="1455205"/>
                <a:ext cx="1097280" cy="329861"/>
              </a:xfrm>
              <a:prstGeom prst="rect">
                <a:avLst/>
              </a:prstGeom>
              <a:solidFill>
                <a:schemeClr val="bg1">
                  <a:lumMod val="50000"/>
                </a:schemeClr>
              </a:solidFill>
              <a:ln w="28575" cmpd="sng">
                <a:noFill/>
              </a:ln>
              <a:effectLst>
                <a:outerShdw blurRad="25400" dist="25400" dir="16200000"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t>Department</a:t>
                </a:r>
                <a:endParaRPr lang="en-US" sz="1000" dirty="0"/>
              </a:p>
            </p:txBody>
          </p:sp>
          <p:sp>
            <p:nvSpPr>
              <p:cNvPr id="17" name="Rectangle 16"/>
              <p:cNvSpPr/>
              <p:nvPr/>
            </p:nvSpPr>
            <p:spPr>
              <a:xfrm>
                <a:off x="2863965" y="1455205"/>
                <a:ext cx="1097280" cy="329861"/>
              </a:xfrm>
              <a:prstGeom prst="rect">
                <a:avLst/>
              </a:prstGeom>
              <a:solidFill>
                <a:schemeClr val="bg1">
                  <a:lumMod val="50000"/>
                </a:schemeClr>
              </a:solidFill>
              <a:ln w="28575" cmpd="sng">
                <a:noFill/>
              </a:ln>
              <a:effectLst>
                <a:outerShdw blurRad="25400" dist="25400" dir="16200000"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t>Department</a:t>
                </a:r>
                <a:endParaRPr lang="en-US" sz="1000" dirty="0"/>
              </a:p>
            </p:txBody>
          </p:sp>
          <p:sp>
            <p:nvSpPr>
              <p:cNvPr id="19" name="Rectangle 18"/>
              <p:cNvSpPr/>
              <p:nvPr/>
            </p:nvSpPr>
            <p:spPr>
              <a:xfrm>
                <a:off x="4003404" y="1455205"/>
                <a:ext cx="1097280" cy="329861"/>
              </a:xfrm>
              <a:prstGeom prst="rect">
                <a:avLst/>
              </a:prstGeom>
              <a:solidFill>
                <a:schemeClr val="bg1">
                  <a:lumMod val="50000"/>
                </a:schemeClr>
              </a:solidFill>
              <a:ln w="28575" cmpd="sng">
                <a:noFill/>
              </a:ln>
              <a:effectLst>
                <a:outerShdw blurRad="25400" dist="25400" dir="16200000"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t>Department</a:t>
                </a:r>
                <a:endParaRPr lang="en-US" sz="1000" dirty="0"/>
              </a:p>
            </p:txBody>
          </p:sp>
          <p:sp>
            <p:nvSpPr>
              <p:cNvPr id="20" name="Rectangle 19"/>
              <p:cNvSpPr/>
              <p:nvPr/>
            </p:nvSpPr>
            <p:spPr>
              <a:xfrm>
                <a:off x="5142843" y="1455205"/>
                <a:ext cx="1097280" cy="329861"/>
              </a:xfrm>
              <a:prstGeom prst="rect">
                <a:avLst/>
              </a:prstGeom>
              <a:solidFill>
                <a:schemeClr val="bg1">
                  <a:lumMod val="50000"/>
                </a:schemeClr>
              </a:solidFill>
              <a:ln w="28575" cmpd="sng">
                <a:noFill/>
              </a:ln>
              <a:effectLst>
                <a:outerShdw blurRad="25400" dist="25400" dir="16200000"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t>Department</a:t>
                </a:r>
                <a:endParaRPr lang="en-US" sz="1000" dirty="0"/>
              </a:p>
            </p:txBody>
          </p:sp>
          <p:sp>
            <p:nvSpPr>
              <p:cNvPr id="21" name="Rectangle 20"/>
              <p:cNvSpPr/>
              <p:nvPr/>
            </p:nvSpPr>
            <p:spPr>
              <a:xfrm>
                <a:off x="6282282" y="1455205"/>
                <a:ext cx="1097280" cy="329861"/>
              </a:xfrm>
              <a:prstGeom prst="rect">
                <a:avLst/>
              </a:prstGeom>
              <a:solidFill>
                <a:schemeClr val="bg1">
                  <a:lumMod val="50000"/>
                </a:schemeClr>
              </a:solidFill>
              <a:ln w="28575" cmpd="sng">
                <a:noFill/>
              </a:ln>
              <a:effectLst>
                <a:outerShdw blurRad="25400" dist="25400" dir="16200000"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t>Department</a:t>
                </a:r>
                <a:endParaRPr lang="en-US" sz="1000" dirty="0"/>
              </a:p>
            </p:txBody>
          </p:sp>
          <p:sp>
            <p:nvSpPr>
              <p:cNvPr id="22" name="Rectangle 21"/>
              <p:cNvSpPr/>
              <p:nvPr/>
            </p:nvSpPr>
            <p:spPr>
              <a:xfrm>
                <a:off x="7421722" y="1455205"/>
                <a:ext cx="1097280" cy="329861"/>
              </a:xfrm>
              <a:prstGeom prst="rect">
                <a:avLst/>
              </a:prstGeom>
              <a:solidFill>
                <a:schemeClr val="bg1">
                  <a:lumMod val="50000"/>
                </a:schemeClr>
              </a:solidFill>
              <a:ln w="28575" cmpd="sng">
                <a:noFill/>
              </a:ln>
              <a:effectLst>
                <a:outerShdw blurRad="25400" dist="25400" dir="16200000"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dirty="0" smtClean="0"/>
                  <a:t>Department</a:t>
                </a:r>
                <a:endParaRPr lang="en-US" sz="1000" dirty="0"/>
              </a:p>
            </p:txBody>
          </p:sp>
          <p:grpSp>
            <p:nvGrpSpPr>
              <p:cNvPr id="4" name="Group 62"/>
              <p:cNvGrpSpPr/>
              <p:nvPr/>
            </p:nvGrpSpPr>
            <p:grpSpPr>
              <a:xfrm>
                <a:off x="7421722" y="1785414"/>
                <a:ext cx="1097280" cy="276130"/>
                <a:chOff x="7465089" y="1746228"/>
                <a:chExt cx="1097280" cy="276130"/>
              </a:xfrm>
            </p:grpSpPr>
            <p:sp>
              <p:nvSpPr>
                <p:cNvPr id="36" name="Pentagon 35"/>
                <p:cNvSpPr/>
                <p:nvPr/>
              </p:nvSpPr>
              <p:spPr bwMode="auto">
                <a:xfrm rot="5400000">
                  <a:off x="7890031" y="1350021"/>
                  <a:ext cx="247395" cy="1097280"/>
                </a:xfrm>
                <a:prstGeom prst="homePlate">
                  <a:avLst/>
                </a:prstGeom>
                <a:solidFill>
                  <a:schemeClr val="bg1">
                    <a:lumMod val="65000"/>
                  </a:schemeClr>
                </a:solidFill>
                <a:ln w="9525" cap="flat" cmpd="sng" algn="ctr">
                  <a:noFill/>
                  <a:prstDash val="solid"/>
                  <a:round/>
                  <a:headEnd type="none" w="med" len="med"/>
                  <a:tailEnd type="none" w="med" len="med"/>
                </a:ln>
                <a:effectLst>
                  <a:outerShdw blurRad="25400" dist="25400" dir="5400000" algn="t" rotWithShape="0">
                    <a:prstClr val="black">
                      <a:alpha val="40000"/>
                    </a:prstClr>
                  </a:outerShdw>
                </a:effectLst>
              </p:spPr>
              <p:txBody>
                <a:bodyPr lIns="0" tIns="0" rIns="0" bIns="0" anchor="ctr"/>
                <a:lstStyle/>
                <a:p>
                  <a:pPr algn="ctr" defTabSz="914400">
                    <a:defRPr/>
                  </a:pPr>
                  <a:endParaRPr lang="en-US" sz="1000" dirty="0">
                    <a:solidFill>
                      <a:srgbClr val="000000"/>
                    </a:solidFill>
                  </a:endParaRPr>
                </a:p>
              </p:txBody>
            </p:sp>
            <p:sp>
              <p:nvSpPr>
                <p:cNvPr id="37" name="Rectangle 36"/>
                <p:cNvSpPr/>
                <p:nvPr/>
              </p:nvSpPr>
              <p:spPr>
                <a:xfrm>
                  <a:off x="7636066" y="1746228"/>
                  <a:ext cx="724878" cy="246221"/>
                </a:xfrm>
                <a:prstGeom prst="rect">
                  <a:avLst/>
                </a:prstGeom>
              </p:spPr>
              <p:txBody>
                <a:bodyPr wrap="none">
                  <a:spAutoFit/>
                </a:bodyPr>
                <a:lstStyle/>
                <a:p>
                  <a:r>
                    <a:rPr lang="en-US" sz="1000" smtClean="0">
                      <a:solidFill>
                        <a:srgbClr val="FFFFFF"/>
                      </a:solidFill>
                    </a:rPr>
                    <a:t>Demand</a:t>
                  </a:r>
                  <a:endParaRPr lang="en-US" sz="1000" dirty="0"/>
                </a:p>
              </p:txBody>
            </p:sp>
          </p:grpSp>
          <p:grpSp>
            <p:nvGrpSpPr>
              <p:cNvPr id="5" name="Group 63"/>
              <p:cNvGrpSpPr/>
              <p:nvPr/>
            </p:nvGrpSpPr>
            <p:grpSpPr>
              <a:xfrm>
                <a:off x="6282282" y="1785414"/>
                <a:ext cx="1097280" cy="276130"/>
                <a:chOff x="7465089" y="1746228"/>
                <a:chExt cx="1097280" cy="276130"/>
              </a:xfrm>
            </p:grpSpPr>
            <p:sp>
              <p:nvSpPr>
                <p:cNvPr id="65" name="Pentagon 64"/>
                <p:cNvSpPr/>
                <p:nvPr/>
              </p:nvSpPr>
              <p:spPr bwMode="auto">
                <a:xfrm rot="5400000">
                  <a:off x="7890031" y="1350021"/>
                  <a:ext cx="247395" cy="1097280"/>
                </a:xfrm>
                <a:prstGeom prst="homePlate">
                  <a:avLst/>
                </a:prstGeom>
                <a:solidFill>
                  <a:schemeClr val="bg1">
                    <a:lumMod val="65000"/>
                  </a:schemeClr>
                </a:solidFill>
                <a:ln w="9525" cap="flat" cmpd="sng" algn="ctr">
                  <a:noFill/>
                  <a:prstDash val="solid"/>
                  <a:round/>
                  <a:headEnd type="none" w="med" len="med"/>
                  <a:tailEnd type="none" w="med" len="med"/>
                </a:ln>
                <a:effectLst>
                  <a:outerShdw blurRad="25400" dist="25400" dir="5400000" algn="t" rotWithShape="0">
                    <a:prstClr val="black">
                      <a:alpha val="40000"/>
                    </a:prstClr>
                  </a:outerShdw>
                </a:effectLst>
              </p:spPr>
              <p:txBody>
                <a:bodyPr lIns="0" tIns="0" rIns="0" bIns="0" anchor="ctr"/>
                <a:lstStyle/>
                <a:p>
                  <a:pPr algn="ctr" defTabSz="914400">
                    <a:defRPr/>
                  </a:pPr>
                  <a:endParaRPr lang="en-US" sz="1000" dirty="0">
                    <a:solidFill>
                      <a:srgbClr val="000000"/>
                    </a:solidFill>
                  </a:endParaRPr>
                </a:p>
              </p:txBody>
            </p:sp>
            <p:sp>
              <p:nvSpPr>
                <p:cNvPr id="66" name="Rectangle 65"/>
                <p:cNvSpPr/>
                <p:nvPr/>
              </p:nvSpPr>
              <p:spPr>
                <a:xfrm>
                  <a:off x="7636066" y="1746228"/>
                  <a:ext cx="724878" cy="246221"/>
                </a:xfrm>
                <a:prstGeom prst="rect">
                  <a:avLst/>
                </a:prstGeom>
              </p:spPr>
              <p:txBody>
                <a:bodyPr wrap="none">
                  <a:spAutoFit/>
                </a:bodyPr>
                <a:lstStyle/>
                <a:p>
                  <a:r>
                    <a:rPr lang="en-US" sz="1000" smtClean="0">
                      <a:solidFill>
                        <a:srgbClr val="FFFFFF"/>
                      </a:solidFill>
                    </a:rPr>
                    <a:t>Demand</a:t>
                  </a:r>
                  <a:endParaRPr lang="en-US" sz="1000" dirty="0"/>
                </a:p>
              </p:txBody>
            </p:sp>
          </p:grpSp>
          <p:grpSp>
            <p:nvGrpSpPr>
              <p:cNvPr id="6" name="Group 66"/>
              <p:cNvGrpSpPr/>
              <p:nvPr/>
            </p:nvGrpSpPr>
            <p:grpSpPr>
              <a:xfrm>
                <a:off x="5142843" y="1785414"/>
                <a:ext cx="1097280" cy="276130"/>
                <a:chOff x="7465089" y="1746228"/>
                <a:chExt cx="1097280" cy="276130"/>
              </a:xfrm>
            </p:grpSpPr>
            <p:sp>
              <p:nvSpPr>
                <p:cNvPr id="68" name="Pentagon 67"/>
                <p:cNvSpPr/>
                <p:nvPr/>
              </p:nvSpPr>
              <p:spPr bwMode="auto">
                <a:xfrm rot="5400000">
                  <a:off x="7890031" y="1350021"/>
                  <a:ext cx="247395" cy="1097280"/>
                </a:xfrm>
                <a:prstGeom prst="homePlate">
                  <a:avLst/>
                </a:prstGeom>
                <a:solidFill>
                  <a:schemeClr val="bg1">
                    <a:lumMod val="65000"/>
                  </a:schemeClr>
                </a:solidFill>
                <a:ln w="9525" cap="flat" cmpd="sng" algn="ctr">
                  <a:noFill/>
                  <a:prstDash val="solid"/>
                  <a:round/>
                  <a:headEnd type="none" w="med" len="med"/>
                  <a:tailEnd type="none" w="med" len="med"/>
                </a:ln>
                <a:effectLst>
                  <a:outerShdw blurRad="25400" dist="25400" dir="5400000" algn="t" rotWithShape="0">
                    <a:prstClr val="black">
                      <a:alpha val="40000"/>
                    </a:prstClr>
                  </a:outerShdw>
                </a:effectLst>
              </p:spPr>
              <p:txBody>
                <a:bodyPr lIns="0" tIns="0" rIns="0" bIns="0" anchor="ctr"/>
                <a:lstStyle/>
                <a:p>
                  <a:pPr algn="ctr" defTabSz="914400">
                    <a:defRPr/>
                  </a:pPr>
                  <a:endParaRPr lang="en-US" sz="1000" dirty="0">
                    <a:solidFill>
                      <a:srgbClr val="000000"/>
                    </a:solidFill>
                  </a:endParaRPr>
                </a:p>
              </p:txBody>
            </p:sp>
            <p:sp>
              <p:nvSpPr>
                <p:cNvPr id="69" name="Rectangle 68"/>
                <p:cNvSpPr/>
                <p:nvPr/>
              </p:nvSpPr>
              <p:spPr>
                <a:xfrm>
                  <a:off x="7636066" y="1746228"/>
                  <a:ext cx="724878" cy="246221"/>
                </a:xfrm>
                <a:prstGeom prst="rect">
                  <a:avLst/>
                </a:prstGeom>
              </p:spPr>
              <p:txBody>
                <a:bodyPr wrap="none">
                  <a:spAutoFit/>
                </a:bodyPr>
                <a:lstStyle/>
                <a:p>
                  <a:r>
                    <a:rPr lang="en-US" sz="1000" smtClean="0">
                      <a:solidFill>
                        <a:srgbClr val="FFFFFF"/>
                      </a:solidFill>
                    </a:rPr>
                    <a:t>Demand</a:t>
                  </a:r>
                  <a:endParaRPr lang="en-US" sz="1000" dirty="0"/>
                </a:p>
              </p:txBody>
            </p:sp>
          </p:grpSp>
          <p:grpSp>
            <p:nvGrpSpPr>
              <p:cNvPr id="8" name="Group 69"/>
              <p:cNvGrpSpPr/>
              <p:nvPr/>
            </p:nvGrpSpPr>
            <p:grpSpPr>
              <a:xfrm>
                <a:off x="4003404" y="1785414"/>
                <a:ext cx="1097280" cy="276130"/>
                <a:chOff x="7465089" y="1746228"/>
                <a:chExt cx="1097280" cy="276130"/>
              </a:xfrm>
            </p:grpSpPr>
            <p:sp>
              <p:nvSpPr>
                <p:cNvPr id="71" name="Pentagon 70"/>
                <p:cNvSpPr/>
                <p:nvPr/>
              </p:nvSpPr>
              <p:spPr bwMode="auto">
                <a:xfrm rot="5400000">
                  <a:off x="7890031" y="1350021"/>
                  <a:ext cx="247395" cy="1097280"/>
                </a:xfrm>
                <a:prstGeom prst="homePlate">
                  <a:avLst/>
                </a:prstGeom>
                <a:solidFill>
                  <a:schemeClr val="bg1">
                    <a:lumMod val="65000"/>
                  </a:schemeClr>
                </a:solidFill>
                <a:ln w="9525" cap="flat" cmpd="sng" algn="ctr">
                  <a:noFill/>
                  <a:prstDash val="solid"/>
                  <a:round/>
                  <a:headEnd type="none" w="med" len="med"/>
                  <a:tailEnd type="none" w="med" len="med"/>
                </a:ln>
                <a:effectLst>
                  <a:outerShdw blurRad="25400" dist="25400" dir="5400000" algn="t" rotWithShape="0">
                    <a:prstClr val="black">
                      <a:alpha val="40000"/>
                    </a:prstClr>
                  </a:outerShdw>
                </a:effectLst>
              </p:spPr>
              <p:txBody>
                <a:bodyPr lIns="0" tIns="0" rIns="0" bIns="0" anchor="ctr"/>
                <a:lstStyle/>
                <a:p>
                  <a:pPr algn="ctr" defTabSz="914400">
                    <a:defRPr/>
                  </a:pPr>
                  <a:endParaRPr lang="en-US" sz="1000" dirty="0">
                    <a:solidFill>
                      <a:srgbClr val="000000"/>
                    </a:solidFill>
                  </a:endParaRPr>
                </a:p>
              </p:txBody>
            </p:sp>
            <p:sp>
              <p:nvSpPr>
                <p:cNvPr id="72" name="Rectangle 71"/>
                <p:cNvSpPr/>
                <p:nvPr/>
              </p:nvSpPr>
              <p:spPr>
                <a:xfrm>
                  <a:off x="7636066" y="1746228"/>
                  <a:ext cx="724878" cy="246221"/>
                </a:xfrm>
                <a:prstGeom prst="rect">
                  <a:avLst/>
                </a:prstGeom>
              </p:spPr>
              <p:txBody>
                <a:bodyPr wrap="none">
                  <a:spAutoFit/>
                </a:bodyPr>
                <a:lstStyle/>
                <a:p>
                  <a:r>
                    <a:rPr lang="en-US" sz="1000" smtClean="0">
                      <a:solidFill>
                        <a:srgbClr val="FFFFFF"/>
                      </a:solidFill>
                    </a:rPr>
                    <a:t>Demand</a:t>
                  </a:r>
                  <a:endParaRPr lang="en-US" sz="1000" dirty="0"/>
                </a:p>
              </p:txBody>
            </p:sp>
          </p:grpSp>
          <p:grpSp>
            <p:nvGrpSpPr>
              <p:cNvPr id="9" name="Group 75"/>
              <p:cNvGrpSpPr/>
              <p:nvPr/>
            </p:nvGrpSpPr>
            <p:grpSpPr>
              <a:xfrm>
                <a:off x="2863965" y="1785414"/>
                <a:ext cx="1097280" cy="276130"/>
                <a:chOff x="7465089" y="1746228"/>
                <a:chExt cx="1097280" cy="276130"/>
              </a:xfrm>
            </p:grpSpPr>
            <p:sp>
              <p:nvSpPr>
                <p:cNvPr id="77" name="Pentagon 76"/>
                <p:cNvSpPr/>
                <p:nvPr/>
              </p:nvSpPr>
              <p:spPr bwMode="auto">
                <a:xfrm rot="5400000">
                  <a:off x="7890031" y="1350021"/>
                  <a:ext cx="247395" cy="1097280"/>
                </a:xfrm>
                <a:prstGeom prst="homePlate">
                  <a:avLst/>
                </a:prstGeom>
                <a:solidFill>
                  <a:schemeClr val="bg1">
                    <a:lumMod val="65000"/>
                  </a:schemeClr>
                </a:solidFill>
                <a:ln w="9525" cap="flat" cmpd="sng" algn="ctr">
                  <a:noFill/>
                  <a:prstDash val="solid"/>
                  <a:round/>
                  <a:headEnd type="none" w="med" len="med"/>
                  <a:tailEnd type="none" w="med" len="med"/>
                </a:ln>
                <a:effectLst>
                  <a:outerShdw blurRad="25400" dist="25400" dir="5400000" algn="t" rotWithShape="0">
                    <a:prstClr val="black">
                      <a:alpha val="40000"/>
                    </a:prstClr>
                  </a:outerShdw>
                </a:effectLst>
              </p:spPr>
              <p:txBody>
                <a:bodyPr lIns="0" tIns="0" rIns="0" bIns="0" anchor="ctr"/>
                <a:lstStyle/>
                <a:p>
                  <a:pPr algn="ctr" defTabSz="914400">
                    <a:defRPr/>
                  </a:pPr>
                  <a:endParaRPr lang="en-US" sz="1000" dirty="0">
                    <a:solidFill>
                      <a:srgbClr val="000000"/>
                    </a:solidFill>
                  </a:endParaRPr>
                </a:p>
              </p:txBody>
            </p:sp>
            <p:sp>
              <p:nvSpPr>
                <p:cNvPr id="78" name="Rectangle 77"/>
                <p:cNvSpPr/>
                <p:nvPr/>
              </p:nvSpPr>
              <p:spPr>
                <a:xfrm>
                  <a:off x="7636066" y="1746228"/>
                  <a:ext cx="724878" cy="246221"/>
                </a:xfrm>
                <a:prstGeom prst="rect">
                  <a:avLst/>
                </a:prstGeom>
              </p:spPr>
              <p:txBody>
                <a:bodyPr wrap="none">
                  <a:spAutoFit/>
                </a:bodyPr>
                <a:lstStyle/>
                <a:p>
                  <a:r>
                    <a:rPr lang="en-US" sz="1000" smtClean="0">
                      <a:solidFill>
                        <a:srgbClr val="FFFFFF"/>
                      </a:solidFill>
                    </a:rPr>
                    <a:t>Demand</a:t>
                  </a:r>
                  <a:endParaRPr lang="en-US" sz="1000" dirty="0"/>
                </a:p>
              </p:txBody>
            </p:sp>
          </p:grpSp>
          <p:grpSp>
            <p:nvGrpSpPr>
              <p:cNvPr id="14" name="Group 78"/>
              <p:cNvGrpSpPr/>
              <p:nvPr/>
            </p:nvGrpSpPr>
            <p:grpSpPr>
              <a:xfrm>
                <a:off x="1724526" y="1785414"/>
                <a:ext cx="1097280" cy="276130"/>
                <a:chOff x="7465089" y="1746228"/>
                <a:chExt cx="1097280" cy="276130"/>
              </a:xfrm>
            </p:grpSpPr>
            <p:sp>
              <p:nvSpPr>
                <p:cNvPr id="80" name="Pentagon 79"/>
                <p:cNvSpPr/>
                <p:nvPr/>
              </p:nvSpPr>
              <p:spPr bwMode="auto">
                <a:xfrm rot="5400000">
                  <a:off x="7890031" y="1350021"/>
                  <a:ext cx="247395" cy="1097280"/>
                </a:xfrm>
                <a:prstGeom prst="homePlate">
                  <a:avLst/>
                </a:prstGeom>
                <a:solidFill>
                  <a:schemeClr val="bg1">
                    <a:lumMod val="65000"/>
                  </a:schemeClr>
                </a:solidFill>
                <a:ln w="9525" cap="flat" cmpd="sng" algn="ctr">
                  <a:noFill/>
                  <a:prstDash val="solid"/>
                  <a:round/>
                  <a:headEnd type="none" w="med" len="med"/>
                  <a:tailEnd type="none" w="med" len="med"/>
                </a:ln>
                <a:effectLst>
                  <a:outerShdw blurRad="25400" dist="25400" dir="5400000" algn="t" rotWithShape="0">
                    <a:prstClr val="black">
                      <a:alpha val="40000"/>
                    </a:prstClr>
                  </a:outerShdw>
                </a:effectLst>
              </p:spPr>
              <p:txBody>
                <a:bodyPr lIns="0" tIns="0" rIns="0" bIns="0" anchor="ctr"/>
                <a:lstStyle/>
                <a:p>
                  <a:pPr algn="ctr" defTabSz="914400">
                    <a:defRPr/>
                  </a:pPr>
                  <a:endParaRPr lang="en-US" sz="1000" dirty="0">
                    <a:solidFill>
                      <a:srgbClr val="000000"/>
                    </a:solidFill>
                  </a:endParaRPr>
                </a:p>
              </p:txBody>
            </p:sp>
            <p:sp>
              <p:nvSpPr>
                <p:cNvPr id="81" name="Rectangle 80"/>
                <p:cNvSpPr/>
                <p:nvPr/>
              </p:nvSpPr>
              <p:spPr>
                <a:xfrm>
                  <a:off x="7636066" y="1746228"/>
                  <a:ext cx="724878" cy="246221"/>
                </a:xfrm>
                <a:prstGeom prst="rect">
                  <a:avLst/>
                </a:prstGeom>
              </p:spPr>
              <p:txBody>
                <a:bodyPr wrap="none">
                  <a:spAutoFit/>
                </a:bodyPr>
                <a:lstStyle/>
                <a:p>
                  <a:r>
                    <a:rPr lang="en-US" sz="1000" smtClean="0">
                      <a:solidFill>
                        <a:srgbClr val="FFFFFF"/>
                      </a:solidFill>
                    </a:rPr>
                    <a:t>Demand</a:t>
                  </a:r>
                  <a:endParaRPr lang="en-US" sz="1000" dirty="0"/>
                </a:p>
              </p:txBody>
            </p:sp>
          </p:grpSp>
          <p:grpSp>
            <p:nvGrpSpPr>
              <p:cNvPr id="15" name="Group 81"/>
              <p:cNvGrpSpPr/>
              <p:nvPr/>
            </p:nvGrpSpPr>
            <p:grpSpPr>
              <a:xfrm>
                <a:off x="585087" y="1785414"/>
                <a:ext cx="1097280" cy="276130"/>
                <a:chOff x="7465089" y="1746228"/>
                <a:chExt cx="1097280" cy="276130"/>
              </a:xfrm>
            </p:grpSpPr>
            <p:sp>
              <p:nvSpPr>
                <p:cNvPr id="83" name="Pentagon 82"/>
                <p:cNvSpPr/>
                <p:nvPr/>
              </p:nvSpPr>
              <p:spPr bwMode="auto">
                <a:xfrm rot="5400000">
                  <a:off x="7890031" y="1350021"/>
                  <a:ext cx="247395" cy="1097280"/>
                </a:xfrm>
                <a:prstGeom prst="homePlate">
                  <a:avLst/>
                </a:prstGeom>
                <a:solidFill>
                  <a:schemeClr val="bg1">
                    <a:lumMod val="65000"/>
                  </a:schemeClr>
                </a:solidFill>
                <a:ln w="9525" cap="flat" cmpd="sng" algn="ctr">
                  <a:noFill/>
                  <a:prstDash val="solid"/>
                  <a:round/>
                  <a:headEnd type="none" w="med" len="med"/>
                  <a:tailEnd type="none" w="med" len="med"/>
                </a:ln>
                <a:effectLst>
                  <a:outerShdw blurRad="25400" dist="25400" dir="5400000" algn="t" rotWithShape="0">
                    <a:prstClr val="black">
                      <a:alpha val="40000"/>
                    </a:prstClr>
                  </a:outerShdw>
                </a:effectLst>
              </p:spPr>
              <p:txBody>
                <a:bodyPr lIns="0" tIns="0" rIns="0" bIns="0" anchor="ctr"/>
                <a:lstStyle/>
                <a:p>
                  <a:pPr algn="ctr" defTabSz="914400">
                    <a:defRPr/>
                  </a:pPr>
                  <a:endParaRPr lang="en-US" sz="1000" dirty="0">
                    <a:solidFill>
                      <a:srgbClr val="000000"/>
                    </a:solidFill>
                  </a:endParaRPr>
                </a:p>
              </p:txBody>
            </p:sp>
            <p:sp>
              <p:nvSpPr>
                <p:cNvPr id="84" name="Rectangle 83"/>
                <p:cNvSpPr/>
                <p:nvPr/>
              </p:nvSpPr>
              <p:spPr>
                <a:xfrm>
                  <a:off x="7636066" y="1746228"/>
                  <a:ext cx="724878" cy="246221"/>
                </a:xfrm>
                <a:prstGeom prst="rect">
                  <a:avLst/>
                </a:prstGeom>
              </p:spPr>
              <p:txBody>
                <a:bodyPr wrap="none">
                  <a:spAutoFit/>
                </a:bodyPr>
                <a:lstStyle/>
                <a:p>
                  <a:r>
                    <a:rPr lang="en-US" sz="1000" smtClean="0">
                      <a:solidFill>
                        <a:srgbClr val="FFFFFF"/>
                      </a:solidFill>
                    </a:rPr>
                    <a:t>Demand</a:t>
                  </a:r>
                  <a:endParaRPr lang="en-US" sz="1000" dirty="0"/>
                </a:p>
              </p:txBody>
            </p:sp>
          </p:grpSp>
        </p:grpSp>
        <p:sp>
          <p:nvSpPr>
            <p:cNvPr id="86" name="TextBox 85"/>
            <p:cNvSpPr txBox="1"/>
            <p:nvPr/>
          </p:nvSpPr>
          <p:spPr>
            <a:xfrm>
              <a:off x="590477" y="2457495"/>
              <a:ext cx="3950208" cy="697681"/>
            </a:xfrm>
            <a:prstGeom prst="rect">
              <a:avLst/>
            </a:prstGeom>
            <a:solidFill>
              <a:srgbClr val="6DB769"/>
            </a:solidFill>
            <a:ln>
              <a:noFill/>
            </a:ln>
          </p:spPr>
          <p:txBody>
            <a:bodyPr wrap="square" lIns="0" tIns="91440" rIns="0" bIns="0" rtlCol="0">
              <a:noAutofit/>
            </a:bodyPr>
            <a:lstStyle>
              <a:defPPr>
                <a:defRPr lang="en-US"/>
              </a:defPPr>
              <a:lvl1pPr algn="ctr">
                <a:defRPr sz="1000">
                  <a:solidFill>
                    <a:srgbClr val="FFFFFF"/>
                  </a:solidFill>
                </a:defRPr>
              </a:lvl1pPr>
            </a:lstStyle>
            <a:p>
              <a:pPr lvl="0"/>
              <a:r>
                <a:rPr lang="en-US" sz="1400" b="1" dirty="0" smtClean="0">
                  <a:solidFill>
                    <a:schemeClr val="tx1"/>
                  </a:solidFill>
                </a:rPr>
                <a:t>SERVICE PORTFOLIO MANAGEMENT</a:t>
              </a:r>
            </a:p>
            <a:p>
              <a:endParaRPr lang="en-US" dirty="0" smtClean="0">
                <a:solidFill>
                  <a:schemeClr val="tx1"/>
                </a:solidFill>
              </a:endParaRPr>
            </a:p>
            <a:p>
              <a:r>
                <a:rPr lang="en-US" dirty="0" smtClean="0">
                  <a:solidFill>
                    <a:schemeClr val="tx1"/>
                  </a:solidFill>
                </a:rPr>
                <a:t>IT Portal      Service Catalog      Solution Desk</a:t>
              </a:r>
            </a:p>
          </p:txBody>
        </p:sp>
        <p:sp>
          <p:nvSpPr>
            <p:cNvPr id="87" name="TextBox 86"/>
            <p:cNvSpPr txBox="1"/>
            <p:nvPr/>
          </p:nvSpPr>
          <p:spPr>
            <a:xfrm rot="16200000">
              <a:off x="7544791" y="2694060"/>
              <a:ext cx="428883" cy="1508760"/>
            </a:xfrm>
            <a:prstGeom prst="homePlate">
              <a:avLst>
                <a:gd name="adj" fmla="val 42189"/>
              </a:avLst>
            </a:prstGeom>
            <a:solidFill>
              <a:srgbClr val="2083C6"/>
            </a:solidFill>
            <a:ln w="28575" cmpd="sng">
              <a:noFill/>
            </a:ln>
            <a:effectLst>
              <a:outerShdw blurRad="38100" dist="12700" dir="16200000" rotWithShape="0">
                <a:prstClr val="black">
                  <a:alpha val="40000"/>
                </a:prstClr>
              </a:outerShdw>
            </a:effectLst>
          </p:spPr>
          <p:txBody>
            <a:bodyPr vert="vert" wrap="square" lIns="0" tIns="0" rIns="0" bIns="0" rtlCol="0" anchor="ctr" anchorCtr="0">
              <a:noAutofit/>
            </a:bodyPr>
            <a:lstStyle/>
            <a:p>
              <a:pPr algn="ctr"/>
              <a:r>
                <a:rPr lang="en-US" sz="1000" dirty="0" smtClean="0">
                  <a:solidFill>
                    <a:schemeClr val="bg1"/>
                  </a:solidFill>
                </a:rPr>
                <a:t>Supply</a:t>
              </a:r>
            </a:p>
          </p:txBody>
        </p:sp>
        <p:sp>
          <p:nvSpPr>
            <p:cNvPr id="88" name="TextBox 87"/>
            <p:cNvSpPr txBox="1"/>
            <p:nvPr/>
          </p:nvSpPr>
          <p:spPr>
            <a:xfrm rot="16200000">
              <a:off x="3264948" y="2694060"/>
              <a:ext cx="428883" cy="1508760"/>
            </a:xfrm>
            <a:prstGeom prst="homePlate">
              <a:avLst>
                <a:gd name="adj" fmla="val 42189"/>
              </a:avLst>
            </a:prstGeom>
            <a:solidFill>
              <a:srgbClr val="2083C6"/>
            </a:solidFill>
            <a:ln w="28575" cmpd="sng">
              <a:noFill/>
            </a:ln>
            <a:effectLst>
              <a:outerShdw blurRad="38100" dist="12700" dir="16200000" rotWithShape="0">
                <a:prstClr val="black">
                  <a:alpha val="40000"/>
                </a:prstClr>
              </a:outerShdw>
            </a:effectLst>
          </p:spPr>
          <p:txBody>
            <a:bodyPr vert="vert" wrap="square" lIns="0" tIns="0" rIns="0" bIns="0" rtlCol="0" anchor="ctr" anchorCtr="0">
              <a:noAutofit/>
            </a:bodyPr>
            <a:lstStyle/>
            <a:p>
              <a:pPr algn="ctr"/>
              <a:r>
                <a:rPr lang="en-US" sz="1000" dirty="0" smtClean="0">
                  <a:solidFill>
                    <a:schemeClr val="bg1"/>
                  </a:solidFill>
                </a:rPr>
                <a:t>Supply</a:t>
              </a:r>
            </a:p>
          </p:txBody>
        </p:sp>
        <p:sp>
          <p:nvSpPr>
            <p:cNvPr id="89" name="TextBox 88"/>
            <p:cNvSpPr txBox="1"/>
            <p:nvPr/>
          </p:nvSpPr>
          <p:spPr>
            <a:xfrm rot="16200000">
              <a:off x="1125026" y="2694060"/>
              <a:ext cx="428883" cy="1508760"/>
            </a:xfrm>
            <a:prstGeom prst="homePlate">
              <a:avLst>
                <a:gd name="adj" fmla="val 42189"/>
              </a:avLst>
            </a:prstGeom>
            <a:solidFill>
              <a:srgbClr val="2083C6"/>
            </a:solidFill>
            <a:ln w="28575" cmpd="sng">
              <a:noFill/>
            </a:ln>
            <a:effectLst>
              <a:outerShdw blurRad="38100" dist="12700" dir="16200000" rotWithShape="0">
                <a:prstClr val="black">
                  <a:alpha val="40000"/>
                </a:prstClr>
              </a:outerShdw>
            </a:effectLst>
          </p:spPr>
          <p:txBody>
            <a:bodyPr vert="vert" wrap="square" lIns="0" tIns="0" rIns="0" bIns="0" rtlCol="0" anchor="ctr" anchorCtr="0">
              <a:noAutofit/>
            </a:bodyPr>
            <a:lstStyle/>
            <a:p>
              <a:pPr algn="ctr"/>
              <a:r>
                <a:rPr lang="en-US" sz="1000" dirty="0" smtClean="0">
                  <a:solidFill>
                    <a:schemeClr val="bg1"/>
                  </a:solidFill>
                </a:rPr>
                <a:t>Supply</a:t>
              </a:r>
            </a:p>
          </p:txBody>
        </p:sp>
        <p:sp>
          <p:nvSpPr>
            <p:cNvPr id="90" name="Left-Right Arrow 89"/>
            <p:cNvSpPr/>
            <p:nvPr/>
          </p:nvSpPr>
          <p:spPr>
            <a:xfrm>
              <a:off x="4270802" y="3705375"/>
              <a:ext cx="557098" cy="303669"/>
            </a:xfrm>
            <a:prstGeom prst="leftRightArrow">
              <a:avLst/>
            </a:prstGeom>
            <a:solidFill>
              <a:schemeClr val="bg1"/>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91" name="Left-Right Arrow 90"/>
            <p:cNvSpPr/>
            <p:nvPr/>
          </p:nvSpPr>
          <p:spPr>
            <a:xfrm>
              <a:off x="6413111" y="3705375"/>
              <a:ext cx="557098" cy="303669"/>
            </a:xfrm>
            <a:prstGeom prst="leftRightArrow">
              <a:avLst/>
            </a:prstGeom>
            <a:solidFill>
              <a:schemeClr val="bg1"/>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grpSp>
      <p:sp>
        <p:nvSpPr>
          <p:cNvPr id="92" name="Down Arrow 91"/>
          <p:cNvSpPr/>
          <p:nvPr/>
        </p:nvSpPr>
        <p:spPr>
          <a:xfrm rot="10800000">
            <a:off x="187231" y="1188716"/>
            <a:ext cx="367936" cy="3095783"/>
          </a:xfrm>
          <a:prstGeom prst="downArrow">
            <a:avLst>
              <a:gd name="adj1" fmla="val 68091"/>
              <a:gd name="adj2" fmla="val 50000"/>
            </a:avLst>
          </a:prstGeom>
          <a:gradFill flip="none" rotWithShape="1">
            <a:gsLst>
              <a:gs pos="0">
                <a:schemeClr val="tx1">
                  <a:lumMod val="50000"/>
                  <a:lumOff val="50000"/>
                </a:schemeClr>
              </a:gs>
              <a:gs pos="50000">
                <a:schemeClr val="bg1">
                  <a:lumMod val="85000"/>
                  <a:shade val="67500"/>
                  <a:satMod val="115000"/>
                </a:schemeClr>
              </a:gs>
              <a:gs pos="100000">
                <a:schemeClr val="bg1">
                  <a:lumMod val="85000"/>
                  <a:shade val="100000"/>
                  <a:satMod val="115000"/>
                  <a:alpha val="50000"/>
                </a:schemeClr>
              </a:gs>
            </a:gsLst>
            <a:lin ang="162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vert="vert" lIns="27432" tIns="0" rIns="0" bIns="0" rtlCol="0" anchor="ctr" anchorCtr="1"/>
          <a:lstStyle/>
          <a:p>
            <a:pPr algn="ctr"/>
            <a:r>
              <a:rPr lang="en-US" spc="300" dirty="0" smtClean="0">
                <a:solidFill>
                  <a:schemeClr val="tx1"/>
                </a:solidFill>
              </a:rPr>
              <a:t>SUPPLY</a:t>
            </a:r>
            <a:endParaRPr lang="en-US" spc="300" dirty="0">
              <a:solidFill>
                <a:schemeClr val="tx1"/>
              </a:solidFill>
            </a:endParaRPr>
          </a:p>
        </p:txBody>
      </p:sp>
    </p:spTree>
    <p:extLst>
      <p:ext uri="{BB962C8B-B14F-4D97-AF65-F5344CB8AC3E}">
        <p14:creationId xmlns:p14="http://schemas.microsoft.com/office/powerpoint/2010/main" val="274780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2.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4632960"/>
          </a:xfrm>
          <a:prstGeom prst="rect">
            <a:avLst/>
          </a:prstGeom>
        </p:spPr>
      </p:pic>
      <p:sp>
        <p:nvSpPr>
          <p:cNvPr id="2" name="Title 1"/>
          <p:cNvSpPr>
            <a:spLocks noGrp="1"/>
          </p:cNvSpPr>
          <p:nvPr>
            <p:ph type="ctrTitle"/>
          </p:nvPr>
        </p:nvSpPr>
        <p:spPr/>
        <p:txBody>
          <a:bodyPr/>
          <a:lstStyle/>
          <a:p>
            <a:r>
              <a:rPr lang="en-US" dirty="0"/>
              <a:t>THREE LEVELS OF</a:t>
            </a:r>
            <a:br>
              <a:rPr lang="en-US" dirty="0"/>
            </a:br>
            <a:r>
              <a:rPr lang="en-US" dirty="0"/>
              <a:t>IT </a:t>
            </a:r>
            <a:r>
              <a:rPr lang="en-US" dirty="0" smtClean="0"/>
              <a:t>TRANSFORMATION</a:t>
            </a:r>
            <a:r>
              <a:rPr lang="en-US" dirty="0"/>
              <a:t/>
            </a:r>
            <a:br>
              <a:rPr lang="en-US" dirty="0"/>
            </a:br>
            <a:r>
              <a:rPr lang="en-US" sz="2400" dirty="0" smtClean="0">
                <a:solidFill>
                  <a:srgbClr val="717074"/>
                </a:solidFill>
              </a:rPr>
              <a:t>APPLICATION TRANSFORMATION</a:t>
            </a:r>
            <a:endParaRPr lang="en-US" sz="2400" dirty="0">
              <a:solidFill>
                <a:srgbClr val="717074"/>
              </a:solidFill>
            </a:endParaRPr>
          </a:p>
        </p:txBody>
      </p:sp>
    </p:spTree>
    <p:extLst>
      <p:ext uri="{BB962C8B-B14F-4D97-AF65-F5344CB8AC3E}">
        <p14:creationId xmlns:p14="http://schemas.microsoft.com/office/powerpoint/2010/main" val="822457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669708" y="3597382"/>
            <a:ext cx="1360120" cy="352745"/>
          </a:xfrm>
          <a:prstGeom prst="rect">
            <a:avLst/>
          </a:prstGeom>
        </p:spPr>
      </p:pic>
      <p:sp>
        <p:nvSpPr>
          <p:cNvPr id="2" name="Title 1"/>
          <p:cNvSpPr>
            <a:spLocks noGrp="1"/>
          </p:cNvSpPr>
          <p:nvPr>
            <p:ph type="ctrTitle"/>
          </p:nvPr>
        </p:nvSpPr>
        <p:spPr/>
        <p:txBody>
          <a:bodyPr/>
          <a:lstStyle/>
          <a:p>
            <a:r>
              <a:rPr lang="en-US" smtClean="0"/>
              <a:t>APPLICATION TRANSFORMATION</a:t>
            </a:r>
            <a:endParaRPr lang="en-US" dirty="0"/>
          </a:p>
        </p:txBody>
      </p:sp>
      <p:sp>
        <p:nvSpPr>
          <p:cNvPr id="29" name="Pentagon 28"/>
          <p:cNvSpPr/>
          <p:nvPr/>
        </p:nvSpPr>
        <p:spPr>
          <a:xfrm>
            <a:off x="3924429" y="865645"/>
            <a:ext cx="1676400" cy="381000"/>
          </a:xfrm>
          <a:prstGeom prst="homePlate">
            <a:avLst/>
          </a:prstGeom>
          <a:solidFill>
            <a:schemeClr val="accent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DETERMINE</a:t>
            </a:r>
            <a:endParaRPr lang="en-US" sz="1600" dirty="0"/>
          </a:p>
        </p:txBody>
      </p:sp>
      <p:sp>
        <p:nvSpPr>
          <p:cNvPr id="47" name="Pentagon 46"/>
          <p:cNvSpPr/>
          <p:nvPr/>
        </p:nvSpPr>
        <p:spPr>
          <a:xfrm>
            <a:off x="5732178" y="864428"/>
            <a:ext cx="1676400" cy="381000"/>
          </a:xfrm>
          <a:prstGeom prst="homePlate">
            <a:avLst/>
          </a:prstGeom>
          <a:solidFill>
            <a:schemeClr val="accent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EXECUTE</a:t>
            </a:r>
            <a:endParaRPr lang="en-US" sz="1600" dirty="0"/>
          </a:p>
        </p:txBody>
      </p:sp>
      <p:sp>
        <p:nvSpPr>
          <p:cNvPr id="49" name="Pentagon 48"/>
          <p:cNvSpPr/>
          <p:nvPr/>
        </p:nvSpPr>
        <p:spPr>
          <a:xfrm>
            <a:off x="2095629" y="864428"/>
            <a:ext cx="1676400" cy="381000"/>
          </a:xfrm>
          <a:prstGeom prst="homePlate">
            <a:avLst/>
          </a:prstGeom>
          <a:solidFill>
            <a:schemeClr val="accent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ANALYZE</a:t>
            </a:r>
            <a:endParaRPr lang="en-US" sz="1600" dirty="0"/>
          </a:p>
        </p:txBody>
      </p:sp>
      <p:sp>
        <p:nvSpPr>
          <p:cNvPr id="51" name="Rounded Rectangle 50"/>
          <p:cNvSpPr/>
          <p:nvPr/>
        </p:nvSpPr>
        <p:spPr>
          <a:xfrm>
            <a:off x="2019429" y="2020373"/>
            <a:ext cx="1752600" cy="2044455"/>
          </a:xfrm>
          <a:prstGeom prst="roundRect">
            <a:avLst>
              <a:gd name="adj" fmla="val 7466"/>
            </a:avLst>
          </a:prstGeom>
          <a:noFill/>
          <a:ln w="63500"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TextBox 51"/>
          <p:cNvSpPr txBox="1"/>
          <p:nvPr/>
        </p:nvSpPr>
        <p:spPr>
          <a:xfrm>
            <a:off x="2009701" y="2156851"/>
            <a:ext cx="1755843" cy="307777"/>
          </a:xfrm>
          <a:prstGeom prst="rect">
            <a:avLst/>
          </a:prstGeom>
          <a:noFill/>
        </p:spPr>
        <p:txBody>
          <a:bodyPr wrap="square" lIns="0" tIns="0" rIns="0" bIns="0" rtlCol="0">
            <a:spAutoFit/>
          </a:bodyPr>
          <a:lstStyle/>
          <a:p>
            <a:pPr marL="0" algn="ctr"/>
            <a:r>
              <a:rPr lang="en-US" sz="1000" dirty="0" smtClean="0">
                <a:solidFill>
                  <a:schemeClr val="bg2"/>
                </a:solidFill>
              </a:rPr>
              <a:t>APPLICATION </a:t>
            </a:r>
            <a:br>
              <a:rPr lang="en-US" sz="1000" dirty="0" smtClean="0">
                <a:solidFill>
                  <a:schemeClr val="bg2"/>
                </a:solidFill>
              </a:rPr>
            </a:br>
            <a:r>
              <a:rPr lang="en-US" sz="1000" dirty="0" smtClean="0">
                <a:solidFill>
                  <a:schemeClr val="bg2"/>
                </a:solidFill>
              </a:rPr>
              <a:t>PORTFOLIO ANALYSIS</a:t>
            </a:r>
            <a:endParaRPr lang="en-US" sz="1050" dirty="0" smtClean="0">
              <a:solidFill>
                <a:schemeClr val="bg2"/>
              </a:solidFill>
            </a:endParaRPr>
          </a:p>
        </p:txBody>
      </p:sp>
      <p:sp>
        <p:nvSpPr>
          <p:cNvPr id="53" name="TextBox 52"/>
          <p:cNvSpPr txBox="1"/>
          <p:nvPr/>
        </p:nvSpPr>
        <p:spPr>
          <a:xfrm>
            <a:off x="2828445" y="3575582"/>
            <a:ext cx="838200" cy="215444"/>
          </a:xfrm>
          <a:prstGeom prst="rect">
            <a:avLst/>
          </a:prstGeom>
          <a:noFill/>
        </p:spPr>
        <p:txBody>
          <a:bodyPr wrap="square" lIns="0" tIns="0" rIns="0" bIns="0" rtlCol="0">
            <a:spAutoFit/>
          </a:bodyPr>
          <a:lstStyle/>
          <a:p>
            <a:pPr marL="0" algn="ctr"/>
            <a:r>
              <a:rPr lang="en-US" sz="700" dirty="0" smtClean="0">
                <a:solidFill>
                  <a:schemeClr val="bg2"/>
                </a:solidFill>
              </a:rPr>
              <a:t>Application</a:t>
            </a:r>
          </a:p>
          <a:p>
            <a:pPr marL="0" algn="ctr"/>
            <a:r>
              <a:rPr lang="en-US" sz="700" dirty="0" smtClean="0">
                <a:solidFill>
                  <a:schemeClr val="bg2"/>
                </a:solidFill>
              </a:rPr>
              <a:t>Alignment</a:t>
            </a:r>
          </a:p>
        </p:txBody>
      </p:sp>
      <p:pic>
        <p:nvPicPr>
          <p:cNvPr id="54" name="Picture 5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36484" y="2750436"/>
            <a:ext cx="506616" cy="521490"/>
          </a:xfrm>
          <a:prstGeom prst="rect">
            <a:avLst/>
          </a:prstGeom>
        </p:spPr>
      </p:pic>
      <p:sp>
        <p:nvSpPr>
          <p:cNvPr id="56" name="TextBox 55"/>
          <p:cNvSpPr txBox="1"/>
          <p:nvPr/>
        </p:nvSpPr>
        <p:spPr>
          <a:xfrm>
            <a:off x="2042386" y="3461767"/>
            <a:ext cx="838200" cy="323165"/>
          </a:xfrm>
          <a:prstGeom prst="rect">
            <a:avLst/>
          </a:prstGeom>
          <a:noFill/>
        </p:spPr>
        <p:txBody>
          <a:bodyPr wrap="square" lIns="0" tIns="0" rIns="0" bIns="0" rtlCol="0">
            <a:spAutoFit/>
          </a:bodyPr>
          <a:lstStyle/>
          <a:p>
            <a:pPr marL="0" algn="ctr"/>
            <a:r>
              <a:rPr lang="en-US" sz="700" dirty="0" smtClean="0">
                <a:solidFill>
                  <a:schemeClr val="bg2"/>
                </a:solidFill>
              </a:rPr>
              <a:t>Application</a:t>
            </a:r>
          </a:p>
          <a:p>
            <a:pPr marL="0" algn="ctr"/>
            <a:r>
              <a:rPr lang="en-US" sz="700" dirty="0" smtClean="0">
                <a:solidFill>
                  <a:schemeClr val="bg2"/>
                </a:solidFill>
              </a:rPr>
              <a:t>Inventory &amp;</a:t>
            </a:r>
          </a:p>
          <a:p>
            <a:pPr marL="0" algn="ctr"/>
            <a:r>
              <a:rPr lang="en-US" sz="700" dirty="0" smtClean="0">
                <a:solidFill>
                  <a:schemeClr val="bg2"/>
                </a:solidFill>
              </a:rPr>
              <a:t>Classification</a:t>
            </a:r>
          </a:p>
        </p:txBody>
      </p:sp>
      <p:sp>
        <p:nvSpPr>
          <p:cNvPr id="67" name="Oval 66"/>
          <p:cNvSpPr/>
          <p:nvPr/>
        </p:nvSpPr>
        <p:spPr>
          <a:xfrm>
            <a:off x="4007098" y="2007428"/>
            <a:ext cx="1371600" cy="472617"/>
          </a:xfrm>
          <a:prstGeom prst="ellipse">
            <a:avLst/>
          </a:prstGeom>
          <a:solidFill>
            <a:schemeClr val="accent2">
              <a:lumMod val="60000"/>
              <a:lumOff val="4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t>REINVEST</a:t>
            </a:r>
            <a:endParaRPr lang="en-US" sz="1200" dirty="0"/>
          </a:p>
        </p:txBody>
      </p:sp>
      <p:grpSp>
        <p:nvGrpSpPr>
          <p:cNvPr id="11" name="Group 69"/>
          <p:cNvGrpSpPr/>
          <p:nvPr/>
        </p:nvGrpSpPr>
        <p:grpSpPr>
          <a:xfrm>
            <a:off x="4007098" y="2587211"/>
            <a:ext cx="1371600" cy="472617"/>
            <a:chOff x="3471964" y="3252593"/>
            <a:chExt cx="1371600" cy="472617"/>
          </a:xfrm>
          <a:solidFill>
            <a:schemeClr val="accent3"/>
          </a:solidFill>
        </p:grpSpPr>
        <p:sp>
          <p:nvSpPr>
            <p:cNvPr id="69" name="Oval 68"/>
            <p:cNvSpPr/>
            <p:nvPr/>
          </p:nvSpPr>
          <p:spPr>
            <a:xfrm>
              <a:off x="3471964" y="3252593"/>
              <a:ext cx="1371600" cy="472617"/>
            </a:xfrm>
            <a:prstGeom prst="ellipse">
              <a:avLst/>
            </a:prstGeom>
            <a:grp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58" name="TextBox 57"/>
            <p:cNvSpPr txBox="1"/>
            <p:nvPr/>
          </p:nvSpPr>
          <p:spPr>
            <a:xfrm>
              <a:off x="3624364" y="3396568"/>
              <a:ext cx="1066800" cy="184666"/>
            </a:xfrm>
            <a:prstGeom prst="rect">
              <a:avLst/>
            </a:prstGeom>
            <a:grpFill/>
          </p:spPr>
          <p:txBody>
            <a:bodyPr wrap="square" lIns="0" tIns="0" rIns="0" bIns="0" rtlCol="0">
              <a:spAutoFit/>
            </a:bodyPr>
            <a:lstStyle/>
            <a:p>
              <a:pPr marL="0" algn="ctr"/>
              <a:r>
                <a:rPr lang="en-US" sz="1200" dirty="0" smtClean="0">
                  <a:solidFill>
                    <a:schemeClr val="bg1"/>
                  </a:solidFill>
                </a:rPr>
                <a:t>REPLATFORM</a:t>
              </a:r>
              <a:endParaRPr lang="en-US" sz="1400" dirty="0" smtClean="0">
                <a:solidFill>
                  <a:schemeClr val="bg1"/>
                </a:solidFill>
              </a:endParaRPr>
            </a:p>
          </p:txBody>
        </p:sp>
      </p:grpSp>
      <p:sp>
        <p:nvSpPr>
          <p:cNvPr id="71" name="Oval 70"/>
          <p:cNvSpPr/>
          <p:nvPr/>
        </p:nvSpPr>
        <p:spPr>
          <a:xfrm>
            <a:off x="4007098" y="3211211"/>
            <a:ext cx="1371600" cy="472617"/>
          </a:xfrm>
          <a:prstGeom prst="ellipse">
            <a:avLst/>
          </a:prstGeom>
          <a:solidFill>
            <a:schemeClr val="accent6">
              <a:lumMod val="60000"/>
              <a:lumOff val="4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t>RETIRE</a:t>
            </a:r>
            <a:endParaRPr lang="en-US" sz="1200" dirty="0"/>
          </a:p>
        </p:txBody>
      </p:sp>
      <p:sp>
        <p:nvSpPr>
          <p:cNvPr id="72" name="Oval 71"/>
          <p:cNvSpPr/>
          <p:nvPr/>
        </p:nvSpPr>
        <p:spPr>
          <a:xfrm>
            <a:off x="4007098" y="1464089"/>
            <a:ext cx="1371600" cy="472617"/>
          </a:xfrm>
          <a:prstGeom prst="ellipse">
            <a:avLst/>
          </a:prstGeom>
          <a:solidFill>
            <a:schemeClr val="accent2">
              <a:lumMod val="60000"/>
              <a:lumOff val="4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t>BUILD NEW</a:t>
            </a:r>
            <a:endParaRPr lang="en-US" sz="1200" dirty="0"/>
          </a:p>
        </p:txBody>
      </p:sp>
      <p:pic>
        <p:nvPicPr>
          <p:cNvPr id="81" name="Picture 80" descr="Factory.png"/>
          <p:cNvPicPr>
            <a:picLocks noChangeAspect="1"/>
          </p:cNvPicPr>
          <p:nvPr/>
        </p:nvPicPr>
        <p:blipFill>
          <a:blip r:embed="rId4" cstate="print">
            <a:lum contrast="24000"/>
            <a:extLst>
              <a:ext uri="{28A0092B-C50C-407E-A947-70E740481C1C}">
                <a14:useLocalDpi xmlns:a14="http://schemas.microsoft.com/office/drawing/2010/main"/>
              </a:ext>
            </a:extLst>
          </a:blip>
          <a:stretch>
            <a:fillRect/>
          </a:stretch>
        </p:blipFill>
        <p:spPr>
          <a:xfrm>
            <a:off x="6429254" y="2696059"/>
            <a:ext cx="302863" cy="250020"/>
          </a:xfrm>
          <a:prstGeom prst="rect">
            <a:avLst/>
          </a:prstGeom>
          <a:noFill/>
          <a:ln>
            <a:noFill/>
          </a:ln>
        </p:spPr>
      </p:pic>
      <p:sp>
        <p:nvSpPr>
          <p:cNvPr id="82" name="TextBox 81"/>
          <p:cNvSpPr txBox="1"/>
          <p:nvPr/>
        </p:nvSpPr>
        <p:spPr>
          <a:xfrm>
            <a:off x="5844731" y="2929294"/>
            <a:ext cx="838200" cy="215444"/>
          </a:xfrm>
          <a:prstGeom prst="rect">
            <a:avLst/>
          </a:prstGeom>
          <a:noFill/>
        </p:spPr>
        <p:txBody>
          <a:bodyPr wrap="square" lIns="0" tIns="0" rIns="0" bIns="0" rtlCol="0">
            <a:spAutoFit/>
          </a:bodyPr>
          <a:lstStyle/>
          <a:p>
            <a:pPr marL="0" algn="ctr"/>
            <a:r>
              <a:rPr lang="en-US" sz="700" dirty="0" smtClean="0">
                <a:solidFill>
                  <a:schemeClr val="bg2"/>
                </a:solidFill>
              </a:rPr>
              <a:t>Architecture, Standards</a:t>
            </a:r>
          </a:p>
        </p:txBody>
      </p:sp>
      <p:sp>
        <p:nvSpPr>
          <p:cNvPr id="83" name="Bent Arrow 82"/>
          <p:cNvSpPr/>
          <p:nvPr/>
        </p:nvSpPr>
        <p:spPr>
          <a:xfrm>
            <a:off x="5768531" y="2458422"/>
            <a:ext cx="825429" cy="368975"/>
          </a:xfrm>
          <a:prstGeom prst="bentArrow">
            <a:avLst>
              <a:gd name="adj1" fmla="val 25000"/>
              <a:gd name="adj2" fmla="val 30959"/>
              <a:gd name="adj3" fmla="val 25000"/>
              <a:gd name="adj4" fmla="val 11918"/>
            </a:avLst>
          </a:prstGeom>
          <a:solidFill>
            <a:schemeClr val="accent3"/>
          </a:solid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84" name="Bent Arrow 83"/>
          <p:cNvSpPr/>
          <p:nvPr/>
        </p:nvSpPr>
        <p:spPr>
          <a:xfrm flipH="1" flipV="1">
            <a:off x="6530531" y="2933191"/>
            <a:ext cx="825429" cy="368975"/>
          </a:xfrm>
          <a:prstGeom prst="bentArrow">
            <a:avLst>
              <a:gd name="adj1" fmla="val 25000"/>
              <a:gd name="adj2" fmla="val 30959"/>
              <a:gd name="adj3" fmla="val 25000"/>
              <a:gd name="adj4" fmla="val 11918"/>
            </a:avLst>
          </a:prstGeom>
          <a:solidFill>
            <a:schemeClr val="accent3"/>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85" name="Bent Arrow 84"/>
          <p:cNvSpPr/>
          <p:nvPr/>
        </p:nvSpPr>
        <p:spPr>
          <a:xfrm rot="5400000">
            <a:off x="6838880" y="2305831"/>
            <a:ext cx="372029" cy="822960"/>
          </a:xfrm>
          <a:prstGeom prst="bentArrow">
            <a:avLst>
              <a:gd name="adj1" fmla="val 25000"/>
              <a:gd name="adj2" fmla="val 30959"/>
              <a:gd name="adj3" fmla="val 25000"/>
              <a:gd name="adj4" fmla="val 11918"/>
            </a:avLst>
          </a:prstGeom>
          <a:solidFill>
            <a:schemeClr val="accent3"/>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86" name="Bent Arrow 85"/>
          <p:cNvSpPr/>
          <p:nvPr/>
        </p:nvSpPr>
        <p:spPr>
          <a:xfrm rot="5400000" flipH="1" flipV="1">
            <a:off x="5895748" y="2628170"/>
            <a:ext cx="372029" cy="822960"/>
          </a:xfrm>
          <a:prstGeom prst="bentArrow">
            <a:avLst>
              <a:gd name="adj1" fmla="val 25000"/>
              <a:gd name="adj2" fmla="val 30959"/>
              <a:gd name="adj3" fmla="val 25000"/>
              <a:gd name="adj4" fmla="val 11918"/>
            </a:avLst>
          </a:prstGeom>
          <a:solidFill>
            <a:schemeClr val="accent3"/>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87" name="TextBox 86"/>
          <p:cNvSpPr txBox="1"/>
          <p:nvPr/>
        </p:nvSpPr>
        <p:spPr>
          <a:xfrm>
            <a:off x="6558091" y="2926094"/>
            <a:ext cx="762000" cy="215444"/>
          </a:xfrm>
          <a:prstGeom prst="rect">
            <a:avLst/>
          </a:prstGeom>
          <a:noFill/>
        </p:spPr>
        <p:txBody>
          <a:bodyPr wrap="square" lIns="0" tIns="0" rIns="0" bIns="0" rtlCol="0">
            <a:spAutoFit/>
          </a:bodyPr>
          <a:lstStyle/>
          <a:p>
            <a:pPr marL="0" algn="ctr"/>
            <a:r>
              <a:rPr lang="en-US" sz="700" dirty="0" smtClean="0">
                <a:solidFill>
                  <a:schemeClr val="bg2"/>
                </a:solidFill>
              </a:rPr>
              <a:t>Migration</a:t>
            </a:r>
          </a:p>
          <a:p>
            <a:pPr marL="0" algn="ctr"/>
            <a:r>
              <a:rPr lang="en-US" sz="700" dirty="0" smtClean="0">
                <a:solidFill>
                  <a:schemeClr val="bg2"/>
                </a:solidFill>
              </a:rPr>
              <a:t>Execution</a:t>
            </a:r>
          </a:p>
        </p:txBody>
      </p:sp>
      <p:pic>
        <p:nvPicPr>
          <p:cNvPr id="90" name="Picture 89" descr="Factory.png"/>
          <p:cNvPicPr>
            <a:picLocks noChangeAspect="1"/>
          </p:cNvPicPr>
          <p:nvPr/>
        </p:nvPicPr>
        <p:blipFill>
          <a:blip r:embed="rId4" cstate="print">
            <a:lum contrast="24000"/>
            <a:extLst>
              <a:ext uri="{28A0092B-C50C-407E-A947-70E740481C1C}">
                <a14:useLocalDpi xmlns:a14="http://schemas.microsoft.com/office/drawing/2010/main"/>
              </a:ext>
            </a:extLst>
          </a:blip>
          <a:stretch>
            <a:fillRect/>
          </a:stretch>
        </p:blipFill>
        <p:spPr>
          <a:xfrm>
            <a:off x="6429254" y="3591243"/>
            <a:ext cx="302863" cy="250020"/>
          </a:xfrm>
          <a:prstGeom prst="rect">
            <a:avLst/>
          </a:prstGeom>
          <a:noFill/>
          <a:ln>
            <a:noFill/>
          </a:ln>
        </p:spPr>
      </p:pic>
      <p:sp>
        <p:nvSpPr>
          <p:cNvPr id="91" name="TextBox 90"/>
          <p:cNvSpPr txBox="1"/>
          <p:nvPr/>
        </p:nvSpPr>
        <p:spPr>
          <a:xfrm>
            <a:off x="5844731" y="3824478"/>
            <a:ext cx="838200" cy="215444"/>
          </a:xfrm>
          <a:prstGeom prst="rect">
            <a:avLst/>
          </a:prstGeom>
          <a:noFill/>
        </p:spPr>
        <p:txBody>
          <a:bodyPr wrap="square" lIns="0" tIns="0" rIns="0" bIns="0" rtlCol="0">
            <a:spAutoFit/>
          </a:bodyPr>
          <a:lstStyle/>
          <a:p>
            <a:pPr marL="0" algn="ctr"/>
            <a:r>
              <a:rPr lang="en-US" sz="700" dirty="0" smtClean="0">
                <a:solidFill>
                  <a:schemeClr val="bg2"/>
                </a:solidFill>
              </a:rPr>
              <a:t>Architecture, Standards</a:t>
            </a:r>
          </a:p>
        </p:txBody>
      </p:sp>
      <p:sp>
        <p:nvSpPr>
          <p:cNvPr id="92" name="Bent Arrow 91"/>
          <p:cNvSpPr/>
          <p:nvPr/>
        </p:nvSpPr>
        <p:spPr>
          <a:xfrm>
            <a:off x="5768531" y="3353606"/>
            <a:ext cx="825429" cy="368975"/>
          </a:xfrm>
          <a:prstGeom prst="bentArrow">
            <a:avLst>
              <a:gd name="adj1" fmla="val 25000"/>
              <a:gd name="adj2" fmla="val 30959"/>
              <a:gd name="adj3" fmla="val 25000"/>
              <a:gd name="adj4" fmla="val 11918"/>
            </a:avLst>
          </a:prstGeom>
          <a:solidFill>
            <a:schemeClr val="accent6">
              <a:lumMod val="60000"/>
              <a:lumOff val="40000"/>
            </a:schemeClr>
          </a:solid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93" name="Bent Arrow 92"/>
          <p:cNvSpPr/>
          <p:nvPr/>
        </p:nvSpPr>
        <p:spPr>
          <a:xfrm flipH="1" flipV="1">
            <a:off x="6530531" y="3828375"/>
            <a:ext cx="825429" cy="368975"/>
          </a:xfrm>
          <a:prstGeom prst="bentArrow">
            <a:avLst>
              <a:gd name="adj1" fmla="val 25000"/>
              <a:gd name="adj2" fmla="val 30959"/>
              <a:gd name="adj3" fmla="val 25000"/>
              <a:gd name="adj4" fmla="val 11918"/>
            </a:avLst>
          </a:prstGeom>
          <a:solidFill>
            <a:schemeClr val="accent6">
              <a:lumMod val="60000"/>
              <a:lumOff val="4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94" name="Bent Arrow 93"/>
          <p:cNvSpPr/>
          <p:nvPr/>
        </p:nvSpPr>
        <p:spPr>
          <a:xfrm rot="5400000">
            <a:off x="6838880" y="3201015"/>
            <a:ext cx="372029" cy="822960"/>
          </a:xfrm>
          <a:prstGeom prst="bentArrow">
            <a:avLst>
              <a:gd name="adj1" fmla="val 25000"/>
              <a:gd name="adj2" fmla="val 30959"/>
              <a:gd name="adj3" fmla="val 25000"/>
              <a:gd name="adj4" fmla="val 11918"/>
            </a:avLst>
          </a:prstGeom>
          <a:solidFill>
            <a:schemeClr val="accent6">
              <a:lumMod val="60000"/>
              <a:lumOff val="4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95" name="Bent Arrow 94"/>
          <p:cNvSpPr/>
          <p:nvPr/>
        </p:nvSpPr>
        <p:spPr>
          <a:xfrm rot="5400000" flipH="1" flipV="1">
            <a:off x="5895748" y="3523354"/>
            <a:ext cx="372029" cy="822960"/>
          </a:xfrm>
          <a:prstGeom prst="bentArrow">
            <a:avLst>
              <a:gd name="adj1" fmla="val 25000"/>
              <a:gd name="adj2" fmla="val 30959"/>
              <a:gd name="adj3" fmla="val 25000"/>
              <a:gd name="adj4" fmla="val 11918"/>
            </a:avLst>
          </a:prstGeom>
          <a:solidFill>
            <a:schemeClr val="accent6">
              <a:lumMod val="60000"/>
              <a:lumOff val="4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96" name="TextBox 95"/>
          <p:cNvSpPr txBox="1"/>
          <p:nvPr/>
        </p:nvSpPr>
        <p:spPr>
          <a:xfrm>
            <a:off x="6558091" y="3821278"/>
            <a:ext cx="762000" cy="215444"/>
          </a:xfrm>
          <a:prstGeom prst="rect">
            <a:avLst/>
          </a:prstGeom>
          <a:noFill/>
        </p:spPr>
        <p:txBody>
          <a:bodyPr wrap="square" lIns="0" tIns="0" rIns="0" bIns="0" rtlCol="0">
            <a:spAutoFit/>
          </a:bodyPr>
          <a:lstStyle/>
          <a:p>
            <a:pPr marL="0" algn="ctr"/>
            <a:r>
              <a:rPr lang="en-US" sz="700" dirty="0" smtClean="0">
                <a:solidFill>
                  <a:schemeClr val="bg2"/>
                </a:solidFill>
              </a:rPr>
              <a:t>Retirement</a:t>
            </a:r>
          </a:p>
          <a:p>
            <a:pPr marL="0" algn="ctr"/>
            <a:r>
              <a:rPr lang="en-US" sz="700" dirty="0" smtClean="0">
                <a:solidFill>
                  <a:schemeClr val="bg2"/>
                </a:solidFill>
              </a:rPr>
              <a:t>Execution</a:t>
            </a:r>
          </a:p>
        </p:txBody>
      </p:sp>
      <p:sp>
        <p:nvSpPr>
          <p:cNvPr id="76" name="TextBox 75"/>
          <p:cNvSpPr txBox="1"/>
          <p:nvPr/>
        </p:nvSpPr>
        <p:spPr>
          <a:xfrm>
            <a:off x="5579280" y="2358611"/>
            <a:ext cx="1948099" cy="153888"/>
          </a:xfrm>
          <a:prstGeom prst="rect">
            <a:avLst/>
          </a:prstGeom>
          <a:noFill/>
        </p:spPr>
        <p:txBody>
          <a:bodyPr wrap="square" lIns="0" tIns="0" rIns="0" bIns="0" rtlCol="0">
            <a:spAutoFit/>
          </a:bodyPr>
          <a:lstStyle/>
          <a:p>
            <a:pPr marL="0" algn="ctr"/>
            <a:r>
              <a:rPr lang="en-US" sz="1000" dirty="0" smtClean="0">
                <a:solidFill>
                  <a:schemeClr val="bg2"/>
                </a:solidFill>
              </a:rPr>
              <a:t>APP MIGRATION FACTORY</a:t>
            </a:r>
            <a:endParaRPr lang="en-US" sz="1050" dirty="0" smtClean="0">
              <a:solidFill>
                <a:schemeClr val="bg2"/>
              </a:solidFill>
            </a:endParaRPr>
          </a:p>
        </p:txBody>
      </p:sp>
      <p:sp>
        <p:nvSpPr>
          <p:cNvPr id="73" name="TextBox 72"/>
          <p:cNvSpPr txBox="1"/>
          <p:nvPr/>
        </p:nvSpPr>
        <p:spPr>
          <a:xfrm>
            <a:off x="5579280" y="1442723"/>
            <a:ext cx="1948099" cy="153888"/>
          </a:xfrm>
          <a:prstGeom prst="rect">
            <a:avLst/>
          </a:prstGeom>
          <a:noFill/>
        </p:spPr>
        <p:txBody>
          <a:bodyPr wrap="square" lIns="0" tIns="0" rIns="0" bIns="0" rtlCol="0">
            <a:spAutoFit/>
          </a:bodyPr>
          <a:lstStyle/>
          <a:p>
            <a:pPr marL="0" algn="ctr"/>
            <a:r>
              <a:rPr lang="en-US" sz="1000" dirty="0" smtClean="0">
                <a:solidFill>
                  <a:schemeClr val="bg2"/>
                </a:solidFill>
              </a:rPr>
              <a:t>DEVOPS FACTORY</a:t>
            </a:r>
            <a:endParaRPr lang="en-US" sz="1050" dirty="0" smtClean="0">
              <a:solidFill>
                <a:schemeClr val="bg2"/>
              </a:solidFill>
            </a:endParaRPr>
          </a:p>
        </p:txBody>
      </p:sp>
      <p:sp>
        <p:nvSpPr>
          <p:cNvPr id="88" name="TextBox 87"/>
          <p:cNvSpPr txBox="1"/>
          <p:nvPr/>
        </p:nvSpPr>
        <p:spPr>
          <a:xfrm>
            <a:off x="5579280" y="3269474"/>
            <a:ext cx="1948099" cy="153888"/>
          </a:xfrm>
          <a:prstGeom prst="rect">
            <a:avLst/>
          </a:prstGeom>
          <a:noFill/>
        </p:spPr>
        <p:txBody>
          <a:bodyPr wrap="square" lIns="0" tIns="0" rIns="0" bIns="0" rtlCol="0">
            <a:spAutoFit/>
          </a:bodyPr>
          <a:lstStyle/>
          <a:p>
            <a:pPr marL="0" algn="ctr"/>
            <a:r>
              <a:rPr lang="en-US" sz="1000" dirty="0" smtClean="0">
                <a:solidFill>
                  <a:schemeClr val="bg2"/>
                </a:solidFill>
              </a:rPr>
              <a:t>RETIREMENT FACTORY</a:t>
            </a:r>
            <a:endParaRPr lang="en-US" sz="1050" dirty="0" smtClean="0">
              <a:solidFill>
                <a:schemeClr val="bg2"/>
              </a:solidFill>
            </a:endParaRPr>
          </a:p>
        </p:txBody>
      </p:sp>
      <p:pic>
        <p:nvPicPr>
          <p:cNvPr id="100" name="Picture 99"/>
          <p:cNvPicPr>
            <a:picLocks noChangeAspect="1"/>
          </p:cNvPicPr>
          <p:nvPr/>
        </p:nvPicPr>
        <p:blipFill>
          <a:blip r:embed="rId5" cstate="print"/>
          <a:stretch>
            <a:fillRect/>
          </a:stretch>
        </p:blipFill>
        <p:spPr>
          <a:xfrm>
            <a:off x="7896514" y="1529607"/>
            <a:ext cx="804462" cy="804462"/>
          </a:xfrm>
          <a:prstGeom prst="rect">
            <a:avLst/>
          </a:prstGeom>
        </p:spPr>
      </p:pic>
      <p:cxnSp>
        <p:nvCxnSpPr>
          <p:cNvPr id="110" name="Straight Arrow Connector 109"/>
          <p:cNvCxnSpPr/>
          <p:nvPr/>
        </p:nvCxnSpPr>
        <p:spPr>
          <a:xfrm flipV="1">
            <a:off x="5392107" y="1702628"/>
            <a:ext cx="27432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2" name="Straight Arrow Connector 111"/>
          <p:cNvCxnSpPr/>
          <p:nvPr/>
        </p:nvCxnSpPr>
        <p:spPr>
          <a:xfrm flipV="1">
            <a:off x="5392107" y="2201024"/>
            <a:ext cx="27432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3" name="Straight Arrow Connector 112"/>
          <p:cNvCxnSpPr/>
          <p:nvPr/>
        </p:nvCxnSpPr>
        <p:spPr>
          <a:xfrm flipV="1">
            <a:off x="5392107" y="2815810"/>
            <a:ext cx="27432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4" name="Straight Arrow Connector 113"/>
          <p:cNvCxnSpPr/>
          <p:nvPr/>
        </p:nvCxnSpPr>
        <p:spPr>
          <a:xfrm flipV="1">
            <a:off x="5392107" y="3435349"/>
            <a:ext cx="27432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5" name="Straight Arrow Connector 114"/>
          <p:cNvCxnSpPr/>
          <p:nvPr/>
        </p:nvCxnSpPr>
        <p:spPr>
          <a:xfrm flipV="1">
            <a:off x="7449259" y="3760028"/>
            <a:ext cx="27432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6" name="Straight Arrow Connector 115"/>
          <p:cNvCxnSpPr/>
          <p:nvPr/>
        </p:nvCxnSpPr>
        <p:spPr>
          <a:xfrm flipV="1">
            <a:off x="7449259" y="2007428"/>
            <a:ext cx="27432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p:cNvCxnSpPr/>
          <p:nvPr/>
        </p:nvCxnSpPr>
        <p:spPr>
          <a:xfrm flipV="1">
            <a:off x="3810940" y="2236028"/>
            <a:ext cx="18288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18" name="Straight Arrow Connector 117"/>
          <p:cNvCxnSpPr/>
          <p:nvPr/>
        </p:nvCxnSpPr>
        <p:spPr>
          <a:xfrm flipV="1">
            <a:off x="3810940" y="3435350"/>
            <a:ext cx="18288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sp>
        <p:nvSpPr>
          <p:cNvPr id="119" name="Round Same Side Corner Rectangle 118"/>
          <p:cNvSpPr/>
          <p:nvPr/>
        </p:nvSpPr>
        <p:spPr>
          <a:xfrm flipV="1">
            <a:off x="361031" y="2903326"/>
            <a:ext cx="1402721" cy="799228"/>
          </a:xfrm>
          <a:prstGeom prst="round2SameRect">
            <a:avLst>
              <a:gd name="adj1" fmla="val 4932"/>
              <a:gd name="adj2" fmla="val 3590"/>
            </a:avLst>
          </a:prstGeom>
          <a:gradFill>
            <a:gsLst>
              <a:gs pos="0">
                <a:schemeClr val="bg1">
                  <a:lumMod val="95000"/>
                </a:schemeClr>
              </a:gs>
              <a:gs pos="100000">
                <a:schemeClr val="bg1">
                  <a:lumMod val="75000"/>
                </a:schemeClr>
              </a:gs>
            </a:gsLst>
          </a:gradFill>
          <a:ln>
            <a:gradFill>
              <a:gsLst>
                <a:gs pos="0">
                  <a:schemeClr val="bg1"/>
                </a:gs>
                <a:gs pos="100000">
                  <a:schemeClr val="bg1">
                    <a:lumMod val="50000"/>
                  </a:schemeClr>
                </a:gs>
              </a:gsLst>
              <a:lin ang="16200000" scaled="0"/>
            </a:gradFill>
          </a:ln>
          <a:effectLst>
            <a:outerShdw blurRad="38100" dist="25400" dir="5400000" algn="t" rotWithShape="0">
              <a:schemeClr val="tx2">
                <a:lumMod val="50000"/>
                <a:alpha val="60000"/>
              </a:schemeClr>
            </a:out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120" name="Round Same Side Corner Rectangle 119"/>
          <p:cNvSpPr/>
          <p:nvPr/>
        </p:nvSpPr>
        <p:spPr>
          <a:xfrm flipV="1">
            <a:off x="361031" y="1482089"/>
            <a:ext cx="1402721" cy="799228"/>
          </a:xfrm>
          <a:prstGeom prst="round2SameRect">
            <a:avLst>
              <a:gd name="adj1" fmla="val 4932"/>
              <a:gd name="adj2" fmla="val 3590"/>
            </a:avLst>
          </a:prstGeom>
          <a:gradFill>
            <a:gsLst>
              <a:gs pos="0">
                <a:schemeClr val="bg1">
                  <a:lumMod val="95000"/>
                </a:schemeClr>
              </a:gs>
              <a:gs pos="100000">
                <a:schemeClr val="bg1">
                  <a:lumMod val="75000"/>
                </a:schemeClr>
              </a:gs>
            </a:gsLst>
          </a:gradFill>
          <a:ln>
            <a:gradFill>
              <a:gsLst>
                <a:gs pos="0">
                  <a:schemeClr val="bg1"/>
                </a:gs>
                <a:gs pos="100000">
                  <a:schemeClr val="bg1">
                    <a:lumMod val="50000"/>
                  </a:schemeClr>
                </a:gs>
              </a:gsLst>
              <a:lin ang="16200000" scaled="0"/>
            </a:gradFill>
          </a:ln>
          <a:effectLst>
            <a:outerShdw blurRad="38100" dist="25400" dir="5400000" algn="t" rotWithShape="0">
              <a:schemeClr val="tx2">
                <a:lumMod val="50000"/>
                <a:alpha val="60000"/>
              </a:schemeClr>
            </a:out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pic>
        <p:nvPicPr>
          <p:cNvPr id="121" name="Picture 120" descr="plat-apps2.png"/>
          <p:cNvPicPr>
            <a:picLocks noChangeAspect="1"/>
          </p:cNvPicPr>
          <p:nvPr/>
        </p:nvPicPr>
        <p:blipFill>
          <a:blip r:embed="rId6" cstate="screen">
            <a:duotone>
              <a:prstClr val="black"/>
              <a:schemeClr val="accent2">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a:ext>
            </a:extLst>
          </a:blip>
          <a:stretch>
            <a:fillRect/>
          </a:stretch>
        </p:blipFill>
        <p:spPr>
          <a:xfrm>
            <a:off x="616761" y="1876177"/>
            <a:ext cx="891261" cy="365379"/>
          </a:xfrm>
          <a:prstGeom prst="rect">
            <a:avLst/>
          </a:prstGeom>
        </p:spPr>
      </p:pic>
      <p:pic>
        <p:nvPicPr>
          <p:cNvPr id="122" name="Picture 121" descr="plat-apps1.png"/>
          <p:cNvPicPr>
            <a:picLocks noChangeAspect="1"/>
          </p:cNvPicPr>
          <p:nvPr/>
        </p:nvPicPr>
        <p:blipFill>
          <a:blip r:embed="rId8"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644597" y="3295802"/>
            <a:ext cx="891260" cy="366990"/>
          </a:xfrm>
          <a:prstGeom prst="rect">
            <a:avLst/>
          </a:prstGeom>
        </p:spPr>
      </p:pic>
      <p:sp>
        <p:nvSpPr>
          <p:cNvPr id="123" name="TextBox 122"/>
          <p:cNvSpPr txBox="1"/>
          <p:nvPr/>
        </p:nvSpPr>
        <p:spPr>
          <a:xfrm>
            <a:off x="533822" y="2895265"/>
            <a:ext cx="1112805" cy="400110"/>
          </a:xfrm>
          <a:prstGeom prst="rect">
            <a:avLst/>
          </a:prstGeom>
        </p:spPr>
        <p:txBody>
          <a:bodyPr wrap="none" rtlCol="0">
            <a:spAutoFit/>
          </a:bodyPr>
          <a:lstStyle/>
          <a:p>
            <a:pPr algn="ctr">
              <a:lnSpc>
                <a:spcPts val="1150"/>
              </a:lnSpc>
            </a:pPr>
            <a:r>
              <a:rPr lang="en-US" sz="1200" kern="0" dirty="0" smtClean="0">
                <a:solidFill>
                  <a:schemeClr val="tx1">
                    <a:lumMod val="75000"/>
                    <a:lumOff val="25000"/>
                  </a:schemeClr>
                </a:solidFill>
                <a:effectLst>
                  <a:outerShdw blurRad="88900" algn="ctr" rotWithShape="0">
                    <a:srgbClr val="FFFFFF"/>
                  </a:outerShdw>
                </a:effectLst>
              </a:rPr>
              <a:t>Existing</a:t>
            </a:r>
            <a:br>
              <a:rPr lang="en-US" sz="1200" kern="0" dirty="0" smtClean="0">
                <a:solidFill>
                  <a:schemeClr val="tx1">
                    <a:lumMod val="75000"/>
                    <a:lumOff val="25000"/>
                  </a:schemeClr>
                </a:solidFill>
                <a:effectLst>
                  <a:outerShdw blurRad="88900" algn="ctr" rotWithShape="0">
                    <a:srgbClr val="FFFFFF"/>
                  </a:outerShdw>
                </a:effectLst>
              </a:rPr>
            </a:br>
            <a:r>
              <a:rPr lang="en-US" sz="1200" kern="0" dirty="0" smtClean="0">
                <a:solidFill>
                  <a:schemeClr val="tx1">
                    <a:lumMod val="75000"/>
                    <a:lumOff val="25000"/>
                  </a:schemeClr>
                </a:solidFill>
                <a:effectLst>
                  <a:outerShdw blurRad="88900" algn="ctr" rotWithShape="0">
                    <a:srgbClr val="FFFFFF"/>
                  </a:outerShdw>
                </a:effectLst>
              </a:rPr>
              <a:t>Applications</a:t>
            </a:r>
          </a:p>
        </p:txBody>
      </p:sp>
      <p:sp>
        <p:nvSpPr>
          <p:cNvPr id="124" name="TextBox 123"/>
          <p:cNvSpPr txBox="1"/>
          <p:nvPr/>
        </p:nvSpPr>
        <p:spPr>
          <a:xfrm>
            <a:off x="505986" y="1474028"/>
            <a:ext cx="1112805" cy="400110"/>
          </a:xfrm>
          <a:prstGeom prst="rect">
            <a:avLst/>
          </a:prstGeom>
        </p:spPr>
        <p:txBody>
          <a:bodyPr wrap="none" rtlCol="0">
            <a:spAutoFit/>
          </a:bodyPr>
          <a:lstStyle/>
          <a:p>
            <a:pPr algn="ctr">
              <a:lnSpc>
                <a:spcPts val="1150"/>
              </a:lnSpc>
            </a:pPr>
            <a:r>
              <a:rPr lang="en-US" sz="1200" kern="0" dirty="0" smtClean="0">
                <a:solidFill>
                  <a:schemeClr val="tx1">
                    <a:lumMod val="75000"/>
                    <a:lumOff val="25000"/>
                  </a:schemeClr>
                </a:solidFill>
                <a:effectLst>
                  <a:outerShdw blurRad="88900" algn="ctr" rotWithShape="0">
                    <a:srgbClr val="FFFFFF"/>
                  </a:outerShdw>
                </a:effectLst>
              </a:rPr>
              <a:t>New</a:t>
            </a:r>
          </a:p>
          <a:p>
            <a:pPr algn="ctr">
              <a:lnSpc>
                <a:spcPts val="1150"/>
              </a:lnSpc>
            </a:pPr>
            <a:r>
              <a:rPr lang="en-US" sz="1200" kern="0" dirty="0" smtClean="0">
                <a:solidFill>
                  <a:schemeClr val="tx1">
                    <a:lumMod val="75000"/>
                    <a:lumOff val="25000"/>
                  </a:schemeClr>
                </a:solidFill>
                <a:effectLst>
                  <a:outerShdw blurRad="88900" algn="ctr" rotWithShape="0">
                    <a:srgbClr val="FFFFFF"/>
                  </a:outerShdw>
                </a:effectLst>
              </a:rPr>
              <a:t>Applications</a:t>
            </a:r>
          </a:p>
        </p:txBody>
      </p:sp>
      <p:cxnSp>
        <p:nvCxnSpPr>
          <p:cNvPr id="125" name="Straight Arrow Connector 124"/>
          <p:cNvCxnSpPr/>
          <p:nvPr/>
        </p:nvCxnSpPr>
        <p:spPr>
          <a:xfrm flipV="1">
            <a:off x="1806943" y="3266384"/>
            <a:ext cx="18288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26" name="Straight Arrow Connector 125"/>
          <p:cNvCxnSpPr/>
          <p:nvPr/>
        </p:nvCxnSpPr>
        <p:spPr>
          <a:xfrm flipV="1">
            <a:off x="1784020" y="1702628"/>
            <a:ext cx="219456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sp>
        <p:nvSpPr>
          <p:cNvPr id="127" name="Oval 126"/>
          <p:cNvSpPr/>
          <p:nvPr/>
        </p:nvSpPr>
        <p:spPr>
          <a:xfrm>
            <a:off x="4007098" y="3750403"/>
            <a:ext cx="1371600" cy="437322"/>
          </a:xfrm>
          <a:prstGeom prst="ellipse">
            <a:avLst/>
          </a:prstGeom>
          <a:solidFill>
            <a:schemeClr val="accent4"/>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t>RETAIN</a:t>
            </a:r>
            <a:endParaRPr lang="en-US" sz="1200" dirty="0"/>
          </a:p>
        </p:txBody>
      </p:sp>
      <p:cxnSp>
        <p:nvCxnSpPr>
          <p:cNvPr id="74" name="Straight Arrow Connector 73"/>
          <p:cNvCxnSpPr/>
          <p:nvPr/>
        </p:nvCxnSpPr>
        <p:spPr>
          <a:xfrm flipV="1">
            <a:off x="3810940" y="2845627"/>
            <a:ext cx="18288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p:nvPr/>
        </p:nvCxnSpPr>
        <p:spPr>
          <a:xfrm flipV="1">
            <a:off x="3810940" y="3988627"/>
            <a:ext cx="18288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6604895" y="1762695"/>
            <a:ext cx="302975" cy="92333"/>
          </a:xfrm>
          <a:prstGeom prst="rect">
            <a:avLst/>
          </a:prstGeom>
          <a:noFill/>
        </p:spPr>
        <p:txBody>
          <a:bodyPr wrap="square" lIns="0" tIns="0" rIns="0" bIns="0" rtlCol="0">
            <a:spAutoFit/>
          </a:bodyPr>
          <a:lstStyle/>
          <a:p>
            <a:pPr marL="0"/>
            <a:r>
              <a:rPr lang="en-US" sz="600" dirty="0" smtClean="0">
                <a:solidFill>
                  <a:schemeClr val="bg1"/>
                </a:solidFill>
              </a:rPr>
              <a:t>DEV</a:t>
            </a:r>
          </a:p>
        </p:txBody>
      </p:sp>
      <p:grpSp>
        <p:nvGrpSpPr>
          <p:cNvPr id="17" name="Group 16"/>
          <p:cNvGrpSpPr/>
          <p:nvPr/>
        </p:nvGrpSpPr>
        <p:grpSpPr>
          <a:xfrm>
            <a:off x="5670283" y="1529606"/>
            <a:ext cx="1766092" cy="843744"/>
            <a:chOff x="5486463" y="1560528"/>
            <a:chExt cx="1766092" cy="843744"/>
          </a:xfrm>
        </p:grpSpPr>
        <p:grpSp>
          <p:nvGrpSpPr>
            <p:cNvPr id="3" name="Group 2"/>
            <p:cNvGrpSpPr/>
            <p:nvPr/>
          </p:nvGrpSpPr>
          <p:grpSpPr>
            <a:xfrm>
              <a:off x="5486463" y="1560528"/>
              <a:ext cx="1766092" cy="843744"/>
              <a:chOff x="739952" y="1494346"/>
              <a:chExt cx="1766092" cy="1119860"/>
            </a:xfrm>
          </p:grpSpPr>
          <p:pic>
            <p:nvPicPr>
              <p:cNvPr id="4" name="Picture 3" descr="Factory.png"/>
              <p:cNvPicPr>
                <a:picLocks noChangeAspect="1"/>
              </p:cNvPicPr>
              <p:nvPr/>
            </p:nvPicPr>
            <p:blipFill>
              <a:blip r:embed="rId4" cstate="print">
                <a:lum contrast="24000"/>
                <a:extLst>
                  <a:ext uri="{28A0092B-C50C-407E-A947-70E740481C1C}">
                    <a14:useLocalDpi xmlns:a14="http://schemas.microsoft.com/office/drawing/2010/main"/>
                  </a:ext>
                </a:extLst>
              </a:blip>
              <a:stretch>
                <a:fillRect/>
              </a:stretch>
            </p:blipFill>
            <p:spPr>
              <a:xfrm>
                <a:off x="1368739" y="1809750"/>
                <a:ext cx="302863" cy="331839"/>
              </a:xfrm>
              <a:prstGeom prst="rect">
                <a:avLst/>
              </a:prstGeom>
              <a:noFill/>
              <a:ln>
                <a:noFill/>
              </a:ln>
            </p:spPr>
          </p:pic>
          <p:sp>
            <p:nvSpPr>
              <p:cNvPr id="5" name="TextBox 4"/>
              <p:cNvSpPr txBox="1"/>
              <p:nvPr/>
            </p:nvSpPr>
            <p:spPr>
              <a:xfrm>
                <a:off x="914400" y="2119311"/>
                <a:ext cx="838200" cy="285948"/>
              </a:xfrm>
              <a:prstGeom prst="rect">
                <a:avLst/>
              </a:prstGeom>
              <a:noFill/>
            </p:spPr>
            <p:txBody>
              <a:bodyPr wrap="square" lIns="0" tIns="0" rIns="0" bIns="0" rtlCol="0">
                <a:spAutoFit/>
              </a:bodyPr>
              <a:lstStyle/>
              <a:p>
                <a:pPr marL="0" algn="ctr"/>
                <a:r>
                  <a:rPr lang="en-US" sz="700" dirty="0" smtClean="0">
                    <a:solidFill>
                      <a:schemeClr val="bg2"/>
                    </a:solidFill>
                  </a:rPr>
                  <a:t>Architecture, Standards</a:t>
                </a:r>
              </a:p>
            </p:txBody>
          </p:sp>
          <p:sp>
            <p:nvSpPr>
              <p:cNvPr id="6" name="Bent Arrow 5"/>
              <p:cNvSpPr/>
              <p:nvPr/>
            </p:nvSpPr>
            <p:spPr>
              <a:xfrm>
                <a:off x="838200" y="1494346"/>
                <a:ext cx="825429" cy="489723"/>
              </a:xfrm>
              <a:prstGeom prst="bentArrow">
                <a:avLst>
                  <a:gd name="adj1" fmla="val 25000"/>
                  <a:gd name="adj2" fmla="val 30959"/>
                  <a:gd name="adj3" fmla="val 25000"/>
                  <a:gd name="adj4" fmla="val 11918"/>
                </a:avLst>
              </a:prstGeom>
              <a:solidFill>
                <a:schemeClr val="accent2">
                  <a:lumMod val="60000"/>
                  <a:lumOff val="40000"/>
                </a:schemeClr>
              </a:solid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7" name="Bent Arrow 6"/>
              <p:cNvSpPr/>
              <p:nvPr/>
            </p:nvSpPr>
            <p:spPr>
              <a:xfrm flipH="1" flipV="1">
                <a:off x="1600200" y="2124483"/>
                <a:ext cx="825429" cy="489723"/>
              </a:xfrm>
              <a:prstGeom prst="bentArrow">
                <a:avLst>
                  <a:gd name="adj1" fmla="val 25000"/>
                  <a:gd name="adj2" fmla="val 30959"/>
                  <a:gd name="adj3" fmla="val 25000"/>
                  <a:gd name="adj4" fmla="val 11918"/>
                </a:avLst>
              </a:prstGeom>
              <a:solidFill>
                <a:schemeClr val="accent2">
                  <a:lumMod val="60000"/>
                  <a:lumOff val="4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8" name="Bent Arrow 7"/>
              <p:cNvSpPr/>
              <p:nvPr/>
            </p:nvSpPr>
            <p:spPr>
              <a:xfrm rot="5400000">
                <a:off x="1847676" y="1426476"/>
                <a:ext cx="493776" cy="822960"/>
              </a:xfrm>
              <a:prstGeom prst="bentArrow">
                <a:avLst>
                  <a:gd name="adj1" fmla="val 25000"/>
                  <a:gd name="adj2" fmla="val 30959"/>
                  <a:gd name="adj3" fmla="val 25000"/>
                  <a:gd name="adj4" fmla="val 11918"/>
                </a:avLst>
              </a:prstGeom>
              <a:solidFill>
                <a:schemeClr val="accent2">
                  <a:lumMod val="60000"/>
                  <a:lumOff val="4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9" name="Bent Arrow 8"/>
              <p:cNvSpPr/>
              <p:nvPr/>
            </p:nvSpPr>
            <p:spPr>
              <a:xfrm rot="5400000" flipH="1" flipV="1">
                <a:off x="904544" y="1854302"/>
                <a:ext cx="493776" cy="822960"/>
              </a:xfrm>
              <a:prstGeom prst="bentArrow">
                <a:avLst>
                  <a:gd name="adj1" fmla="val 25000"/>
                  <a:gd name="adj2" fmla="val 30959"/>
                  <a:gd name="adj3" fmla="val 25000"/>
                  <a:gd name="adj4" fmla="val 11918"/>
                </a:avLst>
              </a:prstGeom>
              <a:solidFill>
                <a:schemeClr val="accent2">
                  <a:lumMod val="60000"/>
                  <a:lumOff val="40000"/>
                </a:schemeClr>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00" dirty="0">
                  <a:solidFill>
                    <a:schemeClr val="bg1"/>
                  </a:solidFill>
                </a:endParaRPr>
              </a:p>
            </p:txBody>
          </p:sp>
          <p:sp>
            <p:nvSpPr>
              <p:cNvPr id="10" name="TextBox 9"/>
              <p:cNvSpPr txBox="1"/>
              <p:nvPr/>
            </p:nvSpPr>
            <p:spPr>
              <a:xfrm>
                <a:off x="1627760" y="2115064"/>
                <a:ext cx="762000" cy="285948"/>
              </a:xfrm>
              <a:prstGeom prst="rect">
                <a:avLst/>
              </a:prstGeom>
              <a:noFill/>
            </p:spPr>
            <p:txBody>
              <a:bodyPr wrap="square" lIns="0" tIns="0" rIns="0" bIns="0" rtlCol="0">
                <a:spAutoFit/>
              </a:bodyPr>
              <a:lstStyle/>
              <a:p>
                <a:pPr marL="0" algn="ctr"/>
                <a:r>
                  <a:rPr lang="en-US" sz="700" dirty="0" smtClean="0">
                    <a:solidFill>
                      <a:schemeClr val="bg2"/>
                    </a:solidFill>
                  </a:rPr>
                  <a:t>Dev,</a:t>
                </a:r>
              </a:p>
              <a:p>
                <a:pPr marL="0" algn="ctr"/>
                <a:r>
                  <a:rPr lang="en-US" sz="700" dirty="0" smtClean="0">
                    <a:solidFill>
                      <a:schemeClr val="bg2"/>
                    </a:solidFill>
                  </a:rPr>
                  <a:t>Execution</a:t>
                </a:r>
              </a:p>
            </p:txBody>
          </p:sp>
        </p:grpSp>
        <p:grpSp>
          <p:nvGrpSpPr>
            <p:cNvPr id="14" name="Group 18"/>
            <p:cNvGrpSpPr/>
            <p:nvPr/>
          </p:nvGrpSpPr>
          <p:grpSpPr>
            <a:xfrm>
              <a:off x="6371925" y="1807416"/>
              <a:ext cx="266381" cy="266381"/>
              <a:chOff x="5897942" y="4781550"/>
              <a:chExt cx="266381" cy="266381"/>
            </a:xfrm>
          </p:grpSpPr>
          <p:grpSp>
            <p:nvGrpSpPr>
              <p:cNvPr id="16" name="Group 15"/>
              <p:cNvGrpSpPr/>
              <p:nvPr/>
            </p:nvGrpSpPr>
            <p:grpSpPr>
              <a:xfrm>
                <a:off x="5897942" y="4781550"/>
                <a:ext cx="266381" cy="266381"/>
                <a:chOff x="5897942" y="4781550"/>
                <a:chExt cx="266381" cy="266381"/>
              </a:xfrm>
            </p:grpSpPr>
            <p:pic>
              <p:nvPicPr>
                <p:cNvPr id="12" name="Picture 11"/>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897942" y="4781550"/>
                  <a:ext cx="266381" cy="266381"/>
                </a:xfrm>
                <a:prstGeom prst="rect">
                  <a:avLst/>
                </a:prstGeom>
              </p:spPr>
            </p:pic>
            <p:sp>
              <p:nvSpPr>
                <p:cNvPr id="15" name="Oval 14"/>
                <p:cNvSpPr/>
                <p:nvPr/>
              </p:nvSpPr>
              <p:spPr>
                <a:xfrm>
                  <a:off x="6007856" y="4933930"/>
                  <a:ext cx="78519" cy="66595"/>
                </a:xfrm>
                <a:prstGeom prst="ellipse">
                  <a:avLst/>
                </a:prstGeom>
                <a:solidFill>
                  <a:schemeClr val="bg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Oval 76"/>
                <p:cNvSpPr/>
                <p:nvPr/>
              </p:nvSpPr>
              <p:spPr>
                <a:xfrm>
                  <a:off x="5980500" y="4820050"/>
                  <a:ext cx="78519" cy="66595"/>
                </a:xfrm>
                <a:prstGeom prst="ellipse">
                  <a:avLst/>
                </a:prstGeom>
                <a:solidFill>
                  <a:schemeClr val="tx1"/>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8" name="TextBox 17"/>
              <p:cNvSpPr txBox="1"/>
              <p:nvPr/>
            </p:nvSpPr>
            <p:spPr>
              <a:xfrm>
                <a:off x="5922745" y="4810425"/>
                <a:ext cx="182880" cy="76944"/>
              </a:xfrm>
              <a:prstGeom prst="rect">
                <a:avLst/>
              </a:prstGeom>
              <a:noFill/>
            </p:spPr>
            <p:txBody>
              <a:bodyPr wrap="square" lIns="0" tIns="0" rIns="0" bIns="0" rtlCol="0">
                <a:spAutoFit/>
              </a:bodyPr>
              <a:lstStyle/>
              <a:p>
                <a:pPr marL="0" algn="ctr"/>
                <a:r>
                  <a:rPr lang="en-US" sz="500" dirty="0" smtClean="0">
                    <a:solidFill>
                      <a:schemeClr val="bg1"/>
                    </a:solidFill>
                  </a:rPr>
                  <a:t>DEV</a:t>
                </a:r>
              </a:p>
            </p:txBody>
          </p:sp>
          <p:sp>
            <p:nvSpPr>
              <p:cNvPr id="80" name="TextBox 79"/>
              <p:cNvSpPr txBox="1"/>
              <p:nvPr/>
            </p:nvSpPr>
            <p:spPr>
              <a:xfrm>
                <a:off x="5962850" y="4924325"/>
                <a:ext cx="182880" cy="76944"/>
              </a:xfrm>
              <a:prstGeom prst="rect">
                <a:avLst/>
              </a:prstGeom>
              <a:noFill/>
            </p:spPr>
            <p:txBody>
              <a:bodyPr wrap="square" lIns="0" tIns="0" rIns="0" bIns="0" rtlCol="0">
                <a:spAutoFit/>
              </a:bodyPr>
              <a:lstStyle/>
              <a:p>
                <a:pPr marL="0" algn="ctr"/>
                <a:r>
                  <a:rPr lang="en-US" sz="500" dirty="0" smtClean="0"/>
                  <a:t>OPS</a:t>
                </a:r>
              </a:p>
            </p:txBody>
          </p:sp>
        </p:grpSp>
      </p:grpSp>
      <p:cxnSp>
        <p:nvCxnSpPr>
          <p:cNvPr id="89" name="Straight Arrow Connector 88"/>
          <p:cNvCxnSpPr/>
          <p:nvPr/>
        </p:nvCxnSpPr>
        <p:spPr>
          <a:xfrm flipV="1">
            <a:off x="7449259" y="2845627"/>
            <a:ext cx="274320" cy="1"/>
          </a:xfrm>
          <a:prstGeom prst="straightConnector1">
            <a:avLst/>
          </a:prstGeom>
          <a:ln w="12700" cmpd="sng">
            <a:solidFill>
              <a:schemeClr val="bg2"/>
            </a:solidFill>
            <a:tailEnd type="arrow"/>
          </a:ln>
          <a:effectLst/>
        </p:spPr>
        <p:style>
          <a:lnRef idx="2">
            <a:schemeClr val="accent1"/>
          </a:lnRef>
          <a:fillRef idx="0">
            <a:schemeClr val="accent1"/>
          </a:fillRef>
          <a:effectRef idx="1">
            <a:schemeClr val="accent1"/>
          </a:effectRef>
          <a:fontRef idx="minor">
            <a:schemeClr val="tx1"/>
          </a:fontRef>
        </p:style>
      </p:cxnSp>
      <p:pic>
        <p:nvPicPr>
          <p:cNvPr id="19" name="Picture 18"/>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7745151" y="2328715"/>
            <a:ext cx="1126513" cy="1126513"/>
          </a:xfrm>
          <a:prstGeom prst="rect">
            <a:avLst/>
          </a:prstGeom>
        </p:spPr>
      </p:pic>
      <p:pic>
        <p:nvPicPr>
          <p:cNvPr id="101" name="Picture 100"/>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780678" y="2591753"/>
            <a:ext cx="867214" cy="879148"/>
          </a:xfrm>
          <a:prstGeom prst="rect">
            <a:avLst/>
          </a:prstGeom>
        </p:spPr>
      </p:pic>
    </p:spTree>
    <p:extLst>
      <p:ext uri="{BB962C8B-B14F-4D97-AF65-F5344CB8AC3E}">
        <p14:creationId xmlns:p14="http://schemas.microsoft.com/office/powerpoint/2010/main" val="203792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2.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4632960"/>
          </a:xfrm>
          <a:prstGeom prst="rect">
            <a:avLst/>
          </a:prstGeom>
        </p:spPr>
      </p:pic>
      <p:sp>
        <p:nvSpPr>
          <p:cNvPr id="2" name="Title 1"/>
          <p:cNvSpPr>
            <a:spLocks noGrp="1"/>
          </p:cNvSpPr>
          <p:nvPr>
            <p:ph type="ctrTitle"/>
          </p:nvPr>
        </p:nvSpPr>
        <p:spPr>
          <a:xfrm>
            <a:off x="339725" y="1428749"/>
            <a:ext cx="8458200" cy="1913173"/>
          </a:xfrm>
        </p:spPr>
        <p:txBody>
          <a:bodyPr/>
          <a:lstStyle/>
          <a:p>
            <a:r>
              <a:rPr lang="en-US" dirty="0" smtClean="0"/>
              <a:t>APPROACHES FOR STARTING AN</a:t>
            </a:r>
            <a:br>
              <a:rPr lang="en-US" dirty="0" smtClean="0"/>
            </a:br>
            <a:r>
              <a:rPr lang="en-US" dirty="0" smtClean="0"/>
              <a:t>IT TRANSFORMATION</a:t>
            </a:r>
            <a:endParaRPr lang="en-US" dirty="0"/>
          </a:p>
        </p:txBody>
      </p:sp>
    </p:spTree>
    <p:extLst>
      <p:ext uri="{BB962C8B-B14F-4D97-AF65-F5344CB8AC3E}">
        <p14:creationId xmlns:p14="http://schemas.microsoft.com/office/powerpoint/2010/main" val="248426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230" y="2506130"/>
            <a:ext cx="9144000" cy="2134083"/>
          </a:xfrm>
          <a:prstGeom prst="rect">
            <a:avLst/>
          </a:prstGeom>
          <a:gradFill flip="none" rotWithShape="1">
            <a:gsLst>
              <a:gs pos="0">
                <a:schemeClr val="tx1">
                  <a:lumMod val="85000"/>
                  <a:lumOff val="15000"/>
                </a:schemeClr>
              </a:gs>
              <a:gs pos="47000">
                <a:srgbClr val="267426"/>
              </a:gs>
              <a:gs pos="100000">
                <a:srgbClr val="68B892"/>
              </a:gs>
            </a:gsLst>
            <a:lin ang="162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6" name="Picture 2" descr="\\vmware-host\Shared Folders\Desktop\Active  Projects\Mary Hettinger\140448982.jp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230" y="-1"/>
            <a:ext cx="9144000" cy="2421657"/>
          </a:xfrm>
          <a:prstGeom prst="rect">
            <a:avLst/>
          </a:prstGeom>
          <a:noFill/>
        </p:spPr>
      </p:pic>
      <p:sp>
        <p:nvSpPr>
          <p:cNvPr id="27" name="Rectangle 26"/>
          <p:cNvSpPr/>
          <p:nvPr/>
        </p:nvSpPr>
        <p:spPr>
          <a:xfrm flipV="1">
            <a:off x="0" y="1121145"/>
            <a:ext cx="9144000" cy="1393899"/>
          </a:xfrm>
          <a:prstGeom prst="rect">
            <a:avLst/>
          </a:prstGeom>
          <a:gradFill flip="none" rotWithShape="1">
            <a:gsLst>
              <a:gs pos="0">
                <a:schemeClr val="tx2">
                  <a:alpha val="0"/>
                </a:schemeClr>
              </a:gs>
              <a:gs pos="100000">
                <a:schemeClr val="tx2">
                  <a:lumMod val="40000"/>
                  <a:lumOff val="60000"/>
                  <a:alpha val="90000"/>
                </a:schemeClr>
              </a:gs>
            </a:gsLst>
            <a:lin ang="162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p:cNvSpPr/>
          <p:nvPr/>
        </p:nvSpPr>
        <p:spPr>
          <a:xfrm>
            <a:off x="230" y="0"/>
            <a:ext cx="9144000" cy="2181723"/>
          </a:xfrm>
          <a:prstGeom prst="rect">
            <a:avLst/>
          </a:prstGeom>
          <a:gradFill flip="none" rotWithShape="1">
            <a:gsLst>
              <a:gs pos="0">
                <a:schemeClr val="tx2">
                  <a:alpha val="0"/>
                </a:schemeClr>
              </a:gs>
              <a:gs pos="100000">
                <a:schemeClr val="tx2">
                  <a:lumMod val="75000"/>
                  <a:alpha val="90000"/>
                </a:schemeClr>
              </a:gs>
            </a:gsLst>
            <a:lin ang="162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Freeform 28"/>
          <p:cNvSpPr/>
          <p:nvPr/>
        </p:nvSpPr>
        <p:spPr>
          <a:xfrm>
            <a:off x="-14829" y="1518615"/>
            <a:ext cx="9164509" cy="2218542"/>
          </a:xfrm>
          <a:custGeom>
            <a:avLst/>
            <a:gdLst>
              <a:gd name="connsiteX0" fmla="*/ 0 w 9149450"/>
              <a:gd name="connsiteY0" fmla="*/ 46007 h 494581"/>
              <a:gd name="connsiteX1" fmla="*/ 46007 w 9149450"/>
              <a:gd name="connsiteY1" fmla="*/ 40257 h 494581"/>
              <a:gd name="connsiteX2" fmla="*/ 74762 w 9149450"/>
              <a:gd name="connsiteY2" fmla="*/ 28755 h 494581"/>
              <a:gd name="connsiteX3" fmla="*/ 143774 w 9149450"/>
              <a:gd name="connsiteY3" fmla="*/ 17253 h 494581"/>
              <a:gd name="connsiteX4" fmla="*/ 195532 w 9149450"/>
              <a:gd name="connsiteY4" fmla="*/ 5751 h 494581"/>
              <a:gd name="connsiteX5" fmla="*/ 276045 w 9149450"/>
              <a:gd name="connsiteY5" fmla="*/ 0 h 494581"/>
              <a:gd name="connsiteX6" fmla="*/ 557841 w 9149450"/>
              <a:gd name="connsiteY6" fmla="*/ 5751 h 494581"/>
              <a:gd name="connsiteX7" fmla="*/ 655607 w 9149450"/>
              <a:gd name="connsiteY7" fmla="*/ 23004 h 494581"/>
              <a:gd name="connsiteX8" fmla="*/ 701615 w 9149450"/>
              <a:gd name="connsiteY8" fmla="*/ 28755 h 494581"/>
              <a:gd name="connsiteX9" fmla="*/ 730370 w 9149450"/>
              <a:gd name="connsiteY9" fmla="*/ 34506 h 494581"/>
              <a:gd name="connsiteX10" fmla="*/ 793630 w 9149450"/>
              <a:gd name="connsiteY10" fmla="*/ 46007 h 494581"/>
              <a:gd name="connsiteX11" fmla="*/ 879894 w 9149450"/>
              <a:gd name="connsiteY11" fmla="*/ 63260 h 494581"/>
              <a:gd name="connsiteX12" fmla="*/ 966158 w 9149450"/>
              <a:gd name="connsiteY12" fmla="*/ 86264 h 494581"/>
              <a:gd name="connsiteX13" fmla="*/ 1017917 w 9149450"/>
              <a:gd name="connsiteY13" fmla="*/ 92015 h 494581"/>
              <a:gd name="connsiteX14" fmla="*/ 1035170 w 9149450"/>
              <a:gd name="connsiteY14" fmla="*/ 97766 h 494581"/>
              <a:gd name="connsiteX15" fmla="*/ 1104181 w 9149450"/>
              <a:gd name="connsiteY15" fmla="*/ 109268 h 494581"/>
              <a:gd name="connsiteX16" fmla="*/ 1184694 w 9149450"/>
              <a:gd name="connsiteY16" fmla="*/ 126521 h 494581"/>
              <a:gd name="connsiteX17" fmla="*/ 1288211 w 9149450"/>
              <a:gd name="connsiteY17" fmla="*/ 143774 h 494581"/>
              <a:gd name="connsiteX18" fmla="*/ 1351472 w 9149450"/>
              <a:gd name="connsiteY18" fmla="*/ 161026 h 494581"/>
              <a:gd name="connsiteX19" fmla="*/ 1391728 w 9149450"/>
              <a:gd name="connsiteY19" fmla="*/ 166777 h 494581"/>
              <a:gd name="connsiteX20" fmla="*/ 1483743 w 9149450"/>
              <a:gd name="connsiteY20" fmla="*/ 189781 h 494581"/>
              <a:gd name="connsiteX21" fmla="*/ 1529751 w 9149450"/>
              <a:gd name="connsiteY21" fmla="*/ 201283 h 494581"/>
              <a:gd name="connsiteX22" fmla="*/ 1616015 w 9149450"/>
              <a:gd name="connsiteY22" fmla="*/ 212785 h 494581"/>
              <a:gd name="connsiteX23" fmla="*/ 1685026 w 9149450"/>
              <a:gd name="connsiteY23" fmla="*/ 230038 h 494581"/>
              <a:gd name="connsiteX24" fmla="*/ 1708030 w 9149450"/>
              <a:gd name="connsiteY24" fmla="*/ 235789 h 494581"/>
              <a:gd name="connsiteX25" fmla="*/ 1754038 w 9149450"/>
              <a:gd name="connsiteY25" fmla="*/ 241540 h 494581"/>
              <a:gd name="connsiteX26" fmla="*/ 1777041 w 9149450"/>
              <a:gd name="connsiteY26" fmla="*/ 247290 h 494581"/>
              <a:gd name="connsiteX27" fmla="*/ 1863306 w 9149450"/>
              <a:gd name="connsiteY27" fmla="*/ 258792 h 494581"/>
              <a:gd name="connsiteX28" fmla="*/ 1955321 w 9149450"/>
              <a:gd name="connsiteY28" fmla="*/ 270294 h 494581"/>
              <a:gd name="connsiteX29" fmla="*/ 2007079 w 9149450"/>
              <a:gd name="connsiteY29" fmla="*/ 276045 h 494581"/>
              <a:gd name="connsiteX30" fmla="*/ 2041585 w 9149450"/>
              <a:gd name="connsiteY30" fmla="*/ 281796 h 494581"/>
              <a:gd name="connsiteX31" fmla="*/ 2231366 w 9149450"/>
              <a:gd name="connsiteY31" fmla="*/ 293298 h 494581"/>
              <a:gd name="connsiteX32" fmla="*/ 2461404 w 9149450"/>
              <a:gd name="connsiteY32" fmla="*/ 287547 h 494581"/>
              <a:gd name="connsiteX33" fmla="*/ 2490158 w 9149450"/>
              <a:gd name="connsiteY33" fmla="*/ 281796 h 494581"/>
              <a:gd name="connsiteX34" fmla="*/ 2553419 w 9149450"/>
              <a:gd name="connsiteY34" fmla="*/ 276045 h 494581"/>
              <a:gd name="connsiteX35" fmla="*/ 2582174 w 9149450"/>
              <a:gd name="connsiteY35" fmla="*/ 270294 h 494581"/>
              <a:gd name="connsiteX36" fmla="*/ 2628181 w 9149450"/>
              <a:gd name="connsiteY36" fmla="*/ 264543 h 494581"/>
              <a:gd name="connsiteX37" fmla="*/ 2651185 w 9149450"/>
              <a:gd name="connsiteY37" fmla="*/ 253041 h 494581"/>
              <a:gd name="connsiteX38" fmla="*/ 2674189 w 9149450"/>
              <a:gd name="connsiteY38" fmla="*/ 247290 h 494581"/>
              <a:gd name="connsiteX39" fmla="*/ 2691441 w 9149450"/>
              <a:gd name="connsiteY39" fmla="*/ 241540 h 494581"/>
              <a:gd name="connsiteX40" fmla="*/ 2737449 w 9149450"/>
              <a:gd name="connsiteY40" fmla="*/ 230038 h 494581"/>
              <a:gd name="connsiteX41" fmla="*/ 2760453 w 9149450"/>
              <a:gd name="connsiteY41" fmla="*/ 224287 h 494581"/>
              <a:gd name="connsiteX42" fmla="*/ 2789207 w 9149450"/>
              <a:gd name="connsiteY42" fmla="*/ 207034 h 494581"/>
              <a:gd name="connsiteX43" fmla="*/ 2823713 w 9149450"/>
              <a:gd name="connsiteY43" fmla="*/ 195532 h 494581"/>
              <a:gd name="connsiteX44" fmla="*/ 2840966 w 9149450"/>
              <a:gd name="connsiteY44" fmla="*/ 189781 h 494581"/>
              <a:gd name="connsiteX45" fmla="*/ 2904226 w 9149450"/>
              <a:gd name="connsiteY45" fmla="*/ 172528 h 494581"/>
              <a:gd name="connsiteX46" fmla="*/ 2955985 w 9149450"/>
              <a:gd name="connsiteY46" fmla="*/ 149524 h 494581"/>
              <a:gd name="connsiteX47" fmla="*/ 2973238 w 9149450"/>
              <a:gd name="connsiteY47" fmla="*/ 143774 h 494581"/>
              <a:gd name="connsiteX48" fmla="*/ 2996241 w 9149450"/>
              <a:gd name="connsiteY48" fmla="*/ 132272 h 494581"/>
              <a:gd name="connsiteX49" fmla="*/ 3013494 w 9149450"/>
              <a:gd name="connsiteY49" fmla="*/ 126521 h 494581"/>
              <a:gd name="connsiteX50" fmla="*/ 3036498 w 9149450"/>
              <a:gd name="connsiteY50" fmla="*/ 115019 h 494581"/>
              <a:gd name="connsiteX51" fmla="*/ 3071004 w 9149450"/>
              <a:gd name="connsiteY51" fmla="*/ 109268 h 494581"/>
              <a:gd name="connsiteX52" fmla="*/ 3105509 w 9149450"/>
              <a:gd name="connsiteY52" fmla="*/ 97766 h 494581"/>
              <a:gd name="connsiteX53" fmla="*/ 3140015 w 9149450"/>
              <a:gd name="connsiteY53" fmla="*/ 92015 h 494581"/>
              <a:gd name="connsiteX54" fmla="*/ 3163019 w 9149450"/>
              <a:gd name="connsiteY54" fmla="*/ 86264 h 494581"/>
              <a:gd name="connsiteX55" fmla="*/ 3370053 w 9149450"/>
              <a:gd name="connsiteY55" fmla="*/ 80513 h 494581"/>
              <a:gd name="connsiteX56" fmla="*/ 3554083 w 9149450"/>
              <a:gd name="connsiteY56" fmla="*/ 86264 h 494581"/>
              <a:gd name="connsiteX57" fmla="*/ 3588589 w 9149450"/>
              <a:gd name="connsiteY57" fmla="*/ 103517 h 494581"/>
              <a:gd name="connsiteX58" fmla="*/ 3628845 w 9149450"/>
              <a:gd name="connsiteY58" fmla="*/ 115019 h 494581"/>
              <a:gd name="connsiteX59" fmla="*/ 3651849 w 9149450"/>
              <a:gd name="connsiteY59" fmla="*/ 126521 h 494581"/>
              <a:gd name="connsiteX60" fmla="*/ 3674853 w 9149450"/>
              <a:gd name="connsiteY60" fmla="*/ 132272 h 494581"/>
              <a:gd name="connsiteX61" fmla="*/ 3709358 w 9149450"/>
              <a:gd name="connsiteY61" fmla="*/ 143774 h 494581"/>
              <a:gd name="connsiteX62" fmla="*/ 3726611 w 9149450"/>
              <a:gd name="connsiteY62" fmla="*/ 149524 h 494581"/>
              <a:gd name="connsiteX63" fmla="*/ 3778370 w 9149450"/>
              <a:gd name="connsiteY63" fmla="*/ 155275 h 494581"/>
              <a:gd name="connsiteX64" fmla="*/ 3841630 w 9149450"/>
              <a:gd name="connsiteY64" fmla="*/ 166777 h 494581"/>
              <a:gd name="connsiteX65" fmla="*/ 3904891 w 9149450"/>
              <a:gd name="connsiteY65" fmla="*/ 172528 h 494581"/>
              <a:gd name="connsiteX66" fmla="*/ 3973902 w 9149450"/>
              <a:gd name="connsiteY66" fmla="*/ 184030 h 494581"/>
              <a:gd name="connsiteX67" fmla="*/ 4037162 w 9149450"/>
              <a:gd name="connsiteY67" fmla="*/ 189781 h 494581"/>
              <a:gd name="connsiteX68" fmla="*/ 4100423 w 9149450"/>
              <a:gd name="connsiteY68" fmla="*/ 207034 h 494581"/>
              <a:gd name="connsiteX69" fmla="*/ 4140679 w 9149450"/>
              <a:gd name="connsiteY69" fmla="*/ 218536 h 494581"/>
              <a:gd name="connsiteX70" fmla="*/ 4163683 w 9149450"/>
              <a:gd name="connsiteY70" fmla="*/ 230038 h 494581"/>
              <a:gd name="connsiteX71" fmla="*/ 4198189 w 9149450"/>
              <a:gd name="connsiteY71" fmla="*/ 235789 h 494581"/>
              <a:gd name="connsiteX72" fmla="*/ 4226943 w 9149450"/>
              <a:gd name="connsiteY72" fmla="*/ 241540 h 494581"/>
              <a:gd name="connsiteX73" fmla="*/ 4249947 w 9149450"/>
              <a:gd name="connsiteY73" fmla="*/ 247290 h 494581"/>
              <a:gd name="connsiteX74" fmla="*/ 4428226 w 9149450"/>
              <a:gd name="connsiteY74" fmla="*/ 253041 h 494581"/>
              <a:gd name="connsiteX75" fmla="*/ 4497238 w 9149450"/>
              <a:gd name="connsiteY75" fmla="*/ 258792 h 494581"/>
              <a:gd name="connsiteX76" fmla="*/ 4520241 w 9149450"/>
              <a:gd name="connsiteY76" fmla="*/ 270294 h 494581"/>
              <a:gd name="connsiteX77" fmla="*/ 4572000 w 9149450"/>
              <a:gd name="connsiteY77" fmla="*/ 293298 h 494581"/>
              <a:gd name="connsiteX78" fmla="*/ 4623758 w 9149450"/>
              <a:gd name="connsiteY78" fmla="*/ 316302 h 494581"/>
              <a:gd name="connsiteX79" fmla="*/ 4675517 w 9149450"/>
              <a:gd name="connsiteY79" fmla="*/ 339306 h 494581"/>
              <a:gd name="connsiteX80" fmla="*/ 4698521 w 9149450"/>
              <a:gd name="connsiteY80" fmla="*/ 350807 h 494581"/>
              <a:gd name="connsiteX81" fmla="*/ 4750279 w 9149450"/>
              <a:gd name="connsiteY81" fmla="*/ 368060 h 494581"/>
              <a:gd name="connsiteX82" fmla="*/ 4767532 w 9149450"/>
              <a:gd name="connsiteY82" fmla="*/ 373811 h 494581"/>
              <a:gd name="connsiteX83" fmla="*/ 4796287 w 9149450"/>
              <a:gd name="connsiteY83" fmla="*/ 391064 h 494581"/>
              <a:gd name="connsiteX84" fmla="*/ 4836543 w 9149450"/>
              <a:gd name="connsiteY84" fmla="*/ 402566 h 494581"/>
              <a:gd name="connsiteX85" fmla="*/ 4871049 w 9149450"/>
              <a:gd name="connsiteY85" fmla="*/ 414068 h 494581"/>
              <a:gd name="connsiteX86" fmla="*/ 4911306 w 9149450"/>
              <a:gd name="connsiteY86" fmla="*/ 419819 h 494581"/>
              <a:gd name="connsiteX87" fmla="*/ 5066581 w 9149450"/>
              <a:gd name="connsiteY87" fmla="*/ 431321 h 494581"/>
              <a:gd name="connsiteX88" fmla="*/ 5256362 w 9149450"/>
              <a:gd name="connsiteY88" fmla="*/ 442823 h 494581"/>
              <a:gd name="connsiteX89" fmla="*/ 5377132 w 9149450"/>
              <a:gd name="connsiteY89" fmla="*/ 454324 h 494581"/>
              <a:gd name="connsiteX90" fmla="*/ 5515155 w 9149450"/>
              <a:gd name="connsiteY90" fmla="*/ 465826 h 494581"/>
              <a:gd name="connsiteX91" fmla="*/ 5572664 w 9149450"/>
              <a:gd name="connsiteY91" fmla="*/ 471577 h 494581"/>
              <a:gd name="connsiteX92" fmla="*/ 5756694 w 9149450"/>
              <a:gd name="connsiteY92" fmla="*/ 483079 h 494581"/>
              <a:gd name="connsiteX93" fmla="*/ 5998234 w 9149450"/>
              <a:gd name="connsiteY93" fmla="*/ 494581 h 494581"/>
              <a:gd name="connsiteX94" fmla="*/ 6303034 w 9149450"/>
              <a:gd name="connsiteY94" fmla="*/ 488830 h 494581"/>
              <a:gd name="connsiteX95" fmla="*/ 6343291 w 9149450"/>
              <a:gd name="connsiteY95" fmla="*/ 477328 h 494581"/>
              <a:gd name="connsiteX96" fmla="*/ 6395049 w 9149450"/>
              <a:gd name="connsiteY96" fmla="*/ 465826 h 494581"/>
              <a:gd name="connsiteX97" fmla="*/ 6423804 w 9149450"/>
              <a:gd name="connsiteY97" fmla="*/ 460075 h 494581"/>
              <a:gd name="connsiteX98" fmla="*/ 6452558 w 9149450"/>
              <a:gd name="connsiteY98" fmla="*/ 448574 h 494581"/>
              <a:gd name="connsiteX99" fmla="*/ 6515819 w 9149450"/>
              <a:gd name="connsiteY99" fmla="*/ 437072 h 494581"/>
              <a:gd name="connsiteX100" fmla="*/ 6561826 w 9149450"/>
              <a:gd name="connsiteY100" fmla="*/ 425570 h 494581"/>
              <a:gd name="connsiteX101" fmla="*/ 6625087 w 9149450"/>
              <a:gd name="connsiteY101" fmla="*/ 408317 h 494581"/>
              <a:gd name="connsiteX102" fmla="*/ 6642340 w 9149450"/>
              <a:gd name="connsiteY102" fmla="*/ 396815 h 494581"/>
              <a:gd name="connsiteX103" fmla="*/ 6682596 w 9149450"/>
              <a:gd name="connsiteY103" fmla="*/ 385313 h 494581"/>
              <a:gd name="connsiteX104" fmla="*/ 6745857 w 9149450"/>
              <a:gd name="connsiteY104" fmla="*/ 362309 h 494581"/>
              <a:gd name="connsiteX105" fmla="*/ 6780362 w 9149450"/>
              <a:gd name="connsiteY105" fmla="*/ 350807 h 494581"/>
              <a:gd name="connsiteX106" fmla="*/ 6803366 w 9149450"/>
              <a:gd name="connsiteY106" fmla="*/ 339306 h 494581"/>
              <a:gd name="connsiteX107" fmla="*/ 6849374 w 9149450"/>
              <a:gd name="connsiteY107" fmla="*/ 333555 h 494581"/>
              <a:gd name="connsiteX108" fmla="*/ 6901132 w 9149450"/>
              <a:gd name="connsiteY108" fmla="*/ 322053 h 494581"/>
              <a:gd name="connsiteX109" fmla="*/ 6929887 w 9149450"/>
              <a:gd name="connsiteY109" fmla="*/ 316302 h 494581"/>
              <a:gd name="connsiteX110" fmla="*/ 6964392 w 9149450"/>
              <a:gd name="connsiteY110" fmla="*/ 310551 h 494581"/>
              <a:gd name="connsiteX111" fmla="*/ 7119668 w 9149450"/>
              <a:gd name="connsiteY111" fmla="*/ 304800 h 494581"/>
              <a:gd name="connsiteX112" fmla="*/ 7919049 w 9149450"/>
              <a:gd name="connsiteY112" fmla="*/ 299049 h 494581"/>
              <a:gd name="connsiteX113" fmla="*/ 7976558 w 9149450"/>
              <a:gd name="connsiteY113" fmla="*/ 293298 h 494581"/>
              <a:gd name="connsiteX114" fmla="*/ 8114581 w 9149450"/>
              <a:gd name="connsiteY114" fmla="*/ 264543 h 494581"/>
              <a:gd name="connsiteX115" fmla="*/ 8137585 w 9149450"/>
              <a:gd name="connsiteY115" fmla="*/ 258792 h 494581"/>
              <a:gd name="connsiteX116" fmla="*/ 8160589 w 9149450"/>
              <a:gd name="connsiteY116" fmla="*/ 247290 h 494581"/>
              <a:gd name="connsiteX117" fmla="*/ 8183592 w 9149450"/>
              <a:gd name="connsiteY117" fmla="*/ 241540 h 494581"/>
              <a:gd name="connsiteX118" fmla="*/ 8218098 w 9149450"/>
              <a:gd name="connsiteY118" fmla="*/ 230038 h 494581"/>
              <a:gd name="connsiteX119" fmla="*/ 8235351 w 9149450"/>
              <a:gd name="connsiteY119" fmla="*/ 224287 h 494581"/>
              <a:gd name="connsiteX120" fmla="*/ 8258355 w 9149450"/>
              <a:gd name="connsiteY120" fmla="*/ 218536 h 494581"/>
              <a:gd name="connsiteX121" fmla="*/ 8287109 w 9149450"/>
              <a:gd name="connsiteY121" fmla="*/ 201283 h 494581"/>
              <a:gd name="connsiteX122" fmla="*/ 8321615 w 9149450"/>
              <a:gd name="connsiteY122" fmla="*/ 189781 h 494581"/>
              <a:gd name="connsiteX123" fmla="*/ 8361872 w 9149450"/>
              <a:gd name="connsiteY123" fmla="*/ 172528 h 494581"/>
              <a:gd name="connsiteX124" fmla="*/ 8384875 w 9149450"/>
              <a:gd name="connsiteY124" fmla="*/ 161026 h 494581"/>
              <a:gd name="connsiteX125" fmla="*/ 8402128 w 9149450"/>
              <a:gd name="connsiteY125" fmla="*/ 155275 h 494581"/>
              <a:gd name="connsiteX126" fmla="*/ 8430883 w 9149450"/>
              <a:gd name="connsiteY126" fmla="*/ 143774 h 494581"/>
              <a:gd name="connsiteX127" fmla="*/ 8476891 w 9149450"/>
              <a:gd name="connsiteY127" fmla="*/ 120770 h 494581"/>
              <a:gd name="connsiteX128" fmla="*/ 8505645 w 9149450"/>
              <a:gd name="connsiteY128" fmla="*/ 115019 h 494581"/>
              <a:gd name="connsiteX129" fmla="*/ 8522898 w 9149450"/>
              <a:gd name="connsiteY129" fmla="*/ 109268 h 494581"/>
              <a:gd name="connsiteX130" fmla="*/ 8545902 w 9149450"/>
              <a:gd name="connsiteY130" fmla="*/ 103517 h 494581"/>
              <a:gd name="connsiteX131" fmla="*/ 8563155 w 9149450"/>
              <a:gd name="connsiteY131" fmla="*/ 92015 h 494581"/>
              <a:gd name="connsiteX132" fmla="*/ 8591909 w 9149450"/>
              <a:gd name="connsiteY132" fmla="*/ 86264 h 494581"/>
              <a:gd name="connsiteX133" fmla="*/ 8637917 w 9149450"/>
              <a:gd name="connsiteY133" fmla="*/ 74762 h 494581"/>
              <a:gd name="connsiteX134" fmla="*/ 8666672 w 9149450"/>
              <a:gd name="connsiteY134" fmla="*/ 69011 h 494581"/>
              <a:gd name="connsiteX135" fmla="*/ 8729932 w 9149450"/>
              <a:gd name="connsiteY135" fmla="*/ 51758 h 494581"/>
              <a:gd name="connsiteX136" fmla="*/ 8793192 w 9149450"/>
              <a:gd name="connsiteY136" fmla="*/ 46007 h 494581"/>
              <a:gd name="connsiteX137" fmla="*/ 8862204 w 9149450"/>
              <a:gd name="connsiteY137" fmla="*/ 51758 h 494581"/>
              <a:gd name="connsiteX138" fmla="*/ 8959970 w 9149450"/>
              <a:gd name="connsiteY138" fmla="*/ 40257 h 494581"/>
              <a:gd name="connsiteX139" fmla="*/ 9023230 w 9149450"/>
              <a:gd name="connsiteY139" fmla="*/ 23004 h 494581"/>
              <a:gd name="connsiteX140" fmla="*/ 9092241 w 9149450"/>
              <a:gd name="connsiteY140" fmla="*/ 17253 h 494581"/>
              <a:gd name="connsiteX141" fmla="*/ 9138249 w 9149450"/>
              <a:gd name="connsiteY141" fmla="*/ 11502 h 494581"/>
              <a:gd name="connsiteX0" fmla="*/ 0 w 9149450"/>
              <a:gd name="connsiteY0" fmla="*/ 46007 h 1282460"/>
              <a:gd name="connsiteX1" fmla="*/ 46007 w 9149450"/>
              <a:gd name="connsiteY1" fmla="*/ 40257 h 1282460"/>
              <a:gd name="connsiteX2" fmla="*/ 74762 w 9149450"/>
              <a:gd name="connsiteY2" fmla="*/ 28755 h 1282460"/>
              <a:gd name="connsiteX3" fmla="*/ 143774 w 9149450"/>
              <a:gd name="connsiteY3" fmla="*/ 17253 h 1282460"/>
              <a:gd name="connsiteX4" fmla="*/ 195532 w 9149450"/>
              <a:gd name="connsiteY4" fmla="*/ 5751 h 1282460"/>
              <a:gd name="connsiteX5" fmla="*/ 276045 w 9149450"/>
              <a:gd name="connsiteY5" fmla="*/ 0 h 1282460"/>
              <a:gd name="connsiteX6" fmla="*/ 557841 w 9149450"/>
              <a:gd name="connsiteY6" fmla="*/ 5751 h 1282460"/>
              <a:gd name="connsiteX7" fmla="*/ 655607 w 9149450"/>
              <a:gd name="connsiteY7" fmla="*/ 23004 h 1282460"/>
              <a:gd name="connsiteX8" fmla="*/ 701615 w 9149450"/>
              <a:gd name="connsiteY8" fmla="*/ 28755 h 1282460"/>
              <a:gd name="connsiteX9" fmla="*/ 730370 w 9149450"/>
              <a:gd name="connsiteY9" fmla="*/ 34506 h 1282460"/>
              <a:gd name="connsiteX10" fmla="*/ 793630 w 9149450"/>
              <a:gd name="connsiteY10" fmla="*/ 46007 h 1282460"/>
              <a:gd name="connsiteX11" fmla="*/ 879894 w 9149450"/>
              <a:gd name="connsiteY11" fmla="*/ 63260 h 1282460"/>
              <a:gd name="connsiteX12" fmla="*/ 966158 w 9149450"/>
              <a:gd name="connsiteY12" fmla="*/ 86264 h 1282460"/>
              <a:gd name="connsiteX13" fmla="*/ 1017917 w 9149450"/>
              <a:gd name="connsiteY13" fmla="*/ 92015 h 1282460"/>
              <a:gd name="connsiteX14" fmla="*/ 1035170 w 9149450"/>
              <a:gd name="connsiteY14" fmla="*/ 97766 h 1282460"/>
              <a:gd name="connsiteX15" fmla="*/ 1104181 w 9149450"/>
              <a:gd name="connsiteY15" fmla="*/ 109268 h 1282460"/>
              <a:gd name="connsiteX16" fmla="*/ 1184694 w 9149450"/>
              <a:gd name="connsiteY16" fmla="*/ 126521 h 1282460"/>
              <a:gd name="connsiteX17" fmla="*/ 1288211 w 9149450"/>
              <a:gd name="connsiteY17" fmla="*/ 143774 h 1282460"/>
              <a:gd name="connsiteX18" fmla="*/ 1351472 w 9149450"/>
              <a:gd name="connsiteY18" fmla="*/ 161026 h 1282460"/>
              <a:gd name="connsiteX19" fmla="*/ 1391728 w 9149450"/>
              <a:gd name="connsiteY19" fmla="*/ 166777 h 1282460"/>
              <a:gd name="connsiteX20" fmla="*/ 1483743 w 9149450"/>
              <a:gd name="connsiteY20" fmla="*/ 189781 h 1282460"/>
              <a:gd name="connsiteX21" fmla="*/ 1529751 w 9149450"/>
              <a:gd name="connsiteY21" fmla="*/ 201283 h 1282460"/>
              <a:gd name="connsiteX22" fmla="*/ 1616015 w 9149450"/>
              <a:gd name="connsiteY22" fmla="*/ 212785 h 1282460"/>
              <a:gd name="connsiteX23" fmla="*/ 1685026 w 9149450"/>
              <a:gd name="connsiteY23" fmla="*/ 230038 h 1282460"/>
              <a:gd name="connsiteX24" fmla="*/ 1708030 w 9149450"/>
              <a:gd name="connsiteY24" fmla="*/ 235789 h 1282460"/>
              <a:gd name="connsiteX25" fmla="*/ 1754038 w 9149450"/>
              <a:gd name="connsiteY25" fmla="*/ 241540 h 1282460"/>
              <a:gd name="connsiteX26" fmla="*/ 1777041 w 9149450"/>
              <a:gd name="connsiteY26" fmla="*/ 247290 h 1282460"/>
              <a:gd name="connsiteX27" fmla="*/ 1863306 w 9149450"/>
              <a:gd name="connsiteY27" fmla="*/ 258792 h 1282460"/>
              <a:gd name="connsiteX28" fmla="*/ 1955321 w 9149450"/>
              <a:gd name="connsiteY28" fmla="*/ 270294 h 1282460"/>
              <a:gd name="connsiteX29" fmla="*/ 2007079 w 9149450"/>
              <a:gd name="connsiteY29" fmla="*/ 276045 h 1282460"/>
              <a:gd name="connsiteX30" fmla="*/ 2041585 w 9149450"/>
              <a:gd name="connsiteY30" fmla="*/ 281796 h 1282460"/>
              <a:gd name="connsiteX31" fmla="*/ 2231366 w 9149450"/>
              <a:gd name="connsiteY31" fmla="*/ 293298 h 1282460"/>
              <a:gd name="connsiteX32" fmla="*/ 2461404 w 9149450"/>
              <a:gd name="connsiteY32" fmla="*/ 287547 h 1282460"/>
              <a:gd name="connsiteX33" fmla="*/ 2490158 w 9149450"/>
              <a:gd name="connsiteY33" fmla="*/ 281796 h 1282460"/>
              <a:gd name="connsiteX34" fmla="*/ 2553419 w 9149450"/>
              <a:gd name="connsiteY34" fmla="*/ 276045 h 1282460"/>
              <a:gd name="connsiteX35" fmla="*/ 2582174 w 9149450"/>
              <a:gd name="connsiteY35" fmla="*/ 270294 h 1282460"/>
              <a:gd name="connsiteX36" fmla="*/ 2628181 w 9149450"/>
              <a:gd name="connsiteY36" fmla="*/ 264543 h 1282460"/>
              <a:gd name="connsiteX37" fmla="*/ 2651185 w 9149450"/>
              <a:gd name="connsiteY37" fmla="*/ 253041 h 1282460"/>
              <a:gd name="connsiteX38" fmla="*/ 2674189 w 9149450"/>
              <a:gd name="connsiteY38" fmla="*/ 247290 h 1282460"/>
              <a:gd name="connsiteX39" fmla="*/ 2691441 w 9149450"/>
              <a:gd name="connsiteY39" fmla="*/ 241540 h 1282460"/>
              <a:gd name="connsiteX40" fmla="*/ 2737449 w 9149450"/>
              <a:gd name="connsiteY40" fmla="*/ 230038 h 1282460"/>
              <a:gd name="connsiteX41" fmla="*/ 2760453 w 9149450"/>
              <a:gd name="connsiteY41" fmla="*/ 224287 h 1282460"/>
              <a:gd name="connsiteX42" fmla="*/ 2789207 w 9149450"/>
              <a:gd name="connsiteY42" fmla="*/ 207034 h 1282460"/>
              <a:gd name="connsiteX43" fmla="*/ 2823713 w 9149450"/>
              <a:gd name="connsiteY43" fmla="*/ 195532 h 1282460"/>
              <a:gd name="connsiteX44" fmla="*/ 2840966 w 9149450"/>
              <a:gd name="connsiteY44" fmla="*/ 189781 h 1282460"/>
              <a:gd name="connsiteX45" fmla="*/ 2904226 w 9149450"/>
              <a:gd name="connsiteY45" fmla="*/ 172528 h 1282460"/>
              <a:gd name="connsiteX46" fmla="*/ 2955985 w 9149450"/>
              <a:gd name="connsiteY46" fmla="*/ 149524 h 1282460"/>
              <a:gd name="connsiteX47" fmla="*/ 2973238 w 9149450"/>
              <a:gd name="connsiteY47" fmla="*/ 143774 h 1282460"/>
              <a:gd name="connsiteX48" fmla="*/ 2996241 w 9149450"/>
              <a:gd name="connsiteY48" fmla="*/ 132272 h 1282460"/>
              <a:gd name="connsiteX49" fmla="*/ 3013494 w 9149450"/>
              <a:gd name="connsiteY49" fmla="*/ 126521 h 1282460"/>
              <a:gd name="connsiteX50" fmla="*/ 3036498 w 9149450"/>
              <a:gd name="connsiteY50" fmla="*/ 115019 h 1282460"/>
              <a:gd name="connsiteX51" fmla="*/ 3071004 w 9149450"/>
              <a:gd name="connsiteY51" fmla="*/ 109268 h 1282460"/>
              <a:gd name="connsiteX52" fmla="*/ 3105509 w 9149450"/>
              <a:gd name="connsiteY52" fmla="*/ 97766 h 1282460"/>
              <a:gd name="connsiteX53" fmla="*/ 3140015 w 9149450"/>
              <a:gd name="connsiteY53" fmla="*/ 92015 h 1282460"/>
              <a:gd name="connsiteX54" fmla="*/ 3163019 w 9149450"/>
              <a:gd name="connsiteY54" fmla="*/ 86264 h 1282460"/>
              <a:gd name="connsiteX55" fmla="*/ 3370053 w 9149450"/>
              <a:gd name="connsiteY55" fmla="*/ 80513 h 1282460"/>
              <a:gd name="connsiteX56" fmla="*/ 3554083 w 9149450"/>
              <a:gd name="connsiteY56" fmla="*/ 86264 h 1282460"/>
              <a:gd name="connsiteX57" fmla="*/ 3588589 w 9149450"/>
              <a:gd name="connsiteY57" fmla="*/ 103517 h 1282460"/>
              <a:gd name="connsiteX58" fmla="*/ 3628845 w 9149450"/>
              <a:gd name="connsiteY58" fmla="*/ 115019 h 1282460"/>
              <a:gd name="connsiteX59" fmla="*/ 3651849 w 9149450"/>
              <a:gd name="connsiteY59" fmla="*/ 126521 h 1282460"/>
              <a:gd name="connsiteX60" fmla="*/ 3674853 w 9149450"/>
              <a:gd name="connsiteY60" fmla="*/ 132272 h 1282460"/>
              <a:gd name="connsiteX61" fmla="*/ 3709358 w 9149450"/>
              <a:gd name="connsiteY61" fmla="*/ 143774 h 1282460"/>
              <a:gd name="connsiteX62" fmla="*/ 3726611 w 9149450"/>
              <a:gd name="connsiteY62" fmla="*/ 149524 h 1282460"/>
              <a:gd name="connsiteX63" fmla="*/ 3778370 w 9149450"/>
              <a:gd name="connsiteY63" fmla="*/ 155275 h 1282460"/>
              <a:gd name="connsiteX64" fmla="*/ 3841630 w 9149450"/>
              <a:gd name="connsiteY64" fmla="*/ 166777 h 1282460"/>
              <a:gd name="connsiteX65" fmla="*/ 3904891 w 9149450"/>
              <a:gd name="connsiteY65" fmla="*/ 172528 h 1282460"/>
              <a:gd name="connsiteX66" fmla="*/ 3973902 w 9149450"/>
              <a:gd name="connsiteY66" fmla="*/ 184030 h 1282460"/>
              <a:gd name="connsiteX67" fmla="*/ 4037162 w 9149450"/>
              <a:gd name="connsiteY67" fmla="*/ 189781 h 1282460"/>
              <a:gd name="connsiteX68" fmla="*/ 4100423 w 9149450"/>
              <a:gd name="connsiteY68" fmla="*/ 207034 h 1282460"/>
              <a:gd name="connsiteX69" fmla="*/ 4140679 w 9149450"/>
              <a:gd name="connsiteY69" fmla="*/ 218536 h 1282460"/>
              <a:gd name="connsiteX70" fmla="*/ 4163683 w 9149450"/>
              <a:gd name="connsiteY70" fmla="*/ 230038 h 1282460"/>
              <a:gd name="connsiteX71" fmla="*/ 4198189 w 9149450"/>
              <a:gd name="connsiteY71" fmla="*/ 235789 h 1282460"/>
              <a:gd name="connsiteX72" fmla="*/ 4226943 w 9149450"/>
              <a:gd name="connsiteY72" fmla="*/ 241540 h 1282460"/>
              <a:gd name="connsiteX73" fmla="*/ 4249947 w 9149450"/>
              <a:gd name="connsiteY73" fmla="*/ 247290 h 1282460"/>
              <a:gd name="connsiteX74" fmla="*/ 4428226 w 9149450"/>
              <a:gd name="connsiteY74" fmla="*/ 253041 h 1282460"/>
              <a:gd name="connsiteX75" fmla="*/ 4497238 w 9149450"/>
              <a:gd name="connsiteY75" fmla="*/ 258792 h 1282460"/>
              <a:gd name="connsiteX76" fmla="*/ 4520241 w 9149450"/>
              <a:gd name="connsiteY76" fmla="*/ 270294 h 1282460"/>
              <a:gd name="connsiteX77" fmla="*/ 4572000 w 9149450"/>
              <a:gd name="connsiteY77" fmla="*/ 293298 h 1282460"/>
              <a:gd name="connsiteX78" fmla="*/ 4623758 w 9149450"/>
              <a:gd name="connsiteY78" fmla="*/ 316302 h 1282460"/>
              <a:gd name="connsiteX79" fmla="*/ 4675517 w 9149450"/>
              <a:gd name="connsiteY79" fmla="*/ 339306 h 1282460"/>
              <a:gd name="connsiteX80" fmla="*/ 4698521 w 9149450"/>
              <a:gd name="connsiteY80" fmla="*/ 350807 h 1282460"/>
              <a:gd name="connsiteX81" fmla="*/ 4750279 w 9149450"/>
              <a:gd name="connsiteY81" fmla="*/ 368060 h 1282460"/>
              <a:gd name="connsiteX82" fmla="*/ 4767532 w 9149450"/>
              <a:gd name="connsiteY82" fmla="*/ 373811 h 1282460"/>
              <a:gd name="connsiteX83" fmla="*/ 4796287 w 9149450"/>
              <a:gd name="connsiteY83" fmla="*/ 391064 h 1282460"/>
              <a:gd name="connsiteX84" fmla="*/ 4836543 w 9149450"/>
              <a:gd name="connsiteY84" fmla="*/ 402566 h 1282460"/>
              <a:gd name="connsiteX85" fmla="*/ 4871049 w 9149450"/>
              <a:gd name="connsiteY85" fmla="*/ 414068 h 1282460"/>
              <a:gd name="connsiteX86" fmla="*/ 4911306 w 9149450"/>
              <a:gd name="connsiteY86" fmla="*/ 419819 h 1282460"/>
              <a:gd name="connsiteX87" fmla="*/ 5066581 w 9149450"/>
              <a:gd name="connsiteY87" fmla="*/ 431321 h 1282460"/>
              <a:gd name="connsiteX88" fmla="*/ 5256362 w 9149450"/>
              <a:gd name="connsiteY88" fmla="*/ 442823 h 1282460"/>
              <a:gd name="connsiteX89" fmla="*/ 5377132 w 9149450"/>
              <a:gd name="connsiteY89" fmla="*/ 454324 h 1282460"/>
              <a:gd name="connsiteX90" fmla="*/ 5515155 w 9149450"/>
              <a:gd name="connsiteY90" fmla="*/ 465826 h 1282460"/>
              <a:gd name="connsiteX91" fmla="*/ 5572664 w 9149450"/>
              <a:gd name="connsiteY91" fmla="*/ 471577 h 1282460"/>
              <a:gd name="connsiteX92" fmla="*/ 5756694 w 9149450"/>
              <a:gd name="connsiteY92" fmla="*/ 483079 h 1282460"/>
              <a:gd name="connsiteX93" fmla="*/ 5998234 w 9149450"/>
              <a:gd name="connsiteY93" fmla="*/ 494581 h 1282460"/>
              <a:gd name="connsiteX94" fmla="*/ 6303034 w 9149450"/>
              <a:gd name="connsiteY94" fmla="*/ 488830 h 1282460"/>
              <a:gd name="connsiteX95" fmla="*/ 6343291 w 9149450"/>
              <a:gd name="connsiteY95" fmla="*/ 477328 h 1282460"/>
              <a:gd name="connsiteX96" fmla="*/ 6395049 w 9149450"/>
              <a:gd name="connsiteY96" fmla="*/ 465826 h 1282460"/>
              <a:gd name="connsiteX97" fmla="*/ 6423804 w 9149450"/>
              <a:gd name="connsiteY97" fmla="*/ 460075 h 1282460"/>
              <a:gd name="connsiteX98" fmla="*/ 6452558 w 9149450"/>
              <a:gd name="connsiteY98" fmla="*/ 448574 h 1282460"/>
              <a:gd name="connsiteX99" fmla="*/ 6515819 w 9149450"/>
              <a:gd name="connsiteY99" fmla="*/ 437072 h 1282460"/>
              <a:gd name="connsiteX100" fmla="*/ 6561826 w 9149450"/>
              <a:gd name="connsiteY100" fmla="*/ 425570 h 1282460"/>
              <a:gd name="connsiteX101" fmla="*/ 6625087 w 9149450"/>
              <a:gd name="connsiteY101" fmla="*/ 408317 h 1282460"/>
              <a:gd name="connsiteX102" fmla="*/ 6642340 w 9149450"/>
              <a:gd name="connsiteY102" fmla="*/ 396815 h 1282460"/>
              <a:gd name="connsiteX103" fmla="*/ 6682596 w 9149450"/>
              <a:gd name="connsiteY103" fmla="*/ 385313 h 1282460"/>
              <a:gd name="connsiteX104" fmla="*/ 6745857 w 9149450"/>
              <a:gd name="connsiteY104" fmla="*/ 362309 h 1282460"/>
              <a:gd name="connsiteX105" fmla="*/ 6780362 w 9149450"/>
              <a:gd name="connsiteY105" fmla="*/ 350807 h 1282460"/>
              <a:gd name="connsiteX106" fmla="*/ 6803366 w 9149450"/>
              <a:gd name="connsiteY106" fmla="*/ 339306 h 1282460"/>
              <a:gd name="connsiteX107" fmla="*/ 6849374 w 9149450"/>
              <a:gd name="connsiteY107" fmla="*/ 333555 h 1282460"/>
              <a:gd name="connsiteX108" fmla="*/ 6901132 w 9149450"/>
              <a:gd name="connsiteY108" fmla="*/ 322053 h 1282460"/>
              <a:gd name="connsiteX109" fmla="*/ 6929887 w 9149450"/>
              <a:gd name="connsiteY109" fmla="*/ 316302 h 1282460"/>
              <a:gd name="connsiteX110" fmla="*/ 6964392 w 9149450"/>
              <a:gd name="connsiteY110" fmla="*/ 310551 h 1282460"/>
              <a:gd name="connsiteX111" fmla="*/ 7119668 w 9149450"/>
              <a:gd name="connsiteY111" fmla="*/ 304800 h 1282460"/>
              <a:gd name="connsiteX112" fmla="*/ 7919049 w 9149450"/>
              <a:gd name="connsiteY112" fmla="*/ 299049 h 1282460"/>
              <a:gd name="connsiteX113" fmla="*/ 7976558 w 9149450"/>
              <a:gd name="connsiteY113" fmla="*/ 293298 h 1282460"/>
              <a:gd name="connsiteX114" fmla="*/ 8114581 w 9149450"/>
              <a:gd name="connsiteY114" fmla="*/ 264543 h 1282460"/>
              <a:gd name="connsiteX115" fmla="*/ 8137585 w 9149450"/>
              <a:gd name="connsiteY115" fmla="*/ 258792 h 1282460"/>
              <a:gd name="connsiteX116" fmla="*/ 8160589 w 9149450"/>
              <a:gd name="connsiteY116" fmla="*/ 247290 h 1282460"/>
              <a:gd name="connsiteX117" fmla="*/ 8183592 w 9149450"/>
              <a:gd name="connsiteY117" fmla="*/ 241540 h 1282460"/>
              <a:gd name="connsiteX118" fmla="*/ 8218098 w 9149450"/>
              <a:gd name="connsiteY118" fmla="*/ 230038 h 1282460"/>
              <a:gd name="connsiteX119" fmla="*/ 8235351 w 9149450"/>
              <a:gd name="connsiteY119" fmla="*/ 224287 h 1282460"/>
              <a:gd name="connsiteX120" fmla="*/ 8258355 w 9149450"/>
              <a:gd name="connsiteY120" fmla="*/ 218536 h 1282460"/>
              <a:gd name="connsiteX121" fmla="*/ 8287109 w 9149450"/>
              <a:gd name="connsiteY121" fmla="*/ 201283 h 1282460"/>
              <a:gd name="connsiteX122" fmla="*/ 8321615 w 9149450"/>
              <a:gd name="connsiteY122" fmla="*/ 189781 h 1282460"/>
              <a:gd name="connsiteX123" fmla="*/ 8361872 w 9149450"/>
              <a:gd name="connsiteY123" fmla="*/ 172528 h 1282460"/>
              <a:gd name="connsiteX124" fmla="*/ 8384875 w 9149450"/>
              <a:gd name="connsiteY124" fmla="*/ 161026 h 1282460"/>
              <a:gd name="connsiteX125" fmla="*/ 8402128 w 9149450"/>
              <a:gd name="connsiteY125" fmla="*/ 155275 h 1282460"/>
              <a:gd name="connsiteX126" fmla="*/ 8430883 w 9149450"/>
              <a:gd name="connsiteY126" fmla="*/ 143774 h 1282460"/>
              <a:gd name="connsiteX127" fmla="*/ 8476891 w 9149450"/>
              <a:gd name="connsiteY127" fmla="*/ 120770 h 1282460"/>
              <a:gd name="connsiteX128" fmla="*/ 8505645 w 9149450"/>
              <a:gd name="connsiteY128" fmla="*/ 115019 h 1282460"/>
              <a:gd name="connsiteX129" fmla="*/ 8522898 w 9149450"/>
              <a:gd name="connsiteY129" fmla="*/ 109268 h 1282460"/>
              <a:gd name="connsiteX130" fmla="*/ 8545902 w 9149450"/>
              <a:gd name="connsiteY130" fmla="*/ 103517 h 1282460"/>
              <a:gd name="connsiteX131" fmla="*/ 8563155 w 9149450"/>
              <a:gd name="connsiteY131" fmla="*/ 92015 h 1282460"/>
              <a:gd name="connsiteX132" fmla="*/ 8591909 w 9149450"/>
              <a:gd name="connsiteY132" fmla="*/ 86264 h 1282460"/>
              <a:gd name="connsiteX133" fmla="*/ 8637917 w 9149450"/>
              <a:gd name="connsiteY133" fmla="*/ 74762 h 1282460"/>
              <a:gd name="connsiteX134" fmla="*/ 8666672 w 9149450"/>
              <a:gd name="connsiteY134" fmla="*/ 69011 h 1282460"/>
              <a:gd name="connsiteX135" fmla="*/ 8729932 w 9149450"/>
              <a:gd name="connsiteY135" fmla="*/ 51758 h 1282460"/>
              <a:gd name="connsiteX136" fmla="*/ 8793192 w 9149450"/>
              <a:gd name="connsiteY136" fmla="*/ 46007 h 1282460"/>
              <a:gd name="connsiteX137" fmla="*/ 8862204 w 9149450"/>
              <a:gd name="connsiteY137" fmla="*/ 51758 h 1282460"/>
              <a:gd name="connsiteX138" fmla="*/ 8959970 w 9149450"/>
              <a:gd name="connsiteY138" fmla="*/ 40257 h 1282460"/>
              <a:gd name="connsiteX139" fmla="*/ 9023230 w 9149450"/>
              <a:gd name="connsiteY139" fmla="*/ 23004 h 1282460"/>
              <a:gd name="connsiteX140" fmla="*/ 9092241 w 9149450"/>
              <a:gd name="connsiteY140" fmla="*/ 17253 h 1282460"/>
              <a:gd name="connsiteX141" fmla="*/ 9138249 w 9149450"/>
              <a:gd name="connsiteY141" fmla="*/ 1282460 h 1282460"/>
              <a:gd name="connsiteX0" fmla="*/ 0 w 9195458"/>
              <a:gd name="connsiteY0" fmla="*/ 46007 h 1282460"/>
              <a:gd name="connsiteX1" fmla="*/ 46007 w 9195458"/>
              <a:gd name="connsiteY1" fmla="*/ 40257 h 1282460"/>
              <a:gd name="connsiteX2" fmla="*/ 74762 w 9195458"/>
              <a:gd name="connsiteY2" fmla="*/ 28755 h 1282460"/>
              <a:gd name="connsiteX3" fmla="*/ 143774 w 9195458"/>
              <a:gd name="connsiteY3" fmla="*/ 17253 h 1282460"/>
              <a:gd name="connsiteX4" fmla="*/ 195532 w 9195458"/>
              <a:gd name="connsiteY4" fmla="*/ 5751 h 1282460"/>
              <a:gd name="connsiteX5" fmla="*/ 276045 w 9195458"/>
              <a:gd name="connsiteY5" fmla="*/ 0 h 1282460"/>
              <a:gd name="connsiteX6" fmla="*/ 557841 w 9195458"/>
              <a:gd name="connsiteY6" fmla="*/ 5751 h 1282460"/>
              <a:gd name="connsiteX7" fmla="*/ 655607 w 9195458"/>
              <a:gd name="connsiteY7" fmla="*/ 23004 h 1282460"/>
              <a:gd name="connsiteX8" fmla="*/ 701615 w 9195458"/>
              <a:gd name="connsiteY8" fmla="*/ 28755 h 1282460"/>
              <a:gd name="connsiteX9" fmla="*/ 730370 w 9195458"/>
              <a:gd name="connsiteY9" fmla="*/ 34506 h 1282460"/>
              <a:gd name="connsiteX10" fmla="*/ 793630 w 9195458"/>
              <a:gd name="connsiteY10" fmla="*/ 46007 h 1282460"/>
              <a:gd name="connsiteX11" fmla="*/ 879894 w 9195458"/>
              <a:gd name="connsiteY11" fmla="*/ 63260 h 1282460"/>
              <a:gd name="connsiteX12" fmla="*/ 966158 w 9195458"/>
              <a:gd name="connsiteY12" fmla="*/ 86264 h 1282460"/>
              <a:gd name="connsiteX13" fmla="*/ 1017917 w 9195458"/>
              <a:gd name="connsiteY13" fmla="*/ 92015 h 1282460"/>
              <a:gd name="connsiteX14" fmla="*/ 1035170 w 9195458"/>
              <a:gd name="connsiteY14" fmla="*/ 97766 h 1282460"/>
              <a:gd name="connsiteX15" fmla="*/ 1104181 w 9195458"/>
              <a:gd name="connsiteY15" fmla="*/ 109268 h 1282460"/>
              <a:gd name="connsiteX16" fmla="*/ 1184694 w 9195458"/>
              <a:gd name="connsiteY16" fmla="*/ 126521 h 1282460"/>
              <a:gd name="connsiteX17" fmla="*/ 1288211 w 9195458"/>
              <a:gd name="connsiteY17" fmla="*/ 143774 h 1282460"/>
              <a:gd name="connsiteX18" fmla="*/ 1351472 w 9195458"/>
              <a:gd name="connsiteY18" fmla="*/ 161026 h 1282460"/>
              <a:gd name="connsiteX19" fmla="*/ 1391728 w 9195458"/>
              <a:gd name="connsiteY19" fmla="*/ 166777 h 1282460"/>
              <a:gd name="connsiteX20" fmla="*/ 1483743 w 9195458"/>
              <a:gd name="connsiteY20" fmla="*/ 189781 h 1282460"/>
              <a:gd name="connsiteX21" fmla="*/ 1529751 w 9195458"/>
              <a:gd name="connsiteY21" fmla="*/ 201283 h 1282460"/>
              <a:gd name="connsiteX22" fmla="*/ 1616015 w 9195458"/>
              <a:gd name="connsiteY22" fmla="*/ 212785 h 1282460"/>
              <a:gd name="connsiteX23" fmla="*/ 1685026 w 9195458"/>
              <a:gd name="connsiteY23" fmla="*/ 230038 h 1282460"/>
              <a:gd name="connsiteX24" fmla="*/ 1708030 w 9195458"/>
              <a:gd name="connsiteY24" fmla="*/ 235789 h 1282460"/>
              <a:gd name="connsiteX25" fmla="*/ 1754038 w 9195458"/>
              <a:gd name="connsiteY25" fmla="*/ 241540 h 1282460"/>
              <a:gd name="connsiteX26" fmla="*/ 1777041 w 9195458"/>
              <a:gd name="connsiteY26" fmla="*/ 247290 h 1282460"/>
              <a:gd name="connsiteX27" fmla="*/ 1863306 w 9195458"/>
              <a:gd name="connsiteY27" fmla="*/ 258792 h 1282460"/>
              <a:gd name="connsiteX28" fmla="*/ 1955321 w 9195458"/>
              <a:gd name="connsiteY28" fmla="*/ 270294 h 1282460"/>
              <a:gd name="connsiteX29" fmla="*/ 2007079 w 9195458"/>
              <a:gd name="connsiteY29" fmla="*/ 276045 h 1282460"/>
              <a:gd name="connsiteX30" fmla="*/ 2041585 w 9195458"/>
              <a:gd name="connsiteY30" fmla="*/ 281796 h 1282460"/>
              <a:gd name="connsiteX31" fmla="*/ 2231366 w 9195458"/>
              <a:gd name="connsiteY31" fmla="*/ 293298 h 1282460"/>
              <a:gd name="connsiteX32" fmla="*/ 2461404 w 9195458"/>
              <a:gd name="connsiteY32" fmla="*/ 287547 h 1282460"/>
              <a:gd name="connsiteX33" fmla="*/ 2490158 w 9195458"/>
              <a:gd name="connsiteY33" fmla="*/ 281796 h 1282460"/>
              <a:gd name="connsiteX34" fmla="*/ 2553419 w 9195458"/>
              <a:gd name="connsiteY34" fmla="*/ 276045 h 1282460"/>
              <a:gd name="connsiteX35" fmla="*/ 2582174 w 9195458"/>
              <a:gd name="connsiteY35" fmla="*/ 270294 h 1282460"/>
              <a:gd name="connsiteX36" fmla="*/ 2628181 w 9195458"/>
              <a:gd name="connsiteY36" fmla="*/ 264543 h 1282460"/>
              <a:gd name="connsiteX37" fmla="*/ 2651185 w 9195458"/>
              <a:gd name="connsiteY37" fmla="*/ 253041 h 1282460"/>
              <a:gd name="connsiteX38" fmla="*/ 2674189 w 9195458"/>
              <a:gd name="connsiteY38" fmla="*/ 247290 h 1282460"/>
              <a:gd name="connsiteX39" fmla="*/ 2691441 w 9195458"/>
              <a:gd name="connsiteY39" fmla="*/ 241540 h 1282460"/>
              <a:gd name="connsiteX40" fmla="*/ 2737449 w 9195458"/>
              <a:gd name="connsiteY40" fmla="*/ 230038 h 1282460"/>
              <a:gd name="connsiteX41" fmla="*/ 2760453 w 9195458"/>
              <a:gd name="connsiteY41" fmla="*/ 224287 h 1282460"/>
              <a:gd name="connsiteX42" fmla="*/ 2789207 w 9195458"/>
              <a:gd name="connsiteY42" fmla="*/ 207034 h 1282460"/>
              <a:gd name="connsiteX43" fmla="*/ 2823713 w 9195458"/>
              <a:gd name="connsiteY43" fmla="*/ 195532 h 1282460"/>
              <a:gd name="connsiteX44" fmla="*/ 2840966 w 9195458"/>
              <a:gd name="connsiteY44" fmla="*/ 189781 h 1282460"/>
              <a:gd name="connsiteX45" fmla="*/ 2904226 w 9195458"/>
              <a:gd name="connsiteY45" fmla="*/ 172528 h 1282460"/>
              <a:gd name="connsiteX46" fmla="*/ 2955985 w 9195458"/>
              <a:gd name="connsiteY46" fmla="*/ 149524 h 1282460"/>
              <a:gd name="connsiteX47" fmla="*/ 2973238 w 9195458"/>
              <a:gd name="connsiteY47" fmla="*/ 143774 h 1282460"/>
              <a:gd name="connsiteX48" fmla="*/ 2996241 w 9195458"/>
              <a:gd name="connsiteY48" fmla="*/ 132272 h 1282460"/>
              <a:gd name="connsiteX49" fmla="*/ 3013494 w 9195458"/>
              <a:gd name="connsiteY49" fmla="*/ 126521 h 1282460"/>
              <a:gd name="connsiteX50" fmla="*/ 3036498 w 9195458"/>
              <a:gd name="connsiteY50" fmla="*/ 115019 h 1282460"/>
              <a:gd name="connsiteX51" fmla="*/ 3071004 w 9195458"/>
              <a:gd name="connsiteY51" fmla="*/ 109268 h 1282460"/>
              <a:gd name="connsiteX52" fmla="*/ 3105509 w 9195458"/>
              <a:gd name="connsiteY52" fmla="*/ 97766 h 1282460"/>
              <a:gd name="connsiteX53" fmla="*/ 3140015 w 9195458"/>
              <a:gd name="connsiteY53" fmla="*/ 92015 h 1282460"/>
              <a:gd name="connsiteX54" fmla="*/ 3163019 w 9195458"/>
              <a:gd name="connsiteY54" fmla="*/ 86264 h 1282460"/>
              <a:gd name="connsiteX55" fmla="*/ 3370053 w 9195458"/>
              <a:gd name="connsiteY55" fmla="*/ 80513 h 1282460"/>
              <a:gd name="connsiteX56" fmla="*/ 3554083 w 9195458"/>
              <a:gd name="connsiteY56" fmla="*/ 86264 h 1282460"/>
              <a:gd name="connsiteX57" fmla="*/ 3588589 w 9195458"/>
              <a:gd name="connsiteY57" fmla="*/ 103517 h 1282460"/>
              <a:gd name="connsiteX58" fmla="*/ 3628845 w 9195458"/>
              <a:gd name="connsiteY58" fmla="*/ 115019 h 1282460"/>
              <a:gd name="connsiteX59" fmla="*/ 3651849 w 9195458"/>
              <a:gd name="connsiteY59" fmla="*/ 126521 h 1282460"/>
              <a:gd name="connsiteX60" fmla="*/ 3674853 w 9195458"/>
              <a:gd name="connsiteY60" fmla="*/ 132272 h 1282460"/>
              <a:gd name="connsiteX61" fmla="*/ 3709358 w 9195458"/>
              <a:gd name="connsiteY61" fmla="*/ 143774 h 1282460"/>
              <a:gd name="connsiteX62" fmla="*/ 3726611 w 9195458"/>
              <a:gd name="connsiteY62" fmla="*/ 149524 h 1282460"/>
              <a:gd name="connsiteX63" fmla="*/ 3778370 w 9195458"/>
              <a:gd name="connsiteY63" fmla="*/ 155275 h 1282460"/>
              <a:gd name="connsiteX64" fmla="*/ 3841630 w 9195458"/>
              <a:gd name="connsiteY64" fmla="*/ 166777 h 1282460"/>
              <a:gd name="connsiteX65" fmla="*/ 3904891 w 9195458"/>
              <a:gd name="connsiteY65" fmla="*/ 172528 h 1282460"/>
              <a:gd name="connsiteX66" fmla="*/ 3973902 w 9195458"/>
              <a:gd name="connsiteY66" fmla="*/ 184030 h 1282460"/>
              <a:gd name="connsiteX67" fmla="*/ 4037162 w 9195458"/>
              <a:gd name="connsiteY67" fmla="*/ 189781 h 1282460"/>
              <a:gd name="connsiteX68" fmla="*/ 4100423 w 9195458"/>
              <a:gd name="connsiteY68" fmla="*/ 207034 h 1282460"/>
              <a:gd name="connsiteX69" fmla="*/ 4140679 w 9195458"/>
              <a:gd name="connsiteY69" fmla="*/ 218536 h 1282460"/>
              <a:gd name="connsiteX70" fmla="*/ 4163683 w 9195458"/>
              <a:gd name="connsiteY70" fmla="*/ 230038 h 1282460"/>
              <a:gd name="connsiteX71" fmla="*/ 4198189 w 9195458"/>
              <a:gd name="connsiteY71" fmla="*/ 235789 h 1282460"/>
              <a:gd name="connsiteX72" fmla="*/ 4226943 w 9195458"/>
              <a:gd name="connsiteY72" fmla="*/ 241540 h 1282460"/>
              <a:gd name="connsiteX73" fmla="*/ 4249947 w 9195458"/>
              <a:gd name="connsiteY73" fmla="*/ 247290 h 1282460"/>
              <a:gd name="connsiteX74" fmla="*/ 4428226 w 9195458"/>
              <a:gd name="connsiteY74" fmla="*/ 253041 h 1282460"/>
              <a:gd name="connsiteX75" fmla="*/ 4497238 w 9195458"/>
              <a:gd name="connsiteY75" fmla="*/ 258792 h 1282460"/>
              <a:gd name="connsiteX76" fmla="*/ 4520241 w 9195458"/>
              <a:gd name="connsiteY76" fmla="*/ 270294 h 1282460"/>
              <a:gd name="connsiteX77" fmla="*/ 4572000 w 9195458"/>
              <a:gd name="connsiteY77" fmla="*/ 293298 h 1282460"/>
              <a:gd name="connsiteX78" fmla="*/ 4623758 w 9195458"/>
              <a:gd name="connsiteY78" fmla="*/ 316302 h 1282460"/>
              <a:gd name="connsiteX79" fmla="*/ 4675517 w 9195458"/>
              <a:gd name="connsiteY79" fmla="*/ 339306 h 1282460"/>
              <a:gd name="connsiteX80" fmla="*/ 4698521 w 9195458"/>
              <a:gd name="connsiteY80" fmla="*/ 350807 h 1282460"/>
              <a:gd name="connsiteX81" fmla="*/ 4750279 w 9195458"/>
              <a:gd name="connsiteY81" fmla="*/ 368060 h 1282460"/>
              <a:gd name="connsiteX82" fmla="*/ 4767532 w 9195458"/>
              <a:gd name="connsiteY82" fmla="*/ 373811 h 1282460"/>
              <a:gd name="connsiteX83" fmla="*/ 4796287 w 9195458"/>
              <a:gd name="connsiteY83" fmla="*/ 391064 h 1282460"/>
              <a:gd name="connsiteX84" fmla="*/ 4836543 w 9195458"/>
              <a:gd name="connsiteY84" fmla="*/ 402566 h 1282460"/>
              <a:gd name="connsiteX85" fmla="*/ 4871049 w 9195458"/>
              <a:gd name="connsiteY85" fmla="*/ 414068 h 1282460"/>
              <a:gd name="connsiteX86" fmla="*/ 4911306 w 9195458"/>
              <a:gd name="connsiteY86" fmla="*/ 419819 h 1282460"/>
              <a:gd name="connsiteX87" fmla="*/ 5066581 w 9195458"/>
              <a:gd name="connsiteY87" fmla="*/ 431321 h 1282460"/>
              <a:gd name="connsiteX88" fmla="*/ 5256362 w 9195458"/>
              <a:gd name="connsiteY88" fmla="*/ 442823 h 1282460"/>
              <a:gd name="connsiteX89" fmla="*/ 5377132 w 9195458"/>
              <a:gd name="connsiteY89" fmla="*/ 454324 h 1282460"/>
              <a:gd name="connsiteX90" fmla="*/ 5515155 w 9195458"/>
              <a:gd name="connsiteY90" fmla="*/ 465826 h 1282460"/>
              <a:gd name="connsiteX91" fmla="*/ 5572664 w 9195458"/>
              <a:gd name="connsiteY91" fmla="*/ 471577 h 1282460"/>
              <a:gd name="connsiteX92" fmla="*/ 5756694 w 9195458"/>
              <a:gd name="connsiteY92" fmla="*/ 483079 h 1282460"/>
              <a:gd name="connsiteX93" fmla="*/ 5998234 w 9195458"/>
              <a:gd name="connsiteY93" fmla="*/ 494581 h 1282460"/>
              <a:gd name="connsiteX94" fmla="*/ 6303034 w 9195458"/>
              <a:gd name="connsiteY94" fmla="*/ 488830 h 1282460"/>
              <a:gd name="connsiteX95" fmla="*/ 6343291 w 9195458"/>
              <a:gd name="connsiteY95" fmla="*/ 477328 h 1282460"/>
              <a:gd name="connsiteX96" fmla="*/ 6395049 w 9195458"/>
              <a:gd name="connsiteY96" fmla="*/ 465826 h 1282460"/>
              <a:gd name="connsiteX97" fmla="*/ 6423804 w 9195458"/>
              <a:gd name="connsiteY97" fmla="*/ 460075 h 1282460"/>
              <a:gd name="connsiteX98" fmla="*/ 6452558 w 9195458"/>
              <a:gd name="connsiteY98" fmla="*/ 448574 h 1282460"/>
              <a:gd name="connsiteX99" fmla="*/ 6515819 w 9195458"/>
              <a:gd name="connsiteY99" fmla="*/ 437072 h 1282460"/>
              <a:gd name="connsiteX100" fmla="*/ 6561826 w 9195458"/>
              <a:gd name="connsiteY100" fmla="*/ 425570 h 1282460"/>
              <a:gd name="connsiteX101" fmla="*/ 6625087 w 9195458"/>
              <a:gd name="connsiteY101" fmla="*/ 408317 h 1282460"/>
              <a:gd name="connsiteX102" fmla="*/ 6642340 w 9195458"/>
              <a:gd name="connsiteY102" fmla="*/ 396815 h 1282460"/>
              <a:gd name="connsiteX103" fmla="*/ 6682596 w 9195458"/>
              <a:gd name="connsiteY103" fmla="*/ 385313 h 1282460"/>
              <a:gd name="connsiteX104" fmla="*/ 6745857 w 9195458"/>
              <a:gd name="connsiteY104" fmla="*/ 362309 h 1282460"/>
              <a:gd name="connsiteX105" fmla="*/ 6780362 w 9195458"/>
              <a:gd name="connsiteY105" fmla="*/ 350807 h 1282460"/>
              <a:gd name="connsiteX106" fmla="*/ 6803366 w 9195458"/>
              <a:gd name="connsiteY106" fmla="*/ 339306 h 1282460"/>
              <a:gd name="connsiteX107" fmla="*/ 6849374 w 9195458"/>
              <a:gd name="connsiteY107" fmla="*/ 333555 h 1282460"/>
              <a:gd name="connsiteX108" fmla="*/ 6901132 w 9195458"/>
              <a:gd name="connsiteY108" fmla="*/ 322053 h 1282460"/>
              <a:gd name="connsiteX109" fmla="*/ 6929887 w 9195458"/>
              <a:gd name="connsiteY109" fmla="*/ 316302 h 1282460"/>
              <a:gd name="connsiteX110" fmla="*/ 6964392 w 9195458"/>
              <a:gd name="connsiteY110" fmla="*/ 310551 h 1282460"/>
              <a:gd name="connsiteX111" fmla="*/ 7119668 w 9195458"/>
              <a:gd name="connsiteY111" fmla="*/ 304800 h 1282460"/>
              <a:gd name="connsiteX112" fmla="*/ 7919049 w 9195458"/>
              <a:gd name="connsiteY112" fmla="*/ 299049 h 1282460"/>
              <a:gd name="connsiteX113" fmla="*/ 7976558 w 9195458"/>
              <a:gd name="connsiteY113" fmla="*/ 293298 h 1282460"/>
              <a:gd name="connsiteX114" fmla="*/ 8114581 w 9195458"/>
              <a:gd name="connsiteY114" fmla="*/ 264543 h 1282460"/>
              <a:gd name="connsiteX115" fmla="*/ 8137585 w 9195458"/>
              <a:gd name="connsiteY115" fmla="*/ 258792 h 1282460"/>
              <a:gd name="connsiteX116" fmla="*/ 8160589 w 9195458"/>
              <a:gd name="connsiteY116" fmla="*/ 247290 h 1282460"/>
              <a:gd name="connsiteX117" fmla="*/ 8183592 w 9195458"/>
              <a:gd name="connsiteY117" fmla="*/ 241540 h 1282460"/>
              <a:gd name="connsiteX118" fmla="*/ 8218098 w 9195458"/>
              <a:gd name="connsiteY118" fmla="*/ 230038 h 1282460"/>
              <a:gd name="connsiteX119" fmla="*/ 8235351 w 9195458"/>
              <a:gd name="connsiteY119" fmla="*/ 224287 h 1282460"/>
              <a:gd name="connsiteX120" fmla="*/ 8258355 w 9195458"/>
              <a:gd name="connsiteY120" fmla="*/ 218536 h 1282460"/>
              <a:gd name="connsiteX121" fmla="*/ 8287109 w 9195458"/>
              <a:gd name="connsiteY121" fmla="*/ 201283 h 1282460"/>
              <a:gd name="connsiteX122" fmla="*/ 8321615 w 9195458"/>
              <a:gd name="connsiteY122" fmla="*/ 189781 h 1282460"/>
              <a:gd name="connsiteX123" fmla="*/ 8361872 w 9195458"/>
              <a:gd name="connsiteY123" fmla="*/ 172528 h 1282460"/>
              <a:gd name="connsiteX124" fmla="*/ 8384875 w 9195458"/>
              <a:gd name="connsiteY124" fmla="*/ 161026 h 1282460"/>
              <a:gd name="connsiteX125" fmla="*/ 8402128 w 9195458"/>
              <a:gd name="connsiteY125" fmla="*/ 155275 h 1282460"/>
              <a:gd name="connsiteX126" fmla="*/ 8430883 w 9195458"/>
              <a:gd name="connsiteY126" fmla="*/ 143774 h 1282460"/>
              <a:gd name="connsiteX127" fmla="*/ 8476891 w 9195458"/>
              <a:gd name="connsiteY127" fmla="*/ 120770 h 1282460"/>
              <a:gd name="connsiteX128" fmla="*/ 8505645 w 9195458"/>
              <a:gd name="connsiteY128" fmla="*/ 115019 h 1282460"/>
              <a:gd name="connsiteX129" fmla="*/ 8522898 w 9195458"/>
              <a:gd name="connsiteY129" fmla="*/ 109268 h 1282460"/>
              <a:gd name="connsiteX130" fmla="*/ 8545902 w 9195458"/>
              <a:gd name="connsiteY130" fmla="*/ 103517 h 1282460"/>
              <a:gd name="connsiteX131" fmla="*/ 8563155 w 9195458"/>
              <a:gd name="connsiteY131" fmla="*/ 92015 h 1282460"/>
              <a:gd name="connsiteX132" fmla="*/ 8591909 w 9195458"/>
              <a:gd name="connsiteY132" fmla="*/ 86264 h 1282460"/>
              <a:gd name="connsiteX133" fmla="*/ 8637917 w 9195458"/>
              <a:gd name="connsiteY133" fmla="*/ 74762 h 1282460"/>
              <a:gd name="connsiteX134" fmla="*/ 8666672 w 9195458"/>
              <a:gd name="connsiteY134" fmla="*/ 69011 h 1282460"/>
              <a:gd name="connsiteX135" fmla="*/ 8729932 w 9195458"/>
              <a:gd name="connsiteY135" fmla="*/ 51758 h 1282460"/>
              <a:gd name="connsiteX136" fmla="*/ 8793192 w 9195458"/>
              <a:gd name="connsiteY136" fmla="*/ 46007 h 1282460"/>
              <a:gd name="connsiteX137" fmla="*/ 8862204 w 9195458"/>
              <a:gd name="connsiteY137" fmla="*/ 51758 h 1282460"/>
              <a:gd name="connsiteX138" fmla="*/ 8959970 w 9195458"/>
              <a:gd name="connsiteY138" fmla="*/ 40257 h 1282460"/>
              <a:gd name="connsiteX139" fmla="*/ 9023230 w 9195458"/>
              <a:gd name="connsiteY139" fmla="*/ 23004 h 1282460"/>
              <a:gd name="connsiteX140" fmla="*/ 9138249 w 9195458"/>
              <a:gd name="connsiteY140" fmla="*/ 17253 h 1282460"/>
              <a:gd name="connsiteX141" fmla="*/ 9138249 w 9195458"/>
              <a:gd name="connsiteY141" fmla="*/ 1282460 h 1282460"/>
              <a:gd name="connsiteX0" fmla="*/ 0 w 9195458"/>
              <a:gd name="connsiteY0" fmla="*/ 46007 h 1282460"/>
              <a:gd name="connsiteX1" fmla="*/ 46007 w 9195458"/>
              <a:gd name="connsiteY1" fmla="*/ 40257 h 1282460"/>
              <a:gd name="connsiteX2" fmla="*/ 74762 w 9195458"/>
              <a:gd name="connsiteY2" fmla="*/ 28755 h 1282460"/>
              <a:gd name="connsiteX3" fmla="*/ 143774 w 9195458"/>
              <a:gd name="connsiteY3" fmla="*/ 17253 h 1282460"/>
              <a:gd name="connsiteX4" fmla="*/ 195532 w 9195458"/>
              <a:gd name="connsiteY4" fmla="*/ 5751 h 1282460"/>
              <a:gd name="connsiteX5" fmla="*/ 276045 w 9195458"/>
              <a:gd name="connsiteY5" fmla="*/ 0 h 1282460"/>
              <a:gd name="connsiteX6" fmla="*/ 557841 w 9195458"/>
              <a:gd name="connsiteY6" fmla="*/ 5751 h 1282460"/>
              <a:gd name="connsiteX7" fmla="*/ 655607 w 9195458"/>
              <a:gd name="connsiteY7" fmla="*/ 23004 h 1282460"/>
              <a:gd name="connsiteX8" fmla="*/ 701615 w 9195458"/>
              <a:gd name="connsiteY8" fmla="*/ 28755 h 1282460"/>
              <a:gd name="connsiteX9" fmla="*/ 730370 w 9195458"/>
              <a:gd name="connsiteY9" fmla="*/ 34506 h 1282460"/>
              <a:gd name="connsiteX10" fmla="*/ 793630 w 9195458"/>
              <a:gd name="connsiteY10" fmla="*/ 46007 h 1282460"/>
              <a:gd name="connsiteX11" fmla="*/ 879894 w 9195458"/>
              <a:gd name="connsiteY11" fmla="*/ 63260 h 1282460"/>
              <a:gd name="connsiteX12" fmla="*/ 966158 w 9195458"/>
              <a:gd name="connsiteY12" fmla="*/ 86264 h 1282460"/>
              <a:gd name="connsiteX13" fmla="*/ 1017917 w 9195458"/>
              <a:gd name="connsiteY13" fmla="*/ 92015 h 1282460"/>
              <a:gd name="connsiteX14" fmla="*/ 1035170 w 9195458"/>
              <a:gd name="connsiteY14" fmla="*/ 97766 h 1282460"/>
              <a:gd name="connsiteX15" fmla="*/ 1104181 w 9195458"/>
              <a:gd name="connsiteY15" fmla="*/ 109268 h 1282460"/>
              <a:gd name="connsiteX16" fmla="*/ 1184694 w 9195458"/>
              <a:gd name="connsiteY16" fmla="*/ 126521 h 1282460"/>
              <a:gd name="connsiteX17" fmla="*/ 1288211 w 9195458"/>
              <a:gd name="connsiteY17" fmla="*/ 143774 h 1282460"/>
              <a:gd name="connsiteX18" fmla="*/ 1351472 w 9195458"/>
              <a:gd name="connsiteY18" fmla="*/ 161026 h 1282460"/>
              <a:gd name="connsiteX19" fmla="*/ 1391728 w 9195458"/>
              <a:gd name="connsiteY19" fmla="*/ 166777 h 1282460"/>
              <a:gd name="connsiteX20" fmla="*/ 1483743 w 9195458"/>
              <a:gd name="connsiteY20" fmla="*/ 189781 h 1282460"/>
              <a:gd name="connsiteX21" fmla="*/ 1529751 w 9195458"/>
              <a:gd name="connsiteY21" fmla="*/ 201283 h 1282460"/>
              <a:gd name="connsiteX22" fmla="*/ 1616015 w 9195458"/>
              <a:gd name="connsiteY22" fmla="*/ 212785 h 1282460"/>
              <a:gd name="connsiteX23" fmla="*/ 1685026 w 9195458"/>
              <a:gd name="connsiteY23" fmla="*/ 230038 h 1282460"/>
              <a:gd name="connsiteX24" fmla="*/ 1708030 w 9195458"/>
              <a:gd name="connsiteY24" fmla="*/ 235789 h 1282460"/>
              <a:gd name="connsiteX25" fmla="*/ 1754038 w 9195458"/>
              <a:gd name="connsiteY25" fmla="*/ 241540 h 1282460"/>
              <a:gd name="connsiteX26" fmla="*/ 1777041 w 9195458"/>
              <a:gd name="connsiteY26" fmla="*/ 247290 h 1282460"/>
              <a:gd name="connsiteX27" fmla="*/ 1863306 w 9195458"/>
              <a:gd name="connsiteY27" fmla="*/ 258792 h 1282460"/>
              <a:gd name="connsiteX28" fmla="*/ 1955321 w 9195458"/>
              <a:gd name="connsiteY28" fmla="*/ 270294 h 1282460"/>
              <a:gd name="connsiteX29" fmla="*/ 2007079 w 9195458"/>
              <a:gd name="connsiteY29" fmla="*/ 276045 h 1282460"/>
              <a:gd name="connsiteX30" fmla="*/ 2041585 w 9195458"/>
              <a:gd name="connsiteY30" fmla="*/ 281796 h 1282460"/>
              <a:gd name="connsiteX31" fmla="*/ 2231366 w 9195458"/>
              <a:gd name="connsiteY31" fmla="*/ 293298 h 1282460"/>
              <a:gd name="connsiteX32" fmla="*/ 2461404 w 9195458"/>
              <a:gd name="connsiteY32" fmla="*/ 287547 h 1282460"/>
              <a:gd name="connsiteX33" fmla="*/ 2490158 w 9195458"/>
              <a:gd name="connsiteY33" fmla="*/ 281796 h 1282460"/>
              <a:gd name="connsiteX34" fmla="*/ 2553419 w 9195458"/>
              <a:gd name="connsiteY34" fmla="*/ 276045 h 1282460"/>
              <a:gd name="connsiteX35" fmla="*/ 2582174 w 9195458"/>
              <a:gd name="connsiteY35" fmla="*/ 270294 h 1282460"/>
              <a:gd name="connsiteX36" fmla="*/ 2628181 w 9195458"/>
              <a:gd name="connsiteY36" fmla="*/ 264543 h 1282460"/>
              <a:gd name="connsiteX37" fmla="*/ 2651185 w 9195458"/>
              <a:gd name="connsiteY37" fmla="*/ 253041 h 1282460"/>
              <a:gd name="connsiteX38" fmla="*/ 2674189 w 9195458"/>
              <a:gd name="connsiteY38" fmla="*/ 247290 h 1282460"/>
              <a:gd name="connsiteX39" fmla="*/ 2691441 w 9195458"/>
              <a:gd name="connsiteY39" fmla="*/ 241540 h 1282460"/>
              <a:gd name="connsiteX40" fmla="*/ 2737449 w 9195458"/>
              <a:gd name="connsiteY40" fmla="*/ 230038 h 1282460"/>
              <a:gd name="connsiteX41" fmla="*/ 2760453 w 9195458"/>
              <a:gd name="connsiteY41" fmla="*/ 224287 h 1282460"/>
              <a:gd name="connsiteX42" fmla="*/ 2789207 w 9195458"/>
              <a:gd name="connsiteY42" fmla="*/ 207034 h 1282460"/>
              <a:gd name="connsiteX43" fmla="*/ 2823713 w 9195458"/>
              <a:gd name="connsiteY43" fmla="*/ 195532 h 1282460"/>
              <a:gd name="connsiteX44" fmla="*/ 2840966 w 9195458"/>
              <a:gd name="connsiteY44" fmla="*/ 189781 h 1282460"/>
              <a:gd name="connsiteX45" fmla="*/ 2904226 w 9195458"/>
              <a:gd name="connsiteY45" fmla="*/ 172528 h 1282460"/>
              <a:gd name="connsiteX46" fmla="*/ 2955985 w 9195458"/>
              <a:gd name="connsiteY46" fmla="*/ 149524 h 1282460"/>
              <a:gd name="connsiteX47" fmla="*/ 2973238 w 9195458"/>
              <a:gd name="connsiteY47" fmla="*/ 143774 h 1282460"/>
              <a:gd name="connsiteX48" fmla="*/ 2996241 w 9195458"/>
              <a:gd name="connsiteY48" fmla="*/ 132272 h 1282460"/>
              <a:gd name="connsiteX49" fmla="*/ 3013494 w 9195458"/>
              <a:gd name="connsiteY49" fmla="*/ 126521 h 1282460"/>
              <a:gd name="connsiteX50" fmla="*/ 3036498 w 9195458"/>
              <a:gd name="connsiteY50" fmla="*/ 115019 h 1282460"/>
              <a:gd name="connsiteX51" fmla="*/ 3071004 w 9195458"/>
              <a:gd name="connsiteY51" fmla="*/ 109268 h 1282460"/>
              <a:gd name="connsiteX52" fmla="*/ 3105509 w 9195458"/>
              <a:gd name="connsiteY52" fmla="*/ 97766 h 1282460"/>
              <a:gd name="connsiteX53" fmla="*/ 3140015 w 9195458"/>
              <a:gd name="connsiteY53" fmla="*/ 92015 h 1282460"/>
              <a:gd name="connsiteX54" fmla="*/ 3163019 w 9195458"/>
              <a:gd name="connsiteY54" fmla="*/ 86264 h 1282460"/>
              <a:gd name="connsiteX55" fmla="*/ 3370053 w 9195458"/>
              <a:gd name="connsiteY55" fmla="*/ 80513 h 1282460"/>
              <a:gd name="connsiteX56" fmla="*/ 3554083 w 9195458"/>
              <a:gd name="connsiteY56" fmla="*/ 86264 h 1282460"/>
              <a:gd name="connsiteX57" fmla="*/ 3588589 w 9195458"/>
              <a:gd name="connsiteY57" fmla="*/ 103517 h 1282460"/>
              <a:gd name="connsiteX58" fmla="*/ 3628845 w 9195458"/>
              <a:gd name="connsiteY58" fmla="*/ 115019 h 1282460"/>
              <a:gd name="connsiteX59" fmla="*/ 3651849 w 9195458"/>
              <a:gd name="connsiteY59" fmla="*/ 126521 h 1282460"/>
              <a:gd name="connsiteX60" fmla="*/ 3674853 w 9195458"/>
              <a:gd name="connsiteY60" fmla="*/ 132272 h 1282460"/>
              <a:gd name="connsiteX61" fmla="*/ 3709358 w 9195458"/>
              <a:gd name="connsiteY61" fmla="*/ 143774 h 1282460"/>
              <a:gd name="connsiteX62" fmla="*/ 3726611 w 9195458"/>
              <a:gd name="connsiteY62" fmla="*/ 149524 h 1282460"/>
              <a:gd name="connsiteX63" fmla="*/ 3778370 w 9195458"/>
              <a:gd name="connsiteY63" fmla="*/ 155275 h 1282460"/>
              <a:gd name="connsiteX64" fmla="*/ 3841630 w 9195458"/>
              <a:gd name="connsiteY64" fmla="*/ 166777 h 1282460"/>
              <a:gd name="connsiteX65" fmla="*/ 3904891 w 9195458"/>
              <a:gd name="connsiteY65" fmla="*/ 172528 h 1282460"/>
              <a:gd name="connsiteX66" fmla="*/ 3973902 w 9195458"/>
              <a:gd name="connsiteY66" fmla="*/ 184030 h 1282460"/>
              <a:gd name="connsiteX67" fmla="*/ 4037162 w 9195458"/>
              <a:gd name="connsiteY67" fmla="*/ 189781 h 1282460"/>
              <a:gd name="connsiteX68" fmla="*/ 4100423 w 9195458"/>
              <a:gd name="connsiteY68" fmla="*/ 207034 h 1282460"/>
              <a:gd name="connsiteX69" fmla="*/ 4140679 w 9195458"/>
              <a:gd name="connsiteY69" fmla="*/ 218536 h 1282460"/>
              <a:gd name="connsiteX70" fmla="*/ 4163683 w 9195458"/>
              <a:gd name="connsiteY70" fmla="*/ 230038 h 1282460"/>
              <a:gd name="connsiteX71" fmla="*/ 4198189 w 9195458"/>
              <a:gd name="connsiteY71" fmla="*/ 235789 h 1282460"/>
              <a:gd name="connsiteX72" fmla="*/ 4226943 w 9195458"/>
              <a:gd name="connsiteY72" fmla="*/ 241540 h 1282460"/>
              <a:gd name="connsiteX73" fmla="*/ 4249947 w 9195458"/>
              <a:gd name="connsiteY73" fmla="*/ 247290 h 1282460"/>
              <a:gd name="connsiteX74" fmla="*/ 4428226 w 9195458"/>
              <a:gd name="connsiteY74" fmla="*/ 253041 h 1282460"/>
              <a:gd name="connsiteX75" fmla="*/ 4497238 w 9195458"/>
              <a:gd name="connsiteY75" fmla="*/ 258792 h 1282460"/>
              <a:gd name="connsiteX76" fmla="*/ 4520241 w 9195458"/>
              <a:gd name="connsiteY76" fmla="*/ 270294 h 1282460"/>
              <a:gd name="connsiteX77" fmla="*/ 4572000 w 9195458"/>
              <a:gd name="connsiteY77" fmla="*/ 293298 h 1282460"/>
              <a:gd name="connsiteX78" fmla="*/ 4623758 w 9195458"/>
              <a:gd name="connsiteY78" fmla="*/ 316302 h 1282460"/>
              <a:gd name="connsiteX79" fmla="*/ 4675517 w 9195458"/>
              <a:gd name="connsiteY79" fmla="*/ 339306 h 1282460"/>
              <a:gd name="connsiteX80" fmla="*/ 4698521 w 9195458"/>
              <a:gd name="connsiteY80" fmla="*/ 350807 h 1282460"/>
              <a:gd name="connsiteX81" fmla="*/ 4750279 w 9195458"/>
              <a:gd name="connsiteY81" fmla="*/ 368060 h 1282460"/>
              <a:gd name="connsiteX82" fmla="*/ 4767532 w 9195458"/>
              <a:gd name="connsiteY82" fmla="*/ 373811 h 1282460"/>
              <a:gd name="connsiteX83" fmla="*/ 4796287 w 9195458"/>
              <a:gd name="connsiteY83" fmla="*/ 391064 h 1282460"/>
              <a:gd name="connsiteX84" fmla="*/ 4836543 w 9195458"/>
              <a:gd name="connsiteY84" fmla="*/ 402566 h 1282460"/>
              <a:gd name="connsiteX85" fmla="*/ 4871049 w 9195458"/>
              <a:gd name="connsiteY85" fmla="*/ 414068 h 1282460"/>
              <a:gd name="connsiteX86" fmla="*/ 4911306 w 9195458"/>
              <a:gd name="connsiteY86" fmla="*/ 419819 h 1282460"/>
              <a:gd name="connsiteX87" fmla="*/ 5066581 w 9195458"/>
              <a:gd name="connsiteY87" fmla="*/ 431321 h 1282460"/>
              <a:gd name="connsiteX88" fmla="*/ 5256362 w 9195458"/>
              <a:gd name="connsiteY88" fmla="*/ 442823 h 1282460"/>
              <a:gd name="connsiteX89" fmla="*/ 5377132 w 9195458"/>
              <a:gd name="connsiteY89" fmla="*/ 454324 h 1282460"/>
              <a:gd name="connsiteX90" fmla="*/ 5515155 w 9195458"/>
              <a:gd name="connsiteY90" fmla="*/ 465826 h 1282460"/>
              <a:gd name="connsiteX91" fmla="*/ 5572664 w 9195458"/>
              <a:gd name="connsiteY91" fmla="*/ 471577 h 1282460"/>
              <a:gd name="connsiteX92" fmla="*/ 5756694 w 9195458"/>
              <a:gd name="connsiteY92" fmla="*/ 483079 h 1282460"/>
              <a:gd name="connsiteX93" fmla="*/ 5998234 w 9195458"/>
              <a:gd name="connsiteY93" fmla="*/ 494581 h 1282460"/>
              <a:gd name="connsiteX94" fmla="*/ 6303034 w 9195458"/>
              <a:gd name="connsiteY94" fmla="*/ 488830 h 1282460"/>
              <a:gd name="connsiteX95" fmla="*/ 6343291 w 9195458"/>
              <a:gd name="connsiteY95" fmla="*/ 477328 h 1282460"/>
              <a:gd name="connsiteX96" fmla="*/ 6395049 w 9195458"/>
              <a:gd name="connsiteY96" fmla="*/ 465826 h 1282460"/>
              <a:gd name="connsiteX97" fmla="*/ 6423804 w 9195458"/>
              <a:gd name="connsiteY97" fmla="*/ 460075 h 1282460"/>
              <a:gd name="connsiteX98" fmla="*/ 6452558 w 9195458"/>
              <a:gd name="connsiteY98" fmla="*/ 448574 h 1282460"/>
              <a:gd name="connsiteX99" fmla="*/ 6515819 w 9195458"/>
              <a:gd name="connsiteY99" fmla="*/ 437072 h 1282460"/>
              <a:gd name="connsiteX100" fmla="*/ 6561826 w 9195458"/>
              <a:gd name="connsiteY100" fmla="*/ 425570 h 1282460"/>
              <a:gd name="connsiteX101" fmla="*/ 6625087 w 9195458"/>
              <a:gd name="connsiteY101" fmla="*/ 408317 h 1282460"/>
              <a:gd name="connsiteX102" fmla="*/ 6642340 w 9195458"/>
              <a:gd name="connsiteY102" fmla="*/ 396815 h 1282460"/>
              <a:gd name="connsiteX103" fmla="*/ 6682596 w 9195458"/>
              <a:gd name="connsiteY103" fmla="*/ 385313 h 1282460"/>
              <a:gd name="connsiteX104" fmla="*/ 6745857 w 9195458"/>
              <a:gd name="connsiteY104" fmla="*/ 362309 h 1282460"/>
              <a:gd name="connsiteX105" fmla="*/ 6780362 w 9195458"/>
              <a:gd name="connsiteY105" fmla="*/ 350807 h 1282460"/>
              <a:gd name="connsiteX106" fmla="*/ 6803366 w 9195458"/>
              <a:gd name="connsiteY106" fmla="*/ 339306 h 1282460"/>
              <a:gd name="connsiteX107" fmla="*/ 6849374 w 9195458"/>
              <a:gd name="connsiteY107" fmla="*/ 333555 h 1282460"/>
              <a:gd name="connsiteX108" fmla="*/ 6901132 w 9195458"/>
              <a:gd name="connsiteY108" fmla="*/ 322053 h 1282460"/>
              <a:gd name="connsiteX109" fmla="*/ 6929887 w 9195458"/>
              <a:gd name="connsiteY109" fmla="*/ 316302 h 1282460"/>
              <a:gd name="connsiteX110" fmla="*/ 6964392 w 9195458"/>
              <a:gd name="connsiteY110" fmla="*/ 310551 h 1282460"/>
              <a:gd name="connsiteX111" fmla="*/ 7119668 w 9195458"/>
              <a:gd name="connsiteY111" fmla="*/ 304800 h 1282460"/>
              <a:gd name="connsiteX112" fmla="*/ 7919049 w 9195458"/>
              <a:gd name="connsiteY112" fmla="*/ 299049 h 1282460"/>
              <a:gd name="connsiteX113" fmla="*/ 7976558 w 9195458"/>
              <a:gd name="connsiteY113" fmla="*/ 293298 h 1282460"/>
              <a:gd name="connsiteX114" fmla="*/ 8114581 w 9195458"/>
              <a:gd name="connsiteY114" fmla="*/ 264543 h 1282460"/>
              <a:gd name="connsiteX115" fmla="*/ 8137585 w 9195458"/>
              <a:gd name="connsiteY115" fmla="*/ 258792 h 1282460"/>
              <a:gd name="connsiteX116" fmla="*/ 8160589 w 9195458"/>
              <a:gd name="connsiteY116" fmla="*/ 247290 h 1282460"/>
              <a:gd name="connsiteX117" fmla="*/ 8183592 w 9195458"/>
              <a:gd name="connsiteY117" fmla="*/ 241540 h 1282460"/>
              <a:gd name="connsiteX118" fmla="*/ 8218098 w 9195458"/>
              <a:gd name="connsiteY118" fmla="*/ 230038 h 1282460"/>
              <a:gd name="connsiteX119" fmla="*/ 8235351 w 9195458"/>
              <a:gd name="connsiteY119" fmla="*/ 224287 h 1282460"/>
              <a:gd name="connsiteX120" fmla="*/ 8258355 w 9195458"/>
              <a:gd name="connsiteY120" fmla="*/ 218536 h 1282460"/>
              <a:gd name="connsiteX121" fmla="*/ 8287109 w 9195458"/>
              <a:gd name="connsiteY121" fmla="*/ 201283 h 1282460"/>
              <a:gd name="connsiteX122" fmla="*/ 8321615 w 9195458"/>
              <a:gd name="connsiteY122" fmla="*/ 189781 h 1282460"/>
              <a:gd name="connsiteX123" fmla="*/ 8361872 w 9195458"/>
              <a:gd name="connsiteY123" fmla="*/ 172528 h 1282460"/>
              <a:gd name="connsiteX124" fmla="*/ 8384875 w 9195458"/>
              <a:gd name="connsiteY124" fmla="*/ 161026 h 1282460"/>
              <a:gd name="connsiteX125" fmla="*/ 8402128 w 9195458"/>
              <a:gd name="connsiteY125" fmla="*/ 155275 h 1282460"/>
              <a:gd name="connsiteX126" fmla="*/ 8430883 w 9195458"/>
              <a:gd name="connsiteY126" fmla="*/ 143774 h 1282460"/>
              <a:gd name="connsiteX127" fmla="*/ 8476891 w 9195458"/>
              <a:gd name="connsiteY127" fmla="*/ 120770 h 1282460"/>
              <a:gd name="connsiteX128" fmla="*/ 8505645 w 9195458"/>
              <a:gd name="connsiteY128" fmla="*/ 115019 h 1282460"/>
              <a:gd name="connsiteX129" fmla="*/ 8522898 w 9195458"/>
              <a:gd name="connsiteY129" fmla="*/ 109268 h 1282460"/>
              <a:gd name="connsiteX130" fmla="*/ 8545902 w 9195458"/>
              <a:gd name="connsiteY130" fmla="*/ 103517 h 1282460"/>
              <a:gd name="connsiteX131" fmla="*/ 8563155 w 9195458"/>
              <a:gd name="connsiteY131" fmla="*/ 92015 h 1282460"/>
              <a:gd name="connsiteX132" fmla="*/ 8591909 w 9195458"/>
              <a:gd name="connsiteY132" fmla="*/ 86264 h 1282460"/>
              <a:gd name="connsiteX133" fmla="*/ 8637917 w 9195458"/>
              <a:gd name="connsiteY133" fmla="*/ 74762 h 1282460"/>
              <a:gd name="connsiteX134" fmla="*/ 8666672 w 9195458"/>
              <a:gd name="connsiteY134" fmla="*/ 69011 h 1282460"/>
              <a:gd name="connsiteX135" fmla="*/ 8729932 w 9195458"/>
              <a:gd name="connsiteY135" fmla="*/ 51758 h 1282460"/>
              <a:gd name="connsiteX136" fmla="*/ 8793192 w 9195458"/>
              <a:gd name="connsiteY136" fmla="*/ 46007 h 1282460"/>
              <a:gd name="connsiteX137" fmla="*/ 8862204 w 9195458"/>
              <a:gd name="connsiteY137" fmla="*/ 51758 h 1282460"/>
              <a:gd name="connsiteX138" fmla="*/ 8959970 w 9195458"/>
              <a:gd name="connsiteY138" fmla="*/ 40257 h 1282460"/>
              <a:gd name="connsiteX139" fmla="*/ 9023230 w 9195458"/>
              <a:gd name="connsiteY139" fmla="*/ 23004 h 1282460"/>
              <a:gd name="connsiteX140" fmla="*/ 9138249 w 9195458"/>
              <a:gd name="connsiteY140" fmla="*/ 17253 h 1282460"/>
              <a:gd name="connsiteX141" fmla="*/ 9138249 w 9195458"/>
              <a:gd name="connsiteY141" fmla="*/ 1282460 h 1282460"/>
              <a:gd name="connsiteX0" fmla="*/ 0 w 9143700"/>
              <a:gd name="connsiteY0" fmla="*/ 46007 h 1282460"/>
              <a:gd name="connsiteX1" fmla="*/ 46007 w 9143700"/>
              <a:gd name="connsiteY1" fmla="*/ 40257 h 1282460"/>
              <a:gd name="connsiteX2" fmla="*/ 74762 w 9143700"/>
              <a:gd name="connsiteY2" fmla="*/ 28755 h 1282460"/>
              <a:gd name="connsiteX3" fmla="*/ 143774 w 9143700"/>
              <a:gd name="connsiteY3" fmla="*/ 17253 h 1282460"/>
              <a:gd name="connsiteX4" fmla="*/ 195532 w 9143700"/>
              <a:gd name="connsiteY4" fmla="*/ 5751 h 1282460"/>
              <a:gd name="connsiteX5" fmla="*/ 276045 w 9143700"/>
              <a:gd name="connsiteY5" fmla="*/ 0 h 1282460"/>
              <a:gd name="connsiteX6" fmla="*/ 557841 w 9143700"/>
              <a:gd name="connsiteY6" fmla="*/ 5751 h 1282460"/>
              <a:gd name="connsiteX7" fmla="*/ 655607 w 9143700"/>
              <a:gd name="connsiteY7" fmla="*/ 23004 h 1282460"/>
              <a:gd name="connsiteX8" fmla="*/ 701615 w 9143700"/>
              <a:gd name="connsiteY8" fmla="*/ 28755 h 1282460"/>
              <a:gd name="connsiteX9" fmla="*/ 730370 w 9143700"/>
              <a:gd name="connsiteY9" fmla="*/ 34506 h 1282460"/>
              <a:gd name="connsiteX10" fmla="*/ 793630 w 9143700"/>
              <a:gd name="connsiteY10" fmla="*/ 46007 h 1282460"/>
              <a:gd name="connsiteX11" fmla="*/ 879894 w 9143700"/>
              <a:gd name="connsiteY11" fmla="*/ 63260 h 1282460"/>
              <a:gd name="connsiteX12" fmla="*/ 966158 w 9143700"/>
              <a:gd name="connsiteY12" fmla="*/ 86264 h 1282460"/>
              <a:gd name="connsiteX13" fmla="*/ 1017917 w 9143700"/>
              <a:gd name="connsiteY13" fmla="*/ 92015 h 1282460"/>
              <a:gd name="connsiteX14" fmla="*/ 1035170 w 9143700"/>
              <a:gd name="connsiteY14" fmla="*/ 97766 h 1282460"/>
              <a:gd name="connsiteX15" fmla="*/ 1104181 w 9143700"/>
              <a:gd name="connsiteY15" fmla="*/ 109268 h 1282460"/>
              <a:gd name="connsiteX16" fmla="*/ 1184694 w 9143700"/>
              <a:gd name="connsiteY16" fmla="*/ 126521 h 1282460"/>
              <a:gd name="connsiteX17" fmla="*/ 1288211 w 9143700"/>
              <a:gd name="connsiteY17" fmla="*/ 143774 h 1282460"/>
              <a:gd name="connsiteX18" fmla="*/ 1351472 w 9143700"/>
              <a:gd name="connsiteY18" fmla="*/ 161026 h 1282460"/>
              <a:gd name="connsiteX19" fmla="*/ 1391728 w 9143700"/>
              <a:gd name="connsiteY19" fmla="*/ 166777 h 1282460"/>
              <a:gd name="connsiteX20" fmla="*/ 1483743 w 9143700"/>
              <a:gd name="connsiteY20" fmla="*/ 189781 h 1282460"/>
              <a:gd name="connsiteX21" fmla="*/ 1529751 w 9143700"/>
              <a:gd name="connsiteY21" fmla="*/ 201283 h 1282460"/>
              <a:gd name="connsiteX22" fmla="*/ 1616015 w 9143700"/>
              <a:gd name="connsiteY22" fmla="*/ 212785 h 1282460"/>
              <a:gd name="connsiteX23" fmla="*/ 1685026 w 9143700"/>
              <a:gd name="connsiteY23" fmla="*/ 230038 h 1282460"/>
              <a:gd name="connsiteX24" fmla="*/ 1708030 w 9143700"/>
              <a:gd name="connsiteY24" fmla="*/ 235789 h 1282460"/>
              <a:gd name="connsiteX25" fmla="*/ 1754038 w 9143700"/>
              <a:gd name="connsiteY25" fmla="*/ 241540 h 1282460"/>
              <a:gd name="connsiteX26" fmla="*/ 1777041 w 9143700"/>
              <a:gd name="connsiteY26" fmla="*/ 247290 h 1282460"/>
              <a:gd name="connsiteX27" fmla="*/ 1863306 w 9143700"/>
              <a:gd name="connsiteY27" fmla="*/ 258792 h 1282460"/>
              <a:gd name="connsiteX28" fmla="*/ 1955321 w 9143700"/>
              <a:gd name="connsiteY28" fmla="*/ 270294 h 1282460"/>
              <a:gd name="connsiteX29" fmla="*/ 2007079 w 9143700"/>
              <a:gd name="connsiteY29" fmla="*/ 276045 h 1282460"/>
              <a:gd name="connsiteX30" fmla="*/ 2041585 w 9143700"/>
              <a:gd name="connsiteY30" fmla="*/ 281796 h 1282460"/>
              <a:gd name="connsiteX31" fmla="*/ 2231366 w 9143700"/>
              <a:gd name="connsiteY31" fmla="*/ 293298 h 1282460"/>
              <a:gd name="connsiteX32" fmla="*/ 2461404 w 9143700"/>
              <a:gd name="connsiteY32" fmla="*/ 287547 h 1282460"/>
              <a:gd name="connsiteX33" fmla="*/ 2490158 w 9143700"/>
              <a:gd name="connsiteY33" fmla="*/ 281796 h 1282460"/>
              <a:gd name="connsiteX34" fmla="*/ 2553419 w 9143700"/>
              <a:gd name="connsiteY34" fmla="*/ 276045 h 1282460"/>
              <a:gd name="connsiteX35" fmla="*/ 2582174 w 9143700"/>
              <a:gd name="connsiteY35" fmla="*/ 270294 h 1282460"/>
              <a:gd name="connsiteX36" fmla="*/ 2628181 w 9143700"/>
              <a:gd name="connsiteY36" fmla="*/ 264543 h 1282460"/>
              <a:gd name="connsiteX37" fmla="*/ 2651185 w 9143700"/>
              <a:gd name="connsiteY37" fmla="*/ 253041 h 1282460"/>
              <a:gd name="connsiteX38" fmla="*/ 2674189 w 9143700"/>
              <a:gd name="connsiteY38" fmla="*/ 247290 h 1282460"/>
              <a:gd name="connsiteX39" fmla="*/ 2691441 w 9143700"/>
              <a:gd name="connsiteY39" fmla="*/ 241540 h 1282460"/>
              <a:gd name="connsiteX40" fmla="*/ 2737449 w 9143700"/>
              <a:gd name="connsiteY40" fmla="*/ 230038 h 1282460"/>
              <a:gd name="connsiteX41" fmla="*/ 2760453 w 9143700"/>
              <a:gd name="connsiteY41" fmla="*/ 224287 h 1282460"/>
              <a:gd name="connsiteX42" fmla="*/ 2789207 w 9143700"/>
              <a:gd name="connsiteY42" fmla="*/ 207034 h 1282460"/>
              <a:gd name="connsiteX43" fmla="*/ 2823713 w 9143700"/>
              <a:gd name="connsiteY43" fmla="*/ 195532 h 1282460"/>
              <a:gd name="connsiteX44" fmla="*/ 2840966 w 9143700"/>
              <a:gd name="connsiteY44" fmla="*/ 189781 h 1282460"/>
              <a:gd name="connsiteX45" fmla="*/ 2904226 w 9143700"/>
              <a:gd name="connsiteY45" fmla="*/ 172528 h 1282460"/>
              <a:gd name="connsiteX46" fmla="*/ 2955985 w 9143700"/>
              <a:gd name="connsiteY46" fmla="*/ 149524 h 1282460"/>
              <a:gd name="connsiteX47" fmla="*/ 2973238 w 9143700"/>
              <a:gd name="connsiteY47" fmla="*/ 143774 h 1282460"/>
              <a:gd name="connsiteX48" fmla="*/ 2996241 w 9143700"/>
              <a:gd name="connsiteY48" fmla="*/ 132272 h 1282460"/>
              <a:gd name="connsiteX49" fmla="*/ 3013494 w 9143700"/>
              <a:gd name="connsiteY49" fmla="*/ 126521 h 1282460"/>
              <a:gd name="connsiteX50" fmla="*/ 3036498 w 9143700"/>
              <a:gd name="connsiteY50" fmla="*/ 115019 h 1282460"/>
              <a:gd name="connsiteX51" fmla="*/ 3071004 w 9143700"/>
              <a:gd name="connsiteY51" fmla="*/ 109268 h 1282460"/>
              <a:gd name="connsiteX52" fmla="*/ 3105509 w 9143700"/>
              <a:gd name="connsiteY52" fmla="*/ 97766 h 1282460"/>
              <a:gd name="connsiteX53" fmla="*/ 3140015 w 9143700"/>
              <a:gd name="connsiteY53" fmla="*/ 92015 h 1282460"/>
              <a:gd name="connsiteX54" fmla="*/ 3163019 w 9143700"/>
              <a:gd name="connsiteY54" fmla="*/ 86264 h 1282460"/>
              <a:gd name="connsiteX55" fmla="*/ 3370053 w 9143700"/>
              <a:gd name="connsiteY55" fmla="*/ 80513 h 1282460"/>
              <a:gd name="connsiteX56" fmla="*/ 3554083 w 9143700"/>
              <a:gd name="connsiteY56" fmla="*/ 86264 h 1282460"/>
              <a:gd name="connsiteX57" fmla="*/ 3588589 w 9143700"/>
              <a:gd name="connsiteY57" fmla="*/ 103517 h 1282460"/>
              <a:gd name="connsiteX58" fmla="*/ 3628845 w 9143700"/>
              <a:gd name="connsiteY58" fmla="*/ 115019 h 1282460"/>
              <a:gd name="connsiteX59" fmla="*/ 3651849 w 9143700"/>
              <a:gd name="connsiteY59" fmla="*/ 126521 h 1282460"/>
              <a:gd name="connsiteX60" fmla="*/ 3674853 w 9143700"/>
              <a:gd name="connsiteY60" fmla="*/ 132272 h 1282460"/>
              <a:gd name="connsiteX61" fmla="*/ 3709358 w 9143700"/>
              <a:gd name="connsiteY61" fmla="*/ 143774 h 1282460"/>
              <a:gd name="connsiteX62" fmla="*/ 3726611 w 9143700"/>
              <a:gd name="connsiteY62" fmla="*/ 149524 h 1282460"/>
              <a:gd name="connsiteX63" fmla="*/ 3778370 w 9143700"/>
              <a:gd name="connsiteY63" fmla="*/ 155275 h 1282460"/>
              <a:gd name="connsiteX64" fmla="*/ 3841630 w 9143700"/>
              <a:gd name="connsiteY64" fmla="*/ 166777 h 1282460"/>
              <a:gd name="connsiteX65" fmla="*/ 3904891 w 9143700"/>
              <a:gd name="connsiteY65" fmla="*/ 172528 h 1282460"/>
              <a:gd name="connsiteX66" fmla="*/ 3973902 w 9143700"/>
              <a:gd name="connsiteY66" fmla="*/ 184030 h 1282460"/>
              <a:gd name="connsiteX67" fmla="*/ 4037162 w 9143700"/>
              <a:gd name="connsiteY67" fmla="*/ 189781 h 1282460"/>
              <a:gd name="connsiteX68" fmla="*/ 4100423 w 9143700"/>
              <a:gd name="connsiteY68" fmla="*/ 207034 h 1282460"/>
              <a:gd name="connsiteX69" fmla="*/ 4140679 w 9143700"/>
              <a:gd name="connsiteY69" fmla="*/ 218536 h 1282460"/>
              <a:gd name="connsiteX70" fmla="*/ 4163683 w 9143700"/>
              <a:gd name="connsiteY70" fmla="*/ 230038 h 1282460"/>
              <a:gd name="connsiteX71" fmla="*/ 4198189 w 9143700"/>
              <a:gd name="connsiteY71" fmla="*/ 235789 h 1282460"/>
              <a:gd name="connsiteX72" fmla="*/ 4226943 w 9143700"/>
              <a:gd name="connsiteY72" fmla="*/ 241540 h 1282460"/>
              <a:gd name="connsiteX73" fmla="*/ 4249947 w 9143700"/>
              <a:gd name="connsiteY73" fmla="*/ 247290 h 1282460"/>
              <a:gd name="connsiteX74" fmla="*/ 4428226 w 9143700"/>
              <a:gd name="connsiteY74" fmla="*/ 253041 h 1282460"/>
              <a:gd name="connsiteX75" fmla="*/ 4497238 w 9143700"/>
              <a:gd name="connsiteY75" fmla="*/ 258792 h 1282460"/>
              <a:gd name="connsiteX76" fmla="*/ 4520241 w 9143700"/>
              <a:gd name="connsiteY76" fmla="*/ 270294 h 1282460"/>
              <a:gd name="connsiteX77" fmla="*/ 4572000 w 9143700"/>
              <a:gd name="connsiteY77" fmla="*/ 293298 h 1282460"/>
              <a:gd name="connsiteX78" fmla="*/ 4623758 w 9143700"/>
              <a:gd name="connsiteY78" fmla="*/ 316302 h 1282460"/>
              <a:gd name="connsiteX79" fmla="*/ 4675517 w 9143700"/>
              <a:gd name="connsiteY79" fmla="*/ 339306 h 1282460"/>
              <a:gd name="connsiteX80" fmla="*/ 4698521 w 9143700"/>
              <a:gd name="connsiteY80" fmla="*/ 350807 h 1282460"/>
              <a:gd name="connsiteX81" fmla="*/ 4750279 w 9143700"/>
              <a:gd name="connsiteY81" fmla="*/ 368060 h 1282460"/>
              <a:gd name="connsiteX82" fmla="*/ 4767532 w 9143700"/>
              <a:gd name="connsiteY82" fmla="*/ 373811 h 1282460"/>
              <a:gd name="connsiteX83" fmla="*/ 4796287 w 9143700"/>
              <a:gd name="connsiteY83" fmla="*/ 391064 h 1282460"/>
              <a:gd name="connsiteX84" fmla="*/ 4836543 w 9143700"/>
              <a:gd name="connsiteY84" fmla="*/ 402566 h 1282460"/>
              <a:gd name="connsiteX85" fmla="*/ 4871049 w 9143700"/>
              <a:gd name="connsiteY85" fmla="*/ 414068 h 1282460"/>
              <a:gd name="connsiteX86" fmla="*/ 4911306 w 9143700"/>
              <a:gd name="connsiteY86" fmla="*/ 419819 h 1282460"/>
              <a:gd name="connsiteX87" fmla="*/ 5066581 w 9143700"/>
              <a:gd name="connsiteY87" fmla="*/ 431321 h 1282460"/>
              <a:gd name="connsiteX88" fmla="*/ 5256362 w 9143700"/>
              <a:gd name="connsiteY88" fmla="*/ 442823 h 1282460"/>
              <a:gd name="connsiteX89" fmla="*/ 5377132 w 9143700"/>
              <a:gd name="connsiteY89" fmla="*/ 454324 h 1282460"/>
              <a:gd name="connsiteX90" fmla="*/ 5515155 w 9143700"/>
              <a:gd name="connsiteY90" fmla="*/ 465826 h 1282460"/>
              <a:gd name="connsiteX91" fmla="*/ 5572664 w 9143700"/>
              <a:gd name="connsiteY91" fmla="*/ 471577 h 1282460"/>
              <a:gd name="connsiteX92" fmla="*/ 5756694 w 9143700"/>
              <a:gd name="connsiteY92" fmla="*/ 483079 h 1282460"/>
              <a:gd name="connsiteX93" fmla="*/ 5998234 w 9143700"/>
              <a:gd name="connsiteY93" fmla="*/ 494581 h 1282460"/>
              <a:gd name="connsiteX94" fmla="*/ 6303034 w 9143700"/>
              <a:gd name="connsiteY94" fmla="*/ 488830 h 1282460"/>
              <a:gd name="connsiteX95" fmla="*/ 6343291 w 9143700"/>
              <a:gd name="connsiteY95" fmla="*/ 477328 h 1282460"/>
              <a:gd name="connsiteX96" fmla="*/ 6395049 w 9143700"/>
              <a:gd name="connsiteY96" fmla="*/ 465826 h 1282460"/>
              <a:gd name="connsiteX97" fmla="*/ 6423804 w 9143700"/>
              <a:gd name="connsiteY97" fmla="*/ 460075 h 1282460"/>
              <a:gd name="connsiteX98" fmla="*/ 6452558 w 9143700"/>
              <a:gd name="connsiteY98" fmla="*/ 448574 h 1282460"/>
              <a:gd name="connsiteX99" fmla="*/ 6515819 w 9143700"/>
              <a:gd name="connsiteY99" fmla="*/ 437072 h 1282460"/>
              <a:gd name="connsiteX100" fmla="*/ 6561826 w 9143700"/>
              <a:gd name="connsiteY100" fmla="*/ 425570 h 1282460"/>
              <a:gd name="connsiteX101" fmla="*/ 6625087 w 9143700"/>
              <a:gd name="connsiteY101" fmla="*/ 408317 h 1282460"/>
              <a:gd name="connsiteX102" fmla="*/ 6642340 w 9143700"/>
              <a:gd name="connsiteY102" fmla="*/ 396815 h 1282460"/>
              <a:gd name="connsiteX103" fmla="*/ 6682596 w 9143700"/>
              <a:gd name="connsiteY103" fmla="*/ 385313 h 1282460"/>
              <a:gd name="connsiteX104" fmla="*/ 6745857 w 9143700"/>
              <a:gd name="connsiteY104" fmla="*/ 362309 h 1282460"/>
              <a:gd name="connsiteX105" fmla="*/ 6780362 w 9143700"/>
              <a:gd name="connsiteY105" fmla="*/ 350807 h 1282460"/>
              <a:gd name="connsiteX106" fmla="*/ 6803366 w 9143700"/>
              <a:gd name="connsiteY106" fmla="*/ 339306 h 1282460"/>
              <a:gd name="connsiteX107" fmla="*/ 6849374 w 9143700"/>
              <a:gd name="connsiteY107" fmla="*/ 333555 h 1282460"/>
              <a:gd name="connsiteX108" fmla="*/ 6901132 w 9143700"/>
              <a:gd name="connsiteY108" fmla="*/ 322053 h 1282460"/>
              <a:gd name="connsiteX109" fmla="*/ 6929887 w 9143700"/>
              <a:gd name="connsiteY109" fmla="*/ 316302 h 1282460"/>
              <a:gd name="connsiteX110" fmla="*/ 6964392 w 9143700"/>
              <a:gd name="connsiteY110" fmla="*/ 310551 h 1282460"/>
              <a:gd name="connsiteX111" fmla="*/ 7119668 w 9143700"/>
              <a:gd name="connsiteY111" fmla="*/ 304800 h 1282460"/>
              <a:gd name="connsiteX112" fmla="*/ 7919049 w 9143700"/>
              <a:gd name="connsiteY112" fmla="*/ 299049 h 1282460"/>
              <a:gd name="connsiteX113" fmla="*/ 7976558 w 9143700"/>
              <a:gd name="connsiteY113" fmla="*/ 293298 h 1282460"/>
              <a:gd name="connsiteX114" fmla="*/ 8114581 w 9143700"/>
              <a:gd name="connsiteY114" fmla="*/ 264543 h 1282460"/>
              <a:gd name="connsiteX115" fmla="*/ 8137585 w 9143700"/>
              <a:gd name="connsiteY115" fmla="*/ 258792 h 1282460"/>
              <a:gd name="connsiteX116" fmla="*/ 8160589 w 9143700"/>
              <a:gd name="connsiteY116" fmla="*/ 247290 h 1282460"/>
              <a:gd name="connsiteX117" fmla="*/ 8183592 w 9143700"/>
              <a:gd name="connsiteY117" fmla="*/ 241540 h 1282460"/>
              <a:gd name="connsiteX118" fmla="*/ 8218098 w 9143700"/>
              <a:gd name="connsiteY118" fmla="*/ 230038 h 1282460"/>
              <a:gd name="connsiteX119" fmla="*/ 8235351 w 9143700"/>
              <a:gd name="connsiteY119" fmla="*/ 224287 h 1282460"/>
              <a:gd name="connsiteX120" fmla="*/ 8258355 w 9143700"/>
              <a:gd name="connsiteY120" fmla="*/ 218536 h 1282460"/>
              <a:gd name="connsiteX121" fmla="*/ 8287109 w 9143700"/>
              <a:gd name="connsiteY121" fmla="*/ 201283 h 1282460"/>
              <a:gd name="connsiteX122" fmla="*/ 8321615 w 9143700"/>
              <a:gd name="connsiteY122" fmla="*/ 189781 h 1282460"/>
              <a:gd name="connsiteX123" fmla="*/ 8361872 w 9143700"/>
              <a:gd name="connsiteY123" fmla="*/ 172528 h 1282460"/>
              <a:gd name="connsiteX124" fmla="*/ 8384875 w 9143700"/>
              <a:gd name="connsiteY124" fmla="*/ 161026 h 1282460"/>
              <a:gd name="connsiteX125" fmla="*/ 8402128 w 9143700"/>
              <a:gd name="connsiteY125" fmla="*/ 155275 h 1282460"/>
              <a:gd name="connsiteX126" fmla="*/ 8430883 w 9143700"/>
              <a:gd name="connsiteY126" fmla="*/ 143774 h 1282460"/>
              <a:gd name="connsiteX127" fmla="*/ 8476891 w 9143700"/>
              <a:gd name="connsiteY127" fmla="*/ 120770 h 1282460"/>
              <a:gd name="connsiteX128" fmla="*/ 8505645 w 9143700"/>
              <a:gd name="connsiteY128" fmla="*/ 115019 h 1282460"/>
              <a:gd name="connsiteX129" fmla="*/ 8522898 w 9143700"/>
              <a:gd name="connsiteY129" fmla="*/ 109268 h 1282460"/>
              <a:gd name="connsiteX130" fmla="*/ 8545902 w 9143700"/>
              <a:gd name="connsiteY130" fmla="*/ 103517 h 1282460"/>
              <a:gd name="connsiteX131" fmla="*/ 8563155 w 9143700"/>
              <a:gd name="connsiteY131" fmla="*/ 92015 h 1282460"/>
              <a:gd name="connsiteX132" fmla="*/ 8591909 w 9143700"/>
              <a:gd name="connsiteY132" fmla="*/ 86264 h 1282460"/>
              <a:gd name="connsiteX133" fmla="*/ 8637917 w 9143700"/>
              <a:gd name="connsiteY133" fmla="*/ 74762 h 1282460"/>
              <a:gd name="connsiteX134" fmla="*/ 8666672 w 9143700"/>
              <a:gd name="connsiteY134" fmla="*/ 69011 h 1282460"/>
              <a:gd name="connsiteX135" fmla="*/ 8729932 w 9143700"/>
              <a:gd name="connsiteY135" fmla="*/ 51758 h 1282460"/>
              <a:gd name="connsiteX136" fmla="*/ 8793192 w 9143700"/>
              <a:gd name="connsiteY136" fmla="*/ 46007 h 1282460"/>
              <a:gd name="connsiteX137" fmla="*/ 8862204 w 9143700"/>
              <a:gd name="connsiteY137" fmla="*/ 51758 h 1282460"/>
              <a:gd name="connsiteX138" fmla="*/ 8959970 w 9143700"/>
              <a:gd name="connsiteY138" fmla="*/ 40257 h 1282460"/>
              <a:gd name="connsiteX139" fmla="*/ 9023230 w 9143700"/>
              <a:gd name="connsiteY139" fmla="*/ 23004 h 1282460"/>
              <a:gd name="connsiteX140" fmla="*/ 9138249 w 9143700"/>
              <a:gd name="connsiteY140" fmla="*/ 17253 h 1282460"/>
              <a:gd name="connsiteX141" fmla="*/ 9138249 w 9143700"/>
              <a:gd name="connsiteY141" fmla="*/ 1282460 h 1282460"/>
              <a:gd name="connsiteX0" fmla="*/ 0 w 9149451"/>
              <a:gd name="connsiteY0" fmla="*/ 1236453 h 1282460"/>
              <a:gd name="connsiteX1" fmla="*/ 51758 w 9149451"/>
              <a:gd name="connsiteY1" fmla="*/ 40257 h 1282460"/>
              <a:gd name="connsiteX2" fmla="*/ 80513 w 9149451"/>
              <a:gd name="connsiteY2" fmla="*/ 28755 h 1282460"/>
              <a:gd name="connsiteX3" fmla="*/ 149525 w 9149451"/>
              <a:gd name="connsiteY3" fmla="*/ 17253 h 1282460"/>
              <a:gd name="connsiteX4" fmla="*/ 201283 w 9149451"/>
              <a:gd name="connsiteY4" fmla="*/ 5751 h 1282460"/>
              <a:gd name="connsiteX5" fmla="*/ 281796 w 9149451"/>
              <a:gd name="connsiteY5" fmla="*/ 0 h 1282460"/>
              <a:gd name="connsiteX6" fmla="*/ 563592 w 9149451"/>
              <a:gd name="connsiteY6" fmla="*/ 5751 h 1282460"/>
              <a:gd name="connsiteX7" fmla="*/ 661358 w 9149451"/>
              <a:gd name="connsiteY7" fmla="*/ 23004 h 1282460"/>
              <a:gd name="connsiteX8" fmla="*/ 707366 w 9149451"/>
              <a:gd name="connsiteY8" fmla="*/ 28755 h 1282460"/>
              <a:gd name="connsiteX9" fmla="*/ 736121 w 9149451"/>
              <a:gd name="connsiteY9" fmla="*/ 34506 h 1282460"/>
              <a:gd name="connsiteX10" fmla="*/ 799381 w 9149451"/>
              <a:gd name="connsiteY10" fmla="*/ 46007 h 1282460"/>
              <a:gd name="connsiteX11" fmla="*/ 885645 w 9149451"/>
              <a:gd name="connsiteY11" fmla="*/ 63260 h 1282460"/>
              <a:gd name="connsiteX12" fmla="*/ 971909 w 9149451"/>
              <a:gd name="connsiteY12" fmla="*/ 86264 h 1282460"/>
              <a:gd name="connsiteX13" fmla="*/ 1023668 w 9149451"/>
              <a:gd name="connsiteY13" fmla="*/ 92015 h 1282460"/>
              <a:gd name="connsiteX14" fmla="*/ 1040921 w 9149451"/>
              <a:gd name="connsiteY14" fmla="*/ 97766 h 1282460"/>
              <a:gd name="connsiteX15" fmla="*/ 1109932 w 9149451"/>
              <a:gd name="connsiteY15" fmla="*/ 109268 h 1282460"/>
              <a:gd name="connsiteX16" fmla="*/ 1190445 w 9149451"/>
              <a:gd name="connsiteY16" fmla="*/ 126521 h 1282460"/>
              <a:gd name="connsiteX17" fmla="*/ 1293962 w 9149451"/>
              <a:gd name="connsiteY17" fmla="*/ 143774 h 1282460"/>
              <a:gd name="connsiteX18" fmla="*/ 1357223 w 9149451"/>
              <a:gd name="connsiteY18" fmla="*/ 161026 h 1282460"/>
              <a:gd name="connsiteX19" fmla="*/ 1397479 w 9149451"/>
              <a:gd name="connsiteY19" fmla="*/ 166777 h 1282460"/>
              <a:gd name="connsiteX20" fmla="*/ 1489494 w 9149451"/>
              <a:gd name="connsiteY20" fmla="*/ 189781 h 1282460"/>
              <a:gd name="connsiteX21" fmla="*/ 1535502 w 9149451"/>
              <a:gd name="connsiteY21" fmla="*/ 201283 h 1282460"/>
              <a:gd name="connsiteX22" fmla="*/ 1621766 w 9149451"/>
              <a:gd name="connsiteY22" fmla="*/ 212785 h 1282460"/>
              <a:gd name="connsiteX23" fmla="*/ 1690777 w 9149451"/>
              <a:gd name="connsiteY23" fmla="*/ 230038 h 1282460"/>
              <a:gd name="connsiteX24" fmla="*/ 1713781 w 9149451"/>
              <a:gd name="connsiteY24" fmla="*/ 235789 h 1282460"/>
              <a:gd name="connsiteX25" fmla="*/ 1759789 w 9149451"/>
              <a:gd name="connsiteY25" fmla="*/ 241540 h 1282460"/>
              <a:gd name="connsiteX26" fmla="*/ 1782792 w 9149451"/>
              <a:gd name="connsiteY26" fmla="*/ 247290 h 1282460"/>
              <a:gd name="connsiteX27" fmla="*/ 1869057 w 9149451"/>
              <a:gd name="connsiteY27" fmla="*/ 258792 h 1282460"/>
              <a:gd name="connsiteX28" fmla="*/ 1961072 w 9149451"/>
              <a:gd name="connsiteY28" fmla="*/ 270294 h 1282460"/>
              <a:gd name="connsiteX29" fmla="*/ 2012830 w 9149451"/>
              <a:gd name="connsiteY29" fmla="*/ 276045 h 1282460"/>
              <a:gd name="connsiteX30" fmla="*/ 2047336 w 9149451"/>
              <a:gd name="connsiteY30" fmla="*/ 281796 h 1282460"/>
              <a:gd name="connsiteX31" fmla="*/ 2237117 w 9149451"/>
              <a:gd name="connsiteY31" fmla="*/ 293298 h 1282460"/>
              <a:gd name="connsiteX32" fmla="*/ 2467155 w 9149451"/>
              <a:gd name="connsiteY32" fmla="*/ 287547 h 1282460"/>
              <a:gd name="connsiteX33" fmla="*/ 2495909 w 9149451"/>
              <a:gd name="connsiteY33" fmla="*/ 281796 h 1282460"/>
              <a:gd name="connsiteX34" fmla="*/ 2559170 w 9149451"/>
              <a:gd name="connsiteY34" fmla="*/ 276045 h 1282460"/>
              <a:gd name="connsiteX35" fmla="*/ 2587925 w 9149451"/>
              <a:gd name="connsiteY35" fmla="*/ 270294 h 1282460"/>
              <a:gd name="connsiteX36" fmla="*/ 2633932 w 9149451"/>
              <a:gd name="connsiteY36" fmla="*/ 264543 h 1282460"/>
              <a:gd name="connsiteX37" fmla="*/ 2656936 w 9149451"/>
              <a:gd name="connsiteY37" fmla="*/ 253041 h 1282460"/>
              <a:gd name="connsiteX38" fmla="*/ 2679940 w 9149451"/>
              <a:gd name="connsiteY38" fmla="*/ 247290 h 1282460"/>
              <a:gd name="connsiteX39" fmla="*/ 2697192 w 9149451"/>
              <a:gd name="connsiteY39" fmla="*/ 241540 h 1282460"/>
              <a:gd name="connsiteX40" fmla="*/ 2743200 w 9149451"/>
              <a:gd name="connsiteY40" fmla="*/ 230038 h 1282460"/>
              <a:gd name="connsiteX41" fmla="*/ 2766204 w 9149451"/>
              <a:gd name="connsiteY41" fmla="*/ 224287 h 1282460"/>
              <a:gd name="connsiteX42" fmla="*/ 2794958 w 9149451"/>
              <a:gd name="connsiteY42" fmla="*/ 207034 h 1282460"/>
              <a:gd name="connsiteX43" fmla="*/ 2829464 w 9149451"/>
              <a:gd name="connsiteY43" fmla="*/ 195532 h 1282460"/>
              <a:gd name="connsiteX44" fmla="*/ 2846717 w 9149451"/>
              <a:gd name="connsiteY44" fmla="*/ 189781 h 1282460"/>
              <a:gd name="connsiteX45" fmla="*/ 2909977 w 9149451"/>
              <a:gd name="connsiteY45" fmla="*/ 172528 h 1282460"/>
              <a:gd name="connsiteX46" fmla="*/ 2961736 w 9149451"/>
              <a:gd name="connsiteY46" fmla="*/ 149524 h 1282460"/>
              <a:gd name="connsiteX47" fmla="*/ 2978989 w 9149451"/>
              <a:gd name="connsiteY47" fmla="*/ 143774 h 1282460"/>
              <a:gd name="connsiteX48" fmla="*/ 3001992 w 9149451"/>
              <a:gd name="connsiteY48" fmla="*/ 132272 h 1282460"/>
              <a:gd name="connsiteX49" fmla="*/ 3019245 w 9149451"/>
              <a:gd name="connsiteY49" fmla="*/ 126521 h 1282460"/>
              <a:gd name="connsiteX50" fmla="*/ 3042249 w 9149451"/>
              <a:gd name="connsiteY50" fmla="*/ 115019 h 1282460"/>
              <a:gd name="connsiteX51" fmla="*/ 3076755 w 9149451"/>
              <a:gd name="connsiteY51" fmla="*/ 109268 h 1282460"/>
              <a:gd name="connsiteX52" fmla="*/ 3111260 w 9149451"/>
              <a:gd name="connsiteY52" fmla="*/ 97766 h 1282460"/>
              <a:gd name="connsiteX53" fmla="*/ 3145766 w 9149451"/>
              <a:gd name="connsiteY53" fmla="*/ 92015 h 1282460"/>
              <a:gd name="connsiteX54" fmla="*/ 3168770 w 9149451"/>
              <a:gd name="connsiteY54" fmla="*/ 86264 h 1282460"/>
              <a:gd name="connsiteX55" fmla="*/ 3375804 w 9149451"/>
              <a:gd name="connsiteY55" fmla="*/ 80513 h 1282460"/>
              <a:gd name="connsiteX56" fmla="*/ 3559834 w 9149451"/>
              <a:gd name="connsiteY56" fmla="*/ 86264 h 1282460"/>
              <a:gd name="connsiteX57" fmla="*/ 3594340 w 9149451"/>
              <a:gd name="connsiteY57" fmla="*/ 103517 h 1282460"/>
              <a:gd name="connsiteX58" fmla="*/ 3634596 w 9149451"/>
              <a:gd name="connsiteY58" fmla="*/ 115019 h 1282460"/>
              <a:gd name="connsiteX59" fmla="*/ 3657600 w 9149451"/>
              <a:gd name="connsiteY59" fmla="*/ 126521 h 1282460"/>
              <a:gd name="connsiteX60" fmla="*/ 3680604 w 9149451"/>
              <a:gd name="connsiteY60" fmla="*/ 132272 h 1282460"/>
              <a:gd name="connsiteX61" fmla="*/ 3715109 w 9149451"/>
              <a:gd name="connsiteY61" fmla="*/ 143774 h 1282460"/>
              <a:gd name="connsiteX62" fmla="*/ 3732362 w 9149451"/>
              <a:gd name="connsiteY62" fmla="*/ 149524 h 1282460"/>
              <a:gd name="connsiteX63" fmla="*/ 3784121 w 9149451"/>
              <a:gd name="connsiteY63" fmla="*/ 155275 h 1282460"/>
              <a:gd name="connsiteX64" fmla="*/ 3847381 w 9149451"/>
              <a:gd name="connsiteY64" fmla="*/ 166777 h 1282460"/>
              <a:gd name="connsiteX65" fmla="*/ 3910642 w 9149451"/>
              <a:gd name="connsiteY65" fmla="*/ 172528 h 1282460"/>
              <a:gd name="connsiteX66" fmla="*/ 3979653 w 9149451"/>
              <a:gd name="connsiteY66" fmla="*/ 184030 h 1282460"/>
              <a:gd name="connsiteX67" fmla="*/ 4042913 w 9149451"/>
              <a:gd name="connsiteY67" fmla="*/ 189781 h 1282460"/>
              <a:gd name="connsiteX68" fmla="*/ 4106174 w 9149451"/>
              <a:gd name="connsiteY68" fmla="*/ 207034 h 1282460"/>
              <a:gd name="connsiteX69" fmla="*/ 4146430 w 9149451"/>
              <a:gd name="connsiteY69" fmla="*/ 218536 h 1282460"/>
              <a:gd name="connsiteX70" fmla="*/ 4169434 w 9149451"/>
              <a:gd name="connsiteY70" fmla="*/ 230038 h 1282460"/>
              <a:gd name="connsiteX71" fmla="*/ 4203940 w 9149451"/>
              <a:gd name="connsiteY71" fmla="*/ 235789 h 1282460"/>
              <a:gd name="connsiteX72" fmla="*/ 4232694 w 9149451"/>
              <a:gd name="connsiteY72" fmla="*/ 241540 h 1282460"/>
              <a:gd name="connsiteX73" fmla="*/ 4255698 w 9149451"/>
              <a:gd name="connsiteY73" fmla="*/ 247290 h 1282460"/>
              <a:gd name="connsiteX74" fmla="*/ 4433977 w 9149451"/>
              <a:gd name="connsiteY74" fmla="*/ 253041 h 1282460"/>
              <a:gd name="connsiteX75" fmla="*/ 4502989 w 9149451"/>
              <a:gd name="connsiteY75" fmla="*/ 258792 h 1282460"/>
              <a:gd name="connsiteX76" fmla="*/ 4525992 w 9149451"/>
              <a:gd name="connsiteY76" fmla="*/ 270294 h 1282460"/>
              <a:gd name="connsiteX77" fmla="*/ 4577751 w 9149451"/>
              <a:gd name="connsiteY77" fmla="*/ 293298 h 1282460"/>
              <a:gd name="connsiteX78" fmla="*/ 4629509 w 9149451"/>
              <a:gd name="connsiteY78" fmla="*/ 316302 h 1282460"/>
              <a:gd name="connsiteX79" fmla="*/ 4681268 w 9149451"/>
              <a:gd name="connsiteY79" fmla="*/ 339306 h 1282460"/>
              <a:gd name="connsiteX80" fmla="*/ 4704272 w 9149451"/>
              <a:gd name="connsiteY80" fmla="*/ 350807 h 1282460"/>
              <a:gd name="connsiteX81" fmla="*/ 4756030 w 9149451"/>
              <a:gd name="connsiteY81" fmla="*/ 368060 h 1282460"/>
              <a:gd name="connsiteX82" fmla="*/ 4773283 w 9149451"/>
              <a:gd name="connsiteY82" fmla="*/ 373811 h 1282460"/>
              <a:gd name="connsiteX83" fmla="*/ 4802038 w 9149451"/>
              <a:gd name="connsiteY83" fmla="*/ 391064 h 1282460"/>
              <a:gd name="connsiteX84" fmla="*/ 4842294 w 9149451"/>
              <a:gd name="connsiteY84" fmla="*/ 402566 h 1282460"/>
              <a:gd name="connsiteX85" fmla="*/ 4876800 w 9149451"/>
              <a:gd name="connsiteY85" fmla="*/ 414068 h 1282460"/>
              <a:gd name="connsiteX86" fmla="*/ 4917057 w 9149451"/>
              <a:gd name="connsiteY86" fmla="*/ 419819 h 1282460"/>
              <a:gd name="connsiteX87" fmla="*/ 5072332 w 9149451"/>
              <a:gd name="connsiteY87" fmla="*/ 431321 h 1282460"/>
              <a:gd name="connsiteX88" fmla="*/ 5262113 w 9149451"/>
              <a:gd name="connsiteY88" fmla="*/ 442823 h 1282460"/>
              <a:gd name="connsiteX89" fmla="*/ 5382883 w 9149451"/>
              <a:gd name="connsiteY89" fmla="*/ 454324 h 1282460"/>
              <a:gd name="connsiteX90" fmla="*/ 5520906 w 9149451"/>
              <a:gd name="connsiteY90" fmla="*/ 465826 h 1282460"/>
              <a:gd name="connsiteX91" fmla="*/ 5578415 w 9149451"/>
              <a:gd name="connsiteY91" fmla="*/ 471577 h 1282460"/>
              <a:gd name="connsiteX92" fmla="*/ 5762445 w 9149451"/>
              <a:gd name="connsiteY92" fmla="*/ 483079 h 1282460"/>
              <a:gd name="connsiteX93" fmla="*/ 6003985 w 9149451"/>
              <a:gd name="connsiteY93" fmla="*/ 494581 h 1282460"/>
              <a:gd name="connsiteX94" fmla="*/ 6308785 w 9149451"/>
              <a:gd name="connsiteY94" fmla="*/ 488830 h 1282460"/>
              <a:gd name="connsiteX95" fmla="*/ 6349042 w 9149451"/>
              <a:gd name="connsiteY95" fmla="*/ 477328 h 1282460"/>
              <a:gd name="connsiteX96" fmla="*/ 6400800 w 9149451"/>
              <a:gd name="connsiteY96" fmla="*/ 465826 h 1282460"/>
              <a:gd name="connsiteX97" fmla="*/ 6429555 w 9149451"/>
              <a:gd name="connsiteY97" fmla="*/ 460075 h 1282460"/>
              <a:gd name="connsiteX98" fmla="*/ 6458309 w 9149451"/>
              <a:gd name="connsiteY98" fmla="*/ 448574 h 1282460"/>
              <a:gd name="connsiteX99" fmla="*/ 6521570 w 9149451"/>
              <a:gd name="connsiteY99" fmla="*/ 437072 h 1282460"/>
              <a:gd name="connsiteX100" fmla="*/ 6567577 w 9149451"/>
              <a:gd name="connsiteY100" fmla="*/ 425570 h 1282460"/>
              <a:gd name="connsiteX101" fmla="*/ 6630838 w 9149451"/>
              <a:gd name="connsiteY101" fmla="*/ 408317 h 1282460"/>
              <a:gd name="connsiteX102" fmla="*/ 6648091 w 9149451"/>
              <a:gd name="connsiteY102" fmla="*/ 396815 h 1282460"/>
              <a:gd name="connsiteX103" fmla="*/ 6688347 w 9149451"/>
              <a:gd name="connsiteY103" fmla="*/ 385313 h 1282460"/>
              <a:gd name="connsiteX104" fmla="*/ 6751608 w 9149451"/>
              <a:gd name="connsiteY104" fmla="*/ 362309 h 1282460"/>
              <a:gd name="connsiteX105" fmla="*/ 6786113 w 9149451"/>
              <a:gd name="connsiteY105" fmla="*/ 350807 h 1282460"/>
              <a:gd name="connsiteX106" fmla="*/ 6809117 w 9149451"/>
              <a:gd name="connsiteY106" fmla="*/ 339306 h 1282460"/>
              <a:gd name="connsiteX107" fmla="*/ 6855125 w 9149451"/>
              <a:gd name="connsiteY107" fmla="*/ 333555 h 1282460"/>
              <a:gd name="connsiteX108" fmla="*/ 6906883 w 9149451"/>
              <a:gd name="connsiteY108" fmla="*/ 322053 h 1282460"/>
              <a:gd name="connsiteX109" fmla="*/ 6935638 w 9149451"/>
              <a:gd name="connsiteY109" fmla="*/ 316302 h 1282460"/>
              <a:gd name="connsiteX110" fmla="*/ 6970143 w 9149451"/>
              <a:gd name="connsiteY110" fmla="*/ 310551 h 1282460"/>
              <a:gd name="connsiteX111" fmla="*/ 7125419 w 9149451"/>
              <a:gd name="connsiteY111" fmla="*/ 304800 h 1282460"/>
              <a:gd name="connsiteX112" fmla="*/ 7924800 w 9149451"/>
              <a:gd name="connsiteY112" fmla="*/ 299049 h 1282460"/>
              <a:gd name="connsiteX113" fmla="*/ 7982309 w 9149451"/>
              <a:gd name="connsiteY113" fmla="*/ 293298 h 1282460"/>
              <a:gd name="connsiteX114" fmla="*/ 8120332 w 9149451"/>
              <a:gd name="connsiteY114" fmla="*/ 264543 h 1282460"/>
              <a:gd name="connsiteX115" fmla="*/ 8143336 w 9149451"/>
              <a:gd name="connsiteY115" fmla="*/ 258792 h 1282460"/>
              <a:gd name="connsiteX116" fmla="*/ 8166340 w 9149451"/>
              <a:gd name="connsiteY116" fmla="*/ 247290 h 1282460"/>
              <a:gd name="connsiteX117" fmla="*/ 8189343 w 9149451"/>
              <a:gd name="connsiteY117" fmla="*/ 241540 h 1282460"/>
              <a:gd name="connsiteX118" fmla="*/ 8223849 w 9149451"/>
              <a:gd name="connsiteY118" fmla="*/ 230038 h 1282460"/>
              <a:gd name="connsiteX119" fmla="*/ 8241102 w 9149451"/>
              <a:gd name="connsiteY119" fmla="*/ 224287 h 1282460"/>
              <a:gd name="connsiteX120" fmla="*/ 8264106 w 9149451"/>
              <a:gd name="connsiteY120" fmla="*/ 218536 h 1282460"/>
              <a:gd name="connsiteX121" fmla="*/ 8292860 w 9149451"/>
              <a:gd name="connsiteY121" fmla="*/ 201283 h 1282460"/>
              <a:gd name="connsiteX122" fmla="*/ 8327366 w 9149451"/>
              <a:gd name="connsiteY122" fmla="*/ 189781 h 1282460"/>
              <a:gd name="connsiteX123" fmla="*/ 8367623 w 9149451"/>
              <a:gd name="connsiteY123" fmla="*/ 172528 h 1282460"/>
              <a:gd name="connsiteX124" fmla="*/ 8390626 w 9149451"/>
              <a:gd name="connsiteY124" fmla="*/ 161026 h 1282460"/>
              <a:gd name="connsiteX125" fmla="*/ 8407879 w 9149451"/>
              <a:gd name="connsiteY125" fmla="*/ 155275 h 1282460"/>
              <a:gd name="connsiteX126" fmla="*/ 8436634 w 9149451"/>
              <a:gd name="connsiteY126" fmla="*/ 143774 h 1282460"/>
              <a:gd name="connsiteX127" fmla="*/ 8482642 w 9149451"/>
              <a:gd name="connsiteY127" fmla="*/ 120770 h 1282460"/>
              <a:gd name="connsiteX128" fmla="*/ 8511396 w 9149451"/>
              <a:gd name="connsiteY128" fmla="*/ 115019 h 1282460"/>
              <a:gd name="connsiteX129" fmla="*/ 8528649 w 9149451"/>
              <a:gd name="connsiteY129" fmla="*/ 109268 h 1282460"/>
              <a:gd name="connsiteX130" fmla="*/ 8551653 w 9149451"/>
              <a:gd name="connsiteY130" fmla="*/ 103517 h 1282460"/>
              <a:gd name="connsiteX131" fmla="*/ 8568906 w 9149451"/>
              <a:gd name="connsiteY131" fmla="*/ 92015 h 1282460"/>
              <a:gd name="connsiteX132" fmla="*/ 8597660 w 9149451"/>
              <a:gd name="connsiteY132" fmla="*/ 86264 h 1282460"/>
              <a:gd name="connsiteX133" fmla="*/ 8643668 w 9149451"/>
              <a:gd name="connsiteY133" fmla="*/ 74762 h 1282460"/>
              <a:gd name="connsiteX134" fmla="*/ 8672423 w 9149451"/>
              <a:gd name="connsiteY134" fmla="*/ 69011 h 1282460"/>
              <a:gd name="connsiteX135" fmla="*/ 8735683 w 9149451"/>
              <a:gd name="connsiteY135" fmla="*/ 51758 h 1282460"/>
              <a:gd name="connsiteX136" fmla="*/ 8798943 w 9149451"/>
              <a:gd name="connsiteY136" fmla="*/ 46007 h 1282460"/>
              <a:gd name="connsiteX137" fmla="*/ 8867955 w 9149451"/>
              <a:gd name="connsiteY137" fmla="*/ 51758 h 1282460"/>
              <a:gd name="connsiteX138" fmla="*/ 8965721 w 9149451"/>
              <a:gd name="connsiteY138" fmla="*/ 40257 h 1282460"/>
              <a:gd name="connsiteX139" fmla="*/ 9028981 w 9149451"/>
              <a:gd name="connsiteY139" fmla="*/ 23004 h 1282460"/>
              <a:gd name="connsiteX140" fmla="*/ 9144000 w 9149451"/>
              <a:gd name="connsiteY140" fmla="*/ 17253 h 1282460"/>
              <a:gd name="connsiteX141" fmla="*/ 9144000 w 9149451"/>
              <a:gd name="connsiteY141" fmla="*/ 1282460 h 1282460"/>
              <a:gd name="connsiteX0" fmla="*/ 15058 w 9164509"/>
              <a:gd name="connsiteY0" fmla="*/ 1236453 h 1282460"/>
              <a:gd name="connsiteX1" fmla="*/ 15059 w 9164509"/>
              <a:gd name="connsiteY1" fmla="*/ 46008 h 1282460"/>
              <a:gd name="connsiteX2" fmla="*/ 95571 w 9164509"/>
              <a:gd name="connsiteY2" fmla="*/ 28755 h 1282460"/>
              <a:gd name="connsiteX3" fmla="*/ 164583 w 9164509"/>
              <a:gd name="connsiteY3" fmla="*/ 17253 h 1282460"/>
              <a:gd name="connsiteX4" fmla="*/ 216341 w 9164509"/>
              <a:gd name="connsiteY4" fmla="*/ 5751 h 1282460"/>
              <a:gd name="connsiteX5" fmla="*/ 296854 w 9164509"/>
              <a:gd name="connsiteY5" fmla="*/ 0 h 1282460"/>
              <a:gd name="connsiteX6" fmla="*/ 578650 w 9164509"/>
              <a:gd name="connsiteY6" fmla="*/ 5751 h 1282460"/>
              <a:gd name="connsiteX7" fmla="*/ 676416 w 9164509"/>
              <a:gd name="connsiteY7" fmla="*/ 23004 h 1282460"/>
              <a:gd name="connsiteX8" fmla="*/ 722424 w 9164509"/>
              <a:gd name="connsiteY8" fmla="*/ 28755 h 1282460"/>
              <a:gd name="connsiteX9" fmla="*/ 751179 w 9164509"/>
              <a:gd name="connsiteY9" fmla="*/ 34506 h 1282460"/>
              <a:gd name="connsiteX10" fmla="*/ 814439 w 9164509"/>
              <a:gd name="connsiteY10" fmla="*/ 46007 h 1282460"/>
              <a:gd name="connsiteX11" fmla="*/ 900703 w 9164509"/>
              <a:gd name="connsiteY11" fmla="*/ 63260 h 1282460"/>
              <a:gd name="connsiteX12" fmla="*/ 986967 w 9164509"/>
              <a:gd name="connsiteY12" fmla="*/ 86264 h 1282460"/>
              <a:gd name="connsiteX13" fmla="*/ 1038726 w 9164509"/>
              <a:gd name="connsiteY13" fmla="*/ 92015 h 1282460"/>
              <a:gd name="connsiteX14" fmla="*/ 1055979 w 9164509"/>
              <a:gd name="connsiteY14" fmla="*/ 97766 h 1282460"/>
              <a:gd name="connsiteX15" fmla="*/ 1124990 w 9164509"/>
              <a:gd name="connsiteY15" fmla="*/ 109268 h 1282460"/>
              <a:gd name="connsiteX16" fmla="*/ 1205503 w 9164509"/>
              <a:gd name="connsiteY16" fmla="*/ 126521 h 1282460"/>
              <a:gd name="connsiteX17" fmla="*/ 1309020 w 9164509"/>
              <a:gd name="connsiteY17" fmla="*/ 143774 h 1282460"/>
              <a:gd name="connsiteX18" fmla="*/ 1372281 w 9164509"/>
              <a:gd name="connsiteY18" fmla="*/ 161026 h 1282460"/>
              <a:gd name="connsiteX19" fmla="*/ 1412537 w 9164509"/>
              <a:gd name="connsiteY19" fmla="*/ 166777 h 1282460"/>
              <a:gd name="connsiteX20" fmla="*/ 1504552 w 9164509"/>
              <a:gd name="connsiteY20" fmla="*/ 189781 h 1282460"/>
              <a:gd name="connsiteX21" fmla="*/ 1550560 w 9164509"/>
              <a:gd name="connsiteY21" fmla="*/ 201283 h 1282460"/>
              <a:gd name="connsiteX22" fmla="*/ 1636824 w 9164509"/>
              <a:gd name="connsiteY22" fmla="*/ 212785 h 1282460"/>
              <a:gd name="connsiteX23" fmla="*/ 1705835 w 9164509"/>
              <a:gd name="connsiteY23" fmla="*/ 230038 h 1282460"/>
              <a:gd name="connsiteX24" fmla="*/ 1728839 w 9164509"/>
              <a:gd name="connsiteY24" fmla="*/ 235789 h 1282460"/>
              <a:gd name="connsiteX25" fmla="*/ 1774847 w 9164509"/>
              <a:gd name="connsiteY25" fmla="*/ 241540 h 1282460"/>
              <a:gd name="connsiteX26" fmla="*/ 1797850 w 9164509"/>
              <a:gd name="connsiteY26" fmla="*/ 247290 h 1282460"/>
              <a:gd name="connsiteX27" fmla="*/ 1884115 w 9164509"/>
              <a:gd name="connsiteY27" fmla="*/ 258792 h 1282460"/>
              <a:gd name="connsiteX28" fmla="*/ 1976130 w 9164509"/>
              <a:gd name="connsiteY28" fmla="*/ 270294 h 1282460"/>
              <a:gd name="connsiteX29" fmla="*/ 2027888 w 9164509"/>
              <a:gd name="connsiteY29" fmla="*/ 276045 h 1282460"/>
              <a:gd name="connsiteX30" fmla="*/ 2062394 w 9164509"/>
              <a:gd name="connsiteY30" fmla="*/ 281796 h 1282460"/>
              <a:gd name="connsiteX31" fmla="*/ 2252175 w 9164509"/>
              <a:gd name="connsiteY31" fmla="*/ 293298 h 1282460"/>
              <a:gd name="connsiteX32" fmla="*/ 2482213 w 9164509"/>
              <a:gd name="connsiteY32" fmla="*/ 287547 h 1282460"/>
              <a:gd name="connsiteX33" fmla="*/ 2510967 w 9164509"/>
              <a:gd name="connsiteY33" fmla="*/ 281796 h 1282460"/>
              <a:gd name="connsiteX34" fmla="*/ 2574228 w 9164509"/>
              <a:gd name="connsiteY34" fmla="*/ 276045 h 1282460"/>
              <a:gd name="connsiteX35" fmla="*/ 2602983 w 9164509"/>
              <a:gd name="connsiteY35" fmla="*/ 270294 h 1282460"/>
              <a:gd name="connsiteX36" fmla="*/ 2648990 w 9164509"/>
              <a:gd name="connsiteY36" fmla="*/ 264543 h 1282460"/>
              <a:gd name="connsiteX37" fmla="*/ 2671994 w 9164509"/>
              <a:gd name="connsiteY37" fmla="*/ 253041 h 1282460"/>
              <a:gd name="connsiteX38" fmla="*/ 2694998 w 9164509"/>
              <a:gd name="connsiteY38" fmla="*/ 247290 h 1282460"/>
              <a:gd name="connsiteX39" fmla="*/ 2712250 w 9164509"/>
              <a:gd name="connsiteY39" fmla="*/ 241540 h 1282460"/>
              <a:gd name="connsiteX40" fmla="*/ 2758258 w 9164509"/>
              <a:gd name="connsiteY40" fmla="*/ 230038 h 1282460"/>
              <a:gd name="connsiteX41" fmla="*/ 2781262 w 9164509"/>
              <a:gd name="connsiteY41" fmla="*/ 224287 h 1282460"/>
              <a:gd name="connsiteX42" fmla="*/ 2810016 w 9164509"/>
              <a:gd name="connsiteY42" fmla="*/ 207034 h 1282460"/>
              <a:gd name="connsiteX43" fmla="*/ 2844522 w 9164509"/>
              <a:gd name="connsiteY43" fmla="*/ 195532 h 1282460"/>
              <a:gd name="connsiteX44" fmla="*/ 2861775 w 9164509"/>
              <a:gd name="connsiteY44" fmla="*/ 189781 h 1282460"/>
              <a:gd name="connsiteX45" fmla="*/ 2925035 w 9164509"/>
              <a:gd name="connsiteY45" fmla="*/ 172528 h 1282460"/>
              <a:gd name="connsiteX46" fmla="*/ 2976794 w 9164509"/>
              <a:gd name="connsiteY46" fmla="*/ 149524 h 1282460"/>
              <a:gd name="connsiteX47" fmla="*/ 2994047 w 9164509"/>
              <a:gd name="connsiteY47" fmla="*/ 143774 h 1282460"/>
              <a:gd name="connsiteX48" fmla="*/ 3017050 w 9164509"/>
              <a:gd name="connsiteY48" fmla="*/ 132272 h 1282460"/>
              <a:gd name="connsiteX49" fmla="*/ 3034303 w 9164509"/>
              <a:gd name="connsiteY49" fmla="*/ 126521 h 1282460"/>
              <a:gd name="connsiteX50" fmla="*/ 3057307 w 9164509"/>
              <a:gd name="connsiteY50" fmla="*/ 115019 h 1282460"/>
              <a:gd name="connsiteX51" fmla="*/ 3091813 w 9164509"/>
              <a:gd name="connsiteY51" fmla="*/ 109268 h 1282460"/>
              <a:gd name="connsiteX52" fmla="*/ 3126318 w 9164509"/>
              <a:gd name="connsiteY52" fmla="*/ 97766 h 1282460"/>
              <a:gd name="connsiteX53" fmla="*/ 3160824 w 9164509"/>
              <a:gd name="connsiteY53" fmla="*/ 92015 h 1282460"/>
              <a:gd name="connsiteX54" fmla="*/ 3183828 w 9164509"/>
              <a:gd name="connsiteY54" fmla="*/ 86264 h 1282460"/>
              <a:gd name="connsiteX55" fmla="*/ 3390862 w 9164509"/>
              <a:gd name="connsiteY55" fmla="*/ 80513 h 1282460"/>
              <a:gd name="connsiteX56" fmla="*/ 3574892 w 9164509"/>
              <a:gd name="connsiteY56" fmla="*/ 86264 h 1282460"/>
              <a:gd name="connsiteX57" fmla="*/ 3609398 w 9164509"/>
              <a:gd name="connsiteY57" fmla="*/ 103517 h 1282460"/>
              <a:gd name="connsiteX58" fmla="*/ 3649654 w 9164509"/>
              <a:gd name="connsiteY58" fmla="*/ 115019 h 1282460"/>
              <a:gd name="connsiteX59" fmla="*/ 3672658 w 9164509"/>
              <a:gd name="connsiteY59" fmla="*/ 126521 h 1282460"/>
              <a:gd name="connsiteX60" fmla="*/ 3695662 w 9164509"/>
              <a:gd name="connsiteY60" fmla="*/ 132272 h 1282460"/>
              <a:gd name="connsiteX61" fmla="*/ 3730167 w 9164509"/>
              <a:gd name="connsiteY61" fmla="*/ 143774 h 1282460"/>
              <a:gd name="connsiteX62" fmla="*/ 3747420 w 9164509"/>
              <a:gd name="connsiteY62" fmla="*/ 149524 h 1282460"/>
              <a:gd name="connsiteX63" fmla="*/ 3799179 w 9164509"/>
              <a:gd name="connsiteY63" fmla="*/ 155275 h 1282460"/>
              <a:gd name="connsiteX64" fmla="*/ 3862439 w 9164509"/>
              <a:gd name="connsiteY64" fmla="*/ 166777 h 1282460"/>
              <a:gd name="connsiteX65" fmla="*/ 3925700 w 9164509"/>
              <a:gd name="connsiteY65" fmla="*/ 172528 h 1282460"/>
              <a:gd name="connsiteX66" fmla="*/ 3994711 w 9164509"/>
              <a:gd name="connsiteY66" fmla="*/ 184030 h 1282460"/>
              <a:gd name="connsiteX67" fmla="*/ 4057971 w 9164509"/>
              <a:gd name="connsiteY67" fmla="*/ 189781 h 1282460"/>
              <a:gd name="connsiteX68" fmla="*/ 4121232 w 9164509"/>
              <a:gd name="connsiteY68" fmla="*/ 207034 h 1282460"/>
              <a:gd name="connsiteX69" fmla="*/ 4161488 w 9164509"/>
              <a:gd name="connsiteY69" fmla="*/ 218536 h 1282460"/>
              <a:gd name="connsiteX70" fmla="*/ 4184492 w 9164509"/>
              <a:gd name="connsiteY70" fmla="*/ 230038 h 1282460"/>
              <a:gd name="connsiteX71" fmla="*/ 4218998 w 9164509"/>
              <a:gd name="connsiteY71" fmla="*/ 235789 h 1282460"/>
              <a:gd name="connsiteX72" fmla="*/ 4247752 w 9164509"/>
              <a:gd name="connsiteY72" fmla="*/ 241540 h 1282460"/>
              <a:gd name="connsiteX73" fmla="*/ 4270756 w 9164509"/>
              <a:gd name="connsiteY73" fmla="*/ 247290 h 1282460"/>
              <a:gd name="connsiteX74" fmla="*/ 4449035 w 9164509"/>
              <a:gd name="connsiteY74" fmla="*/ 253041 h 1282460"/>
              <a:gd name="connsiteX75" fmla="*/ 4518047 w 9164509"/>
              <a:gd name="connsiteY75" fmla="*/ 258792 h 1282460"/>
              <a:gd name="connsiteX76" fmla="*/ 4541050 w 9164509"/>
              <a:gd name="connsiteY76" fmla="*/ 270294 h 1282460"/>
              <a:gd name="connsiteX77" fmla="*/ 4592809 w 9164509"/>
              <a:gd name="connsiteY77" fmla="*/ 293298 h 1282460"/>
              <a:gd name="connsiteX78" fmla="*/ 4644567 w 9164509"/>
              <a:gd name="connsiteY78" fmla="*/ 316302 h 1282460"/>
              <a:gd name="connsiteX79" fmla="*/ 4696326 w 9164509"/>
              <a:gd name="connsiteY79" fmla="*/ 339306 h 1282460"/>
              <a:gd name="connsiteX80" fmla="*/ 4719330 w 9164509"/>
              <a:gd name="connsiteY80" fmla="*/ 350807 h 1282460"/>
              <a:gd name="connsiteX81" fmla="*/ 4771088 w 9164509"/>
              <a:gd name="connsiteY81" fmla="*/ 368060 h 1282460"/>
              <a:gd name="connsiteX82" fmla="*/ 4788341 w 9164509"/>
              <a:gd name="connsiteY82" fmla="*/ 373811 h 1282460"/>
              <a:gd name="connsiteX83" fmla="*/ 4817096 w 9164509"/>
              <a:gd name="connsiteY83" fmla="*/ 391064 h 1282460"/>
              <a:gd name="connsiteX84" fmla="*/ 4857352 w 9164509"/>
              <a:gd name="connsiteY84" fmla="*/ 402566 h 1282460"/>
              <a:gd name="connsiteX85" fmla="*/ 4891858 w 9164509"/>
              <a:gd name="connsiteY85" fmla="*/ 414068 h 1282460"/>
              <a:gd name="connsiteX86" fmla="*/ 4932115 w 9164509"/>
              <a:gd name="connsiteY86" fmla="*/ 419819 h 1282460"/>
              <a:gd name="connsiteX87" fmla="*/ 5087390 w 9164509"/>
              <a:gd name="connsiteY87" fmla="*/ 431321 h 1282460"/>
              <a:gd name="connsiteX88" fmla="*/ 5277171 w 9164509"/>
              <a:gd name="connsiteY88" fmla="*/ 442823 h 1282460"/>
              <a:gd name="connsiteX89" fmla="*/ 5397941 w 9164509"/>
              <a:gd name="connsiteY89" fmla="*/ 454324 h 1282460"/>
              <a:gd name="connsiteX90" fmla="*/ 5535964 w 9164509"/>
              <a:gd name="connsiteY90" fmla="*/ 465826 h 1282460"/>
              <a:gd name="connsiteX91" fmla="*/ 5593473 w 9164509"/>
              <a:gd name="connsiteY91" fmla="*/ 471577 h 1282460"/>
              <a:gd name="connsiteX92" fmla="*/ 5777503 w 9164509"/>
              <a:gd name="connsiteY92" fmla="*/ 483079 h 1282460"/>
              <a:gd name="connsiteX93" fmla="*/ 6019043 w 9164509"/>
              <a:gd name="connsiteY93" fmla="*/ 494581 h 1282460"/>
              <a:gd name="connsiteX94" fmla="*/ 6323843 w 9164509"/>
              <a:gd name="connsiteY94" fmla="*/ 488830 h 1282460"/>
              <a:gd name="connsiteX95" fmla="*/ 6364100 w 9164509"/>
              <a:gd name="connsiteY95" fmla="*/ 477328 h 1282460"/>
              <a:gd name="connsiteX96" fmla="*/ 6415858 w 9164509"/>
              <a:gd name="connsiteY96" fmla="*/ 465826 h 1282460"/>
              <a:gd name="connsiteX97" fmla="*/ 6444613 w 9164509"/>
              <a:gd name="connsiteY97" fmla="*/ 460075 h 1282460"/>
              <a:gd name="connsiteX98" fmla="*/ 6473367 w 9164509"/>
              <a:gd name="connsiteY98" fmla="*/ 448574 h 1282460"/>
              <a:gd name="connsiteX99" fmla="*/ 6536628 w 9164509"/>
              <a:gd name="connsiteY99" fmla="*/ 437072 h 1282460"/>
              <a:gd name="connsiteX100" fmla="*/ 6582635 w 9164509"/>
              <a:gd name="connsiteY100" fmla="*/ 425570 h 1282460"/>
              <a:gd name="connsiteX101" fmla="*/ 6645896 w 9164509"/>
              <a:gd name="connsiteY101" fmla="*/ 408317 h 1282460"/>
              <a:gd name="connsiteX102" fmla="*/ 6663149 w 9164509"/>
              <a:gd name="connsiteY102" fmla="*/ 396815 h 1282460"/>
              <a:gd name="connsiteX103" fmla="*/ 6703405 w 9164509"/>
              <a:gd name="connsiteY103" fmla="*/ 385313 h 1282460"/>
              <a:gd name="connsiteX104" fmla="*/ 6766666 w 9164509"/>
              <a:gd name="connsiteY104" fmla="*/ 362309 h 1282460"/>
              <a:gd name="connsiteX105" fmla="*/ 6801171 w 9164509"/>
              <a:gd name="connsiteY105" fmla="*/ 350807 h 1282460"/>
              <a:gd name="connsiteX106" fmla="*/ 6824175 w 9164509"/>
              <a:gd name="connsiteY106" fmla="*/ 339306 h 1282460"/>
              <a:gd name="connsiteX107" fmla="*/ 6870183 w 9164509"/>
              <a:gd name="connsiteY107" fmla="*/ 333555 h 1282460"/>
              <a:gd name="connsiteX108" fmla="*/ 6921941 w 9164509"/>
              <a:gd name="connsiteY108" fmla="*/ 322053 h 1282460"/>
              <a:gd name="connsiteX109" fmla="*/ 6950696 w 9164509"/>
              <a:gd name="connsiteY109" fmla="*/ 316302 h 1282460"/>
              <a:gd name="connsiteX110" fmla="*/ 6985201 w 9164509"/>
              <a:gd name="connsiteY110" fmla="*/ 310551 h 1282460"/>
              <a:gd name="connsiteX111" fmla="*/ 7140477 w 9164509"/>
              <a:gd name="connsiteY111" fmla="*/ 304800 h 1282460"/>
              <a:gd name="connsiteX112" fmla="*/ 7939858 w 9164509"/>
              <a:gd name="connsiteY112" fmla="*/ 299049 h 1282460"/>
              <a:gd name="connsiteX113" fmla="*/ 7997367 w 9164509"/>
              <a:gd name="connsiteY113" fmla="*/ 293298 h 1282460"/>
              <a:gd name="connsiteX114" fmla="*/ 8135390 w 9164509"/>
              <a:gd name="connsiteY114" fmla="*/ 264543 h 1282460"/>
              <a:gd name="connsiteX115" fmla="*/ 8158394 w 9164509"/>
              <a:gd name="connsiteY115" fmla="*/ 258792 h 1282460"/>
              <a:gd name="connsiteX116" fmla="*/ 8181398 w 9164509"/>
              <a:gd name="connsiteY116" fmla="*/ 247290 h 1282460"/>
              <a:gd name="connsiteX117" fmla="*/ 8204401 w 9164509"/>
              <a:gd name="connsiteY117" fmla="*/ 241540 h 1282460"/>
              <a:gd name="connsiteX118" fmla="*/ 8238907 w 9164509"/>
              <a:gd name="connsiteY118" fmla="*/ 230038 h 1282460"/>
              <a:gd name="connsiteX119" fmla="*/ 8256160 w 9164509"/>
              <a:gd name="connsiteY119" fmla="*/ 224287 h 1282460"/>
              <a:gd name="connsiteX120" fmla="*/ 8279164 w 9164509"/>
              <a:gd name="connsiteY120" fmla="*/ 218536 h 1282460"/>
              <a:gd name="connsiteX121" fmla="*/ 8307918 w 9164509"/>
              <a:gd name="connsiteY121" fmla="*/ 201283 h 1282460"/>
              <a:gd name="connsiteX122" fmla="*/ 8342424 w 9164509"/>
              <a:gd name="connsiteY122" fmla="*/ 189781 h 1282460"/>
              <a:gd name="connsiteX123" fmla="*/ 8382681 w 9164509"/>
              <a:gd name="connsiteY123" fmla="*/ 172528 h 1282460"/>
              <a:gd name="connsiteX124" fmla="*/ 8405684 w 9164509"/>
              <a:gd name="connsiteY124" fmla="*/ 161026 h 1282460"/>
              <a:gd name="connsiteX125" fmla="*/ 8422937 w 9164509"/>
              <a:gd name="connsiteY125" fmla="*/ 155275 h 1282460"/>
              <a:gd name="connsiteX126" fmla="*/ 8451692 w 9164509"/>
              <a:gd name="connsiteY126" fmla="*/ 143774 h 1282460"/>
              <a:gd name="connsiteX127" fmla="*/ 8497700 w 9164509"/>
              <a:gd name="connsiteY127" fmla="*/ 120770 h 1282460"/>
              <a:gd name="connsiteX128" fmla="*/ 8526454 w 9164509"/>
              <a:gd name="connsiteY128" fmla="*/ 115019 h 1282460"/>
              <a:gd name="connsiteX129" fmla="*/ 8543707 w 9164509"/>
              <a:gd name="connsiteY129" fmla="*/ 109268 h 1282460"/>
              <a:gd name="connsiteX130" fmla="*/ 8566711 w 9164509"/>
              <a:gd name="connsiteY130" fmla="*/ 103517 h 1282460"/>
              <a:gd name="connsiteX131" fmla="*/ 8583964 w 9164509"/>
              <a:gd name="connsiteY131" fmla="*/ 92015 h 1282460"/>
              <a:gd name="connsiteX132" fmla="*/ 8612718 w 9164509"/>
              <a:gd name="connsiteY132" fmla="*/ 86264 h 1282460"/>
              <a:gd name="connsiteX133" fmla="*/ 8658726 w 9164509"/>
              <a:gd name="connsiteY133" fmla="*/ 74762 h 1282460"/>
              <a:gd name="connsiteX134" fmla="*/ 8687481 w 9164509"/>
              <a:gd name="connsiteY134" fmla="*/ 69011 h 1282460"/>
              <a:gd name="connsiteX135" fmla="*/ 8750741 w 9164509"/>
              <a:gd name="connsiteY135" fmla="*/ 51758 h 1282460"/>
              <a:gd name="connsiteX136" fmla="*/ 8814001 w 9164509"/>
              <a:gd name="connsiteY136" fmla="*/ 46007 h 1282460"/>
              <a:gd name="connsiteX137" fmla="*/ 8883013 w 9164509"/>
              <a:gd name="connsiteY137" fmla="*/ 51758 h 1282460"/>
              <a:gd name="connsiteX138" fmla="*/ 8980779 w 9164509"/>
              <a:gd name="connsiteY138" fmla="*/ 40257 h 1282460"/>
              <a:gd name="connsiteX139" fmla="*/ 9044039 w 9164509"/>
              <a:gd name="connsiteY139" fmla="*/ 23004 h 1282460"/>
              <a:gd name="connsiteX140" fmla="*/ 9159058 w 9164509"/>
              <a:gd name="connsiteY140" fmla="*/ 17253 h 1282460"/>
              <a:gd name="connsiteX141" fmla="*/ 9159058 w 9164509"/>
              <a:gd name="connsiteY141" fmla="*/ 1282460 h 1282460"/>
              <a:gd name="connsiteX0" fmla="*/ 15058 w 9164509"/>
              <a:gd name="connsiteY0" fmla="*/ 1236453 h 1282460"/>
              <a:gd name="connsiteX1" fmla="*/ 15059 w 9164509"/>
              <a:gd name="connsiteY1" fmla="*/ 46008 h 1282460"/>
              <a:gd name="connsiteX2" fmla="*/ 95571 w 9164509"/>
              <a:gd name="connsiteY2" fmla="*/ 28755 h 1282460"/>
              <a:gd name="connsiteX3" fmla="*/ 164583 w 9164509"/>
              <a:gd name="connsiteY3" fmla="*/ 17253 h 1282460"/>
              <a:gd name="connsiteX4" fmla="*/ 216341 w 9164509"/>
              <a:gd name="connsiteY4" fmla="*/ 5751 h 1282460"/>
              <a:gd name="connsiteX5" fmla="*/ 296854 w 9164509"/>
              <a:gd name="connsiteY5" fmla="*/ 0 h 1282460"/>
              <a:gd name="connsiteX6" fmla="*/ 578650 w 9164509"/>
              <a:gd name="connsiteY6" fmla="*/ 5751 h 1282460"/>
              <a:gd name="connsiteX7" fmla="*/ 676416 w 9164509"/>
              <a:gd name="connsiteY7" fmla="*/ 23004 h 1282460"/>
              <a:gd name="connsiteX8" fmla="*/ 722424 w 9164509"/>
              <a:gd name="connsiteY8" fmla="*/ 28755 h 1282460"/>
              <a:gd name="connsiteX9" fmla="*/ 751179 w 9164509"/>
              <a:gd name="connsiteY9" fmla="*/ 34506 h 1282460"/>
              <a:gd name="connsiteX10" fmla="*/ 814439 w 9164509"/>
              <a:gd name="connsiteY10" fmla="*/ 46007 h 1282460"/>
              <a:gd name="connsiteX11" fmla="*/ 900703 w 9164509"/>
              <a:gd name="connsiteY11" fmla="*/ 63260 h 1282460"/>
              <a:gd name="connsiteX12" fmla="*/ 986967 w 9164509"/>
              <a:gd name="connsiteY12" fmla="*/ 86264 h 1282460"/>
              <a:gd name="connsiteX13" fmla="*/ 1038726 w 9164509"/>
              <a:gd name="connsiteY13" fmla="*/ 92015 h 1282460"/>
              <a:gd name="connsiteX14" fmla="*/ 1055979 w 9164509"/>
              <a:gd name="connsiteY14" fmla="*/ 97766 h 1282460"/>
              <a:gd name="connsiteX15" fmla="*/ 1124990 w 9164509"/>
              <a:gd name="connsiteY15" fmla="*/ 109268 h 1282460"/>
              <a:gd name="connsiteX16" fmla="*/ 1205503 w 9164509"/>
              <a:gd name="connsiteY16" fmla="*/ 126521 h 1282460"/>
              <a:gd name="connsiteX17" fmla="*/ 1309020 w 9164509"/>
              <a:gd name="connsiteY17" fmla="*/ 143774 h 1282460"/>
              <a:gd name="connsiteX18" fmla="*/ 1372281 w 9164509"/>
              <a:gd name="connsiteY18" fmla="*/ 161026 h 1282460"/>
              <a:gd name="connsiteX19" fmla="*/ 1412537 w 9164509"/>
              <a:gd name="connsiteY19" fmla="*/ 166777 h 1282460"/>
              <a:gd name="connsiteX20" fmla="*/ 1504552 w 9164509"/>
              <a:gd name="connsiteY20" fmla="*/ 189781 h 1282460"/>
              <a:gd name="connsiteX21" fmla="*/ 1550560 w 9164509"/>
              <a:gd name="connsiteY21" fmla="*/ 201283 h 1282460"/>
              <a:gd name="connsiteX22" fmla="*/ 1636824 w 9164509"/>
              <a:gd name="connsiteY22" fmla="*/ 212785 h 1282460"/>
              <a:gd name="connsiteX23" fmla="*/ 1705835 w 9164509"/>
              <a:gd name="connsiteY23" fmla="*/ 230038 h 1282460"/>
              <a:gd name="connsiteX24" fmla="*/ 1728839 w 9164509"/>
              <a:gd name="connsiteY24" fmla="*/ 235789 h 1282460"/>
              <a:gd name="connsiteX25" fmla="*/ 1774847 w 9164509"/>
              <a:gd name="connsiteY25" fmla="*/ 241540 h 1282460"/>
              <a:gd name="connsiteX26" fmla="*/ 1797850 w 9164509"/>
              <a:gd name="connsiteY26" fmla="*/ 247290 h 1282460"/>
              <a:gd name="connsiteX27" fmla="*/ 1884115 w 9164509"/>
              <a:gd name="connsiteY27" fmla="*/ 258792 h 1282460"/>
              <a:gd name="connsiteX28" fmla="*/ 1976130 w 9164509"/>
              <a:gd name="connsiteY28" fmla="*/ 270294 h 1282460"/>
              <a:gd name="connsiteX29" fmla="*/ 2027888 w 9164509"/>
              <a:gd name="connsiteY29" fmla="*/ 276045 h 1282460"/>
              <a:gd name="connsiteX30" fmla="*/ 2062394 w 9164509"/>
              <a:gd name="connsiteY30" fmla="*/ 281796 h 1282460"/>
              <a:gd name="connsiteX31" fmla="*/ 2252175 w 9164509"/>
              <a:gd name="connsiteY31" fmla="*/ 293298 h 1282460"/>
              <a:gd name="connsiteX32" fmla="*/ 2482213 w 9164509"/>
              <a:gd name="connsiteY32" fmla="*/ 287547 h 1282460"/>
              <a:gd name="connsiteX33" fmla="*/ 2510967 w 9164509"/>
              <a:gd name="connsiteY33" fmla="*/ 281796 h 1282460"/>
              <a:gd name="connsiteX34" fmla="*/ 2574228 w 9164509"/>
              <a:gd name="connsiteY34" fmla="*/ 276045 h 1282460"/>
              <a:gd name="connsiteX35" fmla="*/ 2602983 w 9164509"/>
              <a:gd name="connsiteY35" fmla="*/ 270294 h 1282460"/>
              <a:gd name="connsiteX36" fmla="*/ 2648990 w 9164509"/>
              <a:gd name="connsiteY36" fmla="*/ 264543 h 1282460"/>
              <a:gd name="connsiteX37" fmla="*/ 2671994 w 9164509"/>
              <a:gd name="connsiteY37" fmla="*/ 253041 h 1282460"/>
              <a:gd name="connsiteX38" fmla="*/ 2694998 w 9164509"/>
              <a:gd name="connsiteY38" fmla="*/ 247290 h 1282460"/>
              <a:gd name="connsiteX39" fmla="*/ 2712250 w 9164509"/>
              <a:gd name="connsiteY39" fmla="*/ 241540 h 1282460"/>
              <a:gd name="connsiteX40" fmla="*/ 2758258 w 9164509"/>
              <a:gd name="connsiteY40" fmla="*/ 230038 h 1282460"/>
              <a:gd name="connsiteX41" fmla="*/ 2781262 w 9164509"/>
              <a:gd name="connsiteY41" fmla="*/ 224287 h 1282460"/>
              <a:gd name="connsiteX42" fmla="*/ 2810016 w 9164509"/>
              <a:gd name="connsiteY42" fmla="*/ 207034 h 1282460"/>
              <a:gd name="connsiteX43" fmla="*/ 2844522 w 9164509"/>
              <a:gd name="connsiteY43" fmla="*/ 195532 h 1282460"/>
              <a:gd name="connsiteX44" fmla="*/ 2861775 w 9164509"/>
              <a:gd name="connsiteY44" fmla="*/ 189781 h 1282460"/>
              <a:gd name="connsiteX45" fmla="*/ 2925035 w 9164509"/>
              <a:gd name="connsiteY45" fmla="*/ 172528 h 1282460"/>
              <a:gd name="connsiteX46" fmla="*/ 2976794 w 9164509"/>
              <a:gd name="connsiteY46" fmla="*/ 149524 h 1282460"/>
              <a:gd name="connsiteX47" fmla="*/ 2994047 w 9164509"/>
              <a:gd name="connsiteY47" fmla="*/ 143774 h 1282460"/>
              <a:gd name="connsiteX48" fmla="*/ 3017050 w 9164509"/>
              <a:gd name="connsiteY48" fmla="*/ 132272 h 1282460"/>
              <a:gd name="connsiteX49" fmla="*/ 3034303 w 9164509"/>
              <a:gd name="connsiteY49" fmla="*/ 126521 h 1282460"/>
              <a:gd name="connsiteX50" fmla="*/ 3057307 w 9164509"/>
              <a:gd name="connsiteY50" fmla="*/ 115019 h 1282460"/>
              <a:gd name="connsiteX51" fmla="*/ 3091813 w 9164509"/>
              <a:gd name="connsiteY51" fmla="*/ 109268 h 1282460"/>
              <a:gd name="connsiteX52" fmla="*/ 3126318 w 9164509"/>
              <a:gd name="connsiteY52" fmla="*/ 97766 h 1282460"/>
              <a:gd name="connsiteX53" fmla="*/ 3160824 w 9164509"/>
              <a:gd name="connsiteY53" fmla="*/ 92015 h 1282460"/>
              <a:gd name="connsiteX54" fmla="*/ 3183828 w 9164509"/>
              <a:gd name="connsiteY54" fmla="*/ 86264 h 1282460"/>
              <a:gd name="connsiteX55" fmla="*/ 3390862 w 9164509"/>
              <a:gd name="connsiteY55" fmla="*/ 80513 h 1282460"/>
              <a:gd name="connsiteX56" fmla="*/ 3574892 w 9164509"/>
              <a:gd name="connsiteY56" fmla="*/ 86264 h 1282460"/>
              <a:gd name="connsiteX57" fmla="*/ 3609398 w 9164509"/>
              <a:gd name="connsiteY57" fmla="*/ 103517 h 1282460"/>
              <a:gd name="connsiteX58" fmla="*/ 3649654 w 9164509"/>
              <a:gd name="connsiteY58" fmla="*/ 115019 h 1282460"/>
              <a:gd name="connsiteX59" fmla="*/ 3672658 w 9164509"/>
              <a:gd name="connsiteY59" fmla="*/ 126521 h 1282460"/>
              <a:gd name="connsiteX60" fmla="*/ 3695662 w 9164509"/>
              <a:gd name="connsiteY60" fmla="*/ 132272 h 1282460"/>
              <a:gd name="connsiteX61" fmla="*/ 3730167 w 9164509"/>
              <a:gd name="connsiteY61" fmla="*/ 143774 h 1282460"/>
              <a:gd name="connsiteX62" fmla="*/ 3747420 w 9164509"/>
              <a:gd name="connsiteY62" fmla="*/ 149524 h 1282460"/>
              <a:gd name="connsiteX63" fmla="*/ 3799179 w 9164509"/>
              <a:gd name="connsiteY63" fmla="*/ 155275 h 1282460"/>
              <a:gd name="connsiteX64" fmla="*/ 3862439 w 9164509"/>
              <a:gd name="connsiteY64" fmla="*/ 166777 h 1282460"/>
              <a:gd name="connsiteX65" fmla="*/ 3925700 w 9164509"/>
              <a:gd name="connsiteY65" fmla="*/ 172528 h 1282460"/>
              <a:gd name="connsiteX66" fmla="*/ 3994711 w 9164509"/>
              <a:gd name="connsiteY66" fmla="*/ 184030 h 1282460"/>
              <a:gd name="connsiteX67" fmla="*/ 4057971 w 9164509"/>
              <a:gd name="connsiteY67" fmla="*/ 189781 h 1282460"/>
              <a:gd name="connsiteX68" fmla="*/ 4121232 w 9164509"/>
              <a:gd name="connsiteY68" fmla="*/ 207034 h 1282460"/>
              <a:gd name="connsiteX69" fmla="*/ 4161488 w 9164509"/>
              <a:gd name="connsiteY69" fmla="*/ 218536 h 1282460"/>
              <a:gd name="connsiteX70" fmla="*/ 4184492 w 9164509"/>
              <a:gd name="connsiteY70" fmla="*/ 230038 h 1282460"/>
              <a:gd name="connsiteX71" fmla="*/ 4218998 w 9164509"/>
              <a:gd name="connsiteY71" fmla="*/ 235789 h 1282460"/>
              <a:gd name="connsiteX72" fmla="*/ 4247752 w 9164509"/>
              <a:gd name="connsiteY72" fmla="*/ 241540 h 1282460"/>
              <a:gd name="connsiteX73" fmla="*/ 4270756 w 9164509"/>
              <a:gd name="connsiteY73" fmla="*/ 247290 h 1282460"/>
              <a:gd name="connsiteX74" fmla="*/ 4449035 w 9164509"/>
              <a:gd name="connsiteY74" fmla="*/ 253041 h 1282460"/>
              <a:gd name="connsiteX75" fmla="*/ 4518047 w 9164509"/>
              <a:gd name="connsiteY75" fmla="*/ 258792 h 1282460"/>
              <a:gd name="connsiteX76" fmla="*/ 4541050 w 9164509"/>
              <a:gd name="connsiteY76" fmla="*/ 270294 h 1282460"/>
              <a:gd name="connsiteX77" fmla="*/ 4592809 w 9164509"/>
              <a:gd name="connsiteY77" fmla="*/ 293298 h 1282460"/>
              <a:gd name="connsiteX78" fmla="*/ 4644567 w 9164509"/>
              <a:gd name="connsiteY78" fmla="*/ 316302 h 1282460"/>
              <a:gd name="connsiteX79" fmla="*/ 4696326 w 9164509"/>
              <a:gd name="connsiteY79" fmla="*/ 339306 h 1282460"/>
              <a:gd name="connsiteX80" fmla="*/ 4719330 w 9164509"/>
              <a:gd name="connsiteY80" fmla="*/ 350807 h 1282460"/>
              <a:gd name="connsiteX81" fmla="*/ 4771088 w 9164509"/>
              <a:gd name="connsiteY81" fmla="*/ 368060 h 1282460"/>
              <a:gd name="connsiteX82" fmla="*/ 4788341 w 9164509"/>
              <a:gd name="connsiteY82" fmla="*/ 373811 h 1282460"/>
              <a:gd name="connsiteX83" fmla="*/ 4817096 w 9164509"/>
              <a:gd name="connsiteY83" fmla="*/ 391064 h 1282460"/>
              <a:gd name="connsiteX84" fmla="*/ 4857352 w 9164509"/>
              <a:gd name="connsiteY84" fmla="*/ 402566 h 1282460"/>
              <a:gd name="connsiteX85" fmla="*/ 4891858 w 9164509"/>
              <a:gd name="connsiteY85" fmla="*/ 414068 h 1282460"/>
              <a:gd name="connsiteX86" fmla="*/ 4932115 w 9164509"/>
              <a:gd name="connsiteY86" fmla="*/ 419819 h 1282460"/>
              <a:gd name="connsiteX87" fmla="*/ 5087390 w 9164509"/>
              <a:gd name="connsiteY87" fmla="*/ 431321 h 1282460"/>
              <a:gd name="connsiteX88" fmla="*/ 5277171 w 9164509"/>
              <a:gd name="connsiteY88" fmla="*/ 442823 h 1282460"/>
              <a:gd name="connsiteX89" fmla="*/ 5397941 w 9164509"/>
              <a:gd name="connsiteY89" fmla="*/ 454324 h 1282460"/>
              <a:gd name="connsiteX90" fmla="*/ 5535964 w 9164509"/>
              <a:gd name="connsiteY90" fmla="*/ 465826 h 1282460"/>
              <a:gd name="connsiteX91" fmla="*/ 5593473 w 9164509"/>
              <a:gd name="connsiteY91" fmla="*/ 471577 h 1282460"/>
              <a:gd name="connsiteX92" fmla="*/ 5777503 w 9164509"/>
              <a:gd name="connsiteY92" fmla="*/ 483079 h 1282460"/>
              <a:gd name="connsiteX93" fmla="*/ 6019043 w 9164509"/>
              <a:gd name="connsiteY93" fmla="*/ 494581 h 1282460"/>
              <a:gd name="connsiteX94" fmla="*/ 6323843 w 9164509"/>
              <a:gd name="connsiteY94" fmla="*/ 488830 h 1282460"/>
              <a:gd name="connsiteX95" fmla="*/ 6364100 w 9164509"/>
              <a:gd name="connsiteY95" fmla="*/ 477328 h 1282460"/>
              <a:gd name="connsiteX96" fmla="*/ 6415858 w 9164509"/>
              <a:gd name="connsiteY96" fmla="*/ 465826 h 1282460"/>
              <a:gd name="connsiteX97" fmla="*/ 6444613 w 9164509"/>
              <a:gd name="connsiteY97" fmla="*/ 460075 h 1282460"/>
              <a:gd name="connsiteX98" fmla="*/ 6473367 w 9164509"/>
              <a:gd name="connsiteY98" fmla="*/ 448574 h 1282460"/>
              <a:gd name="connsiteX99" fmla="*/ 6536628 w 9164509"/>
              <a:gd name="connsiteY99" fmla="*/ 437072 h 1282460"/>
              <a:gd name="connsiteX100" fmla="*/ 6582635 w 9164509"/>
              <a:gd name="connsiteY100" fmla="*/ 425570 h 1282460"/>
              <a:gd name="connsiteX101" fmla="*/ 6645896 w 9164509"/>
              <a:gd name="connsiteY101" fmla="*/ 408317 h 1282460"/>
              <a:gd name="connsiteX102" fmla="*/ 6663149 w 9164509"/>
              <a:gd name="connsiteY102" fmla="*/ 396815 h 1282460"/>
              <a:gd name="connsiteX103" fmla="*/ 6703405 w 9164509"/>
              <a:gd name="connsiteY103" fmla="*/ 385313 h 1282460"/>
              <a:gd name="connsiteX104" fmla="*/ 6766666 w 9164509"/>
              <a:gd name="connsiteY104" fmla="*/ 362309 h 1282460"/>
              <a:gd name="connsiteX105" fmla="*/ 6801171 w 9164509"/>
              <a:gd name="connsiteY105" fmla="*/ 350807 h 1282460"/>
              <a:gd name="connsiteX106" fmla="*/ 6824175 w 9164509"/>
              <a:gd name="connsiteY106" fmla="*/ 339306 h 1282460"/>
              <a:gd name="connsiteX107" fmla="*/ 6870183 w 9164509"/>
              <a:gd name="connsiteY107" fmla="*/ 333555 h 1282460"/>
              <a:gd name="connsiteX108" fmla="*/ 6921941 w 9164509"/>
              <a:gd name="connsiteY108" fmla="*/ 322053 h 1282460"/>
              <a:gd name="connsiteX109" fmla="*/ 6950696 w 9164509"/>
              <a:gd name="connsiteY109" fmla="*/ 316302 h 1282460"/>
              <a:gd name="connsiteX110" fmla="*/ 6985201 w 9164509"/>
              <a:gd name="connsiteY110" fmla="*/ 310551 h 1282460"/>
              <a:gd name="connsiteX111" fmla="*/ 7140477 w 9164509"/>
              <a:gd name="connsiteY111" fmla="*/ 304800 h 1282460"/>
              <a:gd name="connsiteX112" fmla="*/ 7939858 w 9164509"/>
              <a:gd name="connsiteY112" fmla="*/ 299049 h 1282460"/>
              <a:gd name="connsiteX113" fmla="*/ 7997367 w 9164509"/>
              <a:gd name="connsiteY113" fmla="*/ 293298 h 1282460"/>
              <a:gd name="connsiteX114" fmla="*/ 8135390 w 9164509"/>
              <a:gd name="connsiteY114" fmla="*/ 264543 h 1282460"/>
              <a:gd name="connsiteX115" fmla="*/ 8158394 w 9164509"/>
              <a:gd name="connsiteY115" fmla="*/ 258792 h 1282460"/>
              <a:gd name="connsiteX116" fmla="*/ 8181398 w 9164509"/>
              <a:gd name="connsiteY116" fmla="*/ 247290 h 1282460"/>
              <a:gd name="connsiteX117" fmla="*/ 8204401 w 9164509"/>
              <a:gd name="connsiteY117" fmla="*/ 241540 h 1282460"/>
              <a:gd name="connsiteX118" fmla="*/ 8238907 w 9164509"/>
              <a:gd name="connsiteY118" fmla="*/ 230038 h 1282460"/>
              <a:gd name="connsiteX119" fmla="*/ 8256160 w 9164509"/>
              <a:gd name="connsiteY119" fmla="*/ 224287 h 1282460"/>
              <a:gd name="connsiteX120" fmla="*/ 8279164 w 9164509"/>
              <a:gd name="connsiteY120" fmla="*/ 218536 h 1282460"/>
              <a:gd name="connsiteX121" fmla="*/ 8307918 w 9164509"/>
              <a:gd name="connsiteY121" fmla="*/ 201283 h 1282460"/>
              <a:gd name="connsiteX122" fmla="*/ 8342424 w 9164509"/>
              <a:gd name="connsiteY122" fmla="*/ 189781 h 1282460"/>
              <a:gd name="connsiteX123" fmla="*/ 8382681 w 9164509"/>
              <a:gd name="connsiteY123" fmla="*/ 172528 h 1282460"/>
              <a:gd name="connsiteX124" fmla="*/ 8405684 w 9164509"/>
              <a:gd name="connsiteY124" fmla="*/ 161026 h 1282460"/>
              <a:gd name="connsiteX125" fmla="*/ 8422937 w 9164509"/>
              <a:gd name="connsiteY125" fmla="*/ 155275 h 1282460"/>
              <a:gd name="connsiteX126" fmla="*/ 8451692 w 9164509"/>
              <a:gd name="connsiteY126" fmla="*/ 143774 h 1282460"/>
              <a:gd name="connsiteX127" fmla="*/ 8497700 w 9164509"/>
              <a:gd name="connsiteY127" fmla="*/ 120770 h 1282460"/>
              <a:gd name="connsiteX128" fmla="*/ 8526454 w 9164509"/>
              <a:gd name="connsiteY128" fmla="*/ 115019 h 1282460"/>
              <a:gd name="connsiteX129" fmla="*/ 8543707 w 9164509"/>
              <a:gd name="connsiteY129" fmla="*/ 109268 h 1282460"/>
              <a:gd name="connsiteX130" fmla="*/ 8566711 w 9164509"/>
              <a:gd name="connsiteY130" fmla="*/ 103517 h 1282460"/>
              <a:gd name="connsiteX131" fmla="*/ 8583964 w 9164509"/>
              <a:gd name="connsiteY131" fmla="*/ 92015 h 1282460"/>
              <a:gd name="connsiteX132" fmla="*/ 8612718 w 9164509"/>
              <a:gd name="connsiteY132" fmla="*/ 86264 h 1282460"/>
              <a:gd name="connsiteX133" fmla="*/ 8658726 w 9164509"/>
              <a:gd name="connsiteY133" fmla="*/ 74762 h 1282460"/>
              <a:gd name="connsiteX134" fmla="*/ 8687481 w 9164509"/>
              <a:gd name="connsiteY134" fmla="*/ 69011 h 1282460"/>
              <a:gd name="connsiteX135" fmla="*/ 8750741 w 9164509"/>
              <a:gd name="connsiteY135" fmla="*/ 51758 h 1282460"/>
              <a:gd name="connsiteX136" fmla="*/ 8814001 w 9164509"/>
              <a:gd name="connsiteY136" fmla="*/ 46007 h 1282460"/>
              <a:gd name="connsiteX137" fmla="*/ 8883013 w 9164509"/>
              <a:gd name="connsiteY137" fmla="*/ 51758 h 1282460"/>
              <a:gd name="connsiteX138" fmla="*/ 8980779 w 9164509"/>
              <a:gd name="connsiteY138" fmla="*/ 40257 h 1282460"/>
              <a:gd name="connsiteX139" fmla="*/ 9044039 w 9164509"/>
              <a:gd name="connsiteY139" fmla="*/ 23004 h 1282460"/>
              <a:gd name="connsiteX140" fmla="*/ 9159058 w 9164509"/>
              <a:gd name="connsiteY140" fmla="*/ 17253 h 1282460"/>
              <a:gd name="connsiteX141" fmla="*/ 9159058 w 9164509"/>
              <a:gd name="connsiteY141" fmla="*/ 1282460 h 1282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9164509" h="1282460">
                <a:moveTo>
                  <a:pt x="15058" y="1236453"/>
                </a:moveTo>
                <a:cubicBezTo>
                  <a:pt x="30394" y="1234536"/>
                  <a:pt x="0" y="49483"/>
                  <a:pt x="15059" y="46008"/>
                </a:cubicBezTo>
                <a:cubicBezTo>
                  <a:pt x="25118" y="43687"/>
                  <a:pt x="85522" y="31119"/>
                  <a:pt x="95571" y="28755"/>
                </a:cubicBezTo>
                <a:cubicBezTo>
                  <a:pt x="118272" y="23414"/>
                  <a:pt x="141958" y="22909"/>
                  <a:pt x="164583" y="17253"/>
                </a:cubicBezTo>
                <a:cubicBezTo>
                  <a:pt x="177750" y="13961"/>
                  <a:pt x="203728" y="7079"/>
                  <a:pt x="216341" y="5751"/>
                </a:cubicBezTo>
                <a:cubicBezTo>
                  <a:pt x="243099" y="2934"/>
                  <a:pt x="270016" y="1917"/>
                  <a:pt x="296854" y="0"/>
                </a:cubicBezTo>
                <a:lnTo>
                  <a:pt x="578650" y="5751"/>
                </a:lnTo>
                <a:cubicBezTo>
                  <a:pt x="640524" y="7885"/>
                  <a:pt x="618664" y="12175"/>
                  <a:pt x="676416" y="23004"/>
                </a:cubicBezTo>
                <a:cubicBezTo>
                  <a:pt x="691607" y="25852"/>
                  <a:pt x="707148" y="26405"/>
                  <a:pt x="722424" y="28755"/>
                </a:cubicBezTo>
                <a:cubicBezTo>
                  <a:pt x="732085" y="30241"/>
                  <a:pt x="741562" y="32757"/>
                  <a:pt x="751179" y="34506"/>
                </a:cubicBezTo>
                <a:cubicBezTo>
                  <a:pt x="832186" y="49235"/>
                  <a:pt x="743350" y="31792"/>
                  <a:pt x="814439" y="46007"/>
                </a:cubicBezTo>
                <a:cubicBezTo>
                  <a:pt x="871459" y="68815"/>
                  <a:pt x="813556" y="48735"/>
                  <a:pt x="900703" y="63260"/>
                </a:cubicBezTo>
                <a:cubicBezTo>
                  <a:pt x="1018215" y="82846"/>
                  <a:pt x="880338" y="66271"/>
                  <a:pt x="986967" y="86264"/>
                </a:cubicBezTo>
                <a:cubicBezTo>
                  <a:pt x="1004029" y="89463"/>
                  <a:pt x="1021473" y="90098"/>
                  <a:pt x="1038726" y="92015"/>
                </a:cubicBezTo>
                <a:cubicBezTo>
                  <a:pt x="1044477" y="93932"/>
                  <a:pt x="1050035" y="96577"/>
                  <a:pt x="1055979" y="97766"/>
                </a:cubicBezTo>
                <a:cubicBezTo>
                  <a:pt x="1078847" y="102340"/>
                  <a:pt x="1102566" y="102861"/>
                  <a:pt x="1124990" y="109268"/>
                </a:cubicBezTo>
                <a:cubicBezTo>
                  <a:pt x="1233953" y="140400"/>
                  <a:pt x="1097358" y="103347"/>
                  <a:pt x="1205503" y="126521"/>
                </a:cubicBezTo>
                <a:cubicBezTo>
                  <a:pt x="1301211" y="147030"/>
                  <a:pt x="1178621" y="131919"/>
                  <a:pt x="1309020" y="143774"/>
                </a:cubicBezTo>
                <a:cubicBezTo>
                  <a:pt x="1330074" y="150791"/>
                  <a:pt x="1349588" y="157784"/>
                  <a:pt x="1372281" y="161026"/>
                </a:cubicBezTo>
                <a:cubicBezTo>
                  <a:pt x="1385700" y="162943"/>
                  <a:pt x="1399245" y="164119"/>
                  <a:pt x="1412537" y="166777"/>
                </a:cubicBezTo>
                <a:cubicBezTo>
                  <a:pt x="1412544" y="166778"/>
                  <a:pt x="1504545" y="189779"/>
                  <a:pt x="1504552" y="189781"/>
                </a:cubicBezTo>
                <a:cubicBezTo>
                  <a:pt x="1519888" y="193615"/>
                  <a:pt x="1534849" y="199537"/>
                  <a:pt x="1550560" y="201283"/>
                </a:cubicBezTo>
                <a:cubicBezTo>
                  <a:pt x="1578434" y="204380"/>
                  <a:pt x="1609024" y="206828"/>
                  <a:pt x="1636824" y="212785"/>
                </a:cubicBezTo>
                <a:cubicBezTo>
                  <a:pt x="1636844" y="212789"/>
                  <a:pt x="1694323" y="227160"/>
                  <a:pt x="1705835" y="230038"/>
                </a:cubicBezTo>
                <a:cubicBezTo>
                  <a:pt x="1713503" y="231955"/>
                  <a:pt x="1720996" y="234809"/>
                  <a:pt x="1728839" y="235789"/>
                </a:cubicBezTo>
                <a:cubicBezTo>
                  <a:pt x="1744175" y="237706"/>
                  <a:pt x="1759602" y="238999"/>
                  <a:pt x="1774847" y="241540"/>
                </a:cubicBezTo>
                <a:cubicBezTo>
                  <a:pt x="1782643" y="242839"/>
                  <a:pt x="1790074" y="245876"/>
                  <a:pt x="1797850" y="247290"/>
                </a:cubicBezTo>
                <a:cubicBezTo>
                  <a:pt x="1815315" y="250465"/>
                  <a:pt x="1868088" y="256789"/>
                  <a:pt x="1884115" y="258792"/>
                </a:cubicBezTo>
                <a:cubicBezTo>
                  <a:pt x="1931538" y="270648"/>
                  <a:pt x="1893327" y="262408"/>
                  <a:pt x="1976130" y="270294"/>
                </a:cubicBezTo>
                <a:cubicBezTo>
                  <a:pt x="1993411" y="271940"/>
                  <a:pt x="2010681" y="273751"/>
                  <a:pt x="2027888" y="276045"/>
                </a:cubicBezTo>
                <a:cubicBezTo>
                  <a:pt x="2039446" y="277586"/>
                  <a:pt x="2050768" y="280902"/>
                  <a:pt x="2062394" y="281796"/>
                </a:cubicBezTo>
                <a:cubicBezTo>
                  <a:pt x="2125584" y="286657"/>
                  <a:pt x="2252175" y="293298"/>
                  <a:pt x="2252175" y="293298"/>
                </a:cubicBezTo>
                <a:lnTo>
                  <a:pt x="2482213" y="287547"/>
                </a:lnTo>
                <a:cubicBezTo>
                  <a:pt x="2491978" y="287113"/>
                  <a:pt x="2501268" y="283008"/>
                  <a:pt x="2510967" y="281796"/>
                </a:cubicBezTo>
                <a:cubicBezTo>
                  <a:pt x="2531977" y="279170"/>
                  <a:pt x="2553141" y="277962"/>
                  <a:pt x="2574228" y="276045"/>
                </a:cubicBezTo>
                <a:cubicBezTo>
                  <a:pt x="2583813" y="274128"/>
                  <a:pt x="2593322" y="271780"/>
                  <a:pt x="2602983" y="270294"/>
                </a:cubicBezTo>
                <a:cubicBezTo>
                  <a:pt x="2618258" y="267944"/>
                  <a:pt x="2633996" y="268291"/>
                  <a:pt x="2648990" y="264543"/>
                </a:cubicBezTo>
                <a:cubicBezTo>
                  <a:pt x="2657307" y="262464"/>
                  <a:pt x="2663967" y="256051"/>
                  <a:pt x="2671994" y="253041"/>
                </a:cubicBezTo>
                <a:cubicBezTo>
                  <a:pt x="2679395" y="250266"/>
                  <a:pt x="2687398" y="249461"/>
                  <a:pt x="2694998" y="247290"/>
                </a:cubicBezTo>
                <a:cubicBezTo>
                  <a:pt x="2700826" y="245625"/>
                  <a:pt x="2706402" y="243135"/>
                  <a:pt x="2712250" y="241540"/>
                </a:cubicBezTo>
                <a:cubicBezTo>
                  <a:pt x="2727501" y="237381"/>
                  <a:pt x="2742922" y="233872"/>
                  <a:pt x="2758258" y="230038"/>
                </a:cubicBezTo>
                <a:lnTo>
                  <a:pt x="2781262" y="224287"/>
                </a:lnTo>
                <a:cubicBezTo>
                  <a:pt x="2790847" y="218536"/>
                  <a:pt x="2799840" y="211659"/>
                  <a:pt x="2810016" y="207034"/>
                </a:cubicBezTo>
                <a:cubicBezTo>
                  <a:pt x="2821053" y="202017"/>
                  <a:pt x="2833020" y="199366"/>
                  <a:pt x="2844522" y="195532"/>
                </a:cubicBezTo>
                <a:cubicBezTo>
                  <a:pt x="2850273" y="193615"/>
                  <a:pt x="2855894" y="191251"/>
                  <a:pt x="2861775" y="189781"/>
                </a:cubicBezTo>
                <a:cubicBezTo>
                  <a:pt x="2885640" y="183815"/>
                  <a:pt x="2903532" y="180592"/>
                  <a:pt x="2925035" y="172528"/>
                </a:cubicBezTo>
                <a:cubicBezTo>
                  <a:pt x="2996420" y="145758"/>
                  <a:pt x="2915765" y="175678"/>
                  <a:pt x="2976794" y="149524"/>
                </a:cubicBezTo>
                <a:cubicBezTo>
                  <a:pt x="2982366" y="147136"/>
                  <a:pt x="2988475" y="146162"/>
                  <a:pt x="2994047" y="143774"/>
                </a:cubicBezTo>
                <a:cubicBezTo>
                  <a:pt x="3001927" y="140397"/>
                  <a:pt x="3009170" y="135649"/>
                  <a:pt x="3017050" y="132272"/>
                </a:cubicBezTo>
                <a:cubicBezTo>
                  <a:pt x="3022622" y="129884"/>
                  <a:pt x="3028731" y="128909"/>
                  <a:pt x="3034303" y="126521"/>
                </a:cubicBezTo>
                <a:cubicBezTo>
                  <a:pt x="3042183" y="123144"/>
                  <a:pt x="3049095" y="117482"/>
                  <a:pt x="3057307" y="115019"/>
                </a:cubicBezTo>
                <a:cubicBezTo>
                  <a:pt x="3068476" y="111668"/>
                  <a:pt x="3080501" y="112096"/>
                  <a:pt x="3091813" y="109268"/>
                </a:cubicBezTo>
                <a:cubicBezTo>
                  <a:pt x="3103575" y="106327"/>
                  <a:pt x="3114359" y="99759"/>
                  <a:pt x="3126318" y="97766"/>
                </a:cubicBezTo>
                <a:cubicBezTo>
                  <a:pt x="3137820" y="95849"/>
                  <a:pt x="3149390" y="94302"/>
                  <a:pt x="3160824" y="92015"/>
                </a:cubicBezTo>
                <a:cubicBezTo>
                  <a:pt x="3168575" y="90465"/>
                  <a:pt x="3175934" y="86659"/>
                  <a:pt x="3183828" y="86264"/>
                </a:cubicBezTo>
                <a:cubicBezTo>
                  <a:pt x="3252780" y="82816"/>
                  <a:pt x="3321851" y="82430"/>
                  <a:pt x="3390862" y="80513"/>
                </a:cubicBezTo>
                <a:cubicBezTo>
                  <a:pt x="3452205" y="82430"/>
                  <a:pt x="3513619" y="82763"/>
                  <a:pt x="3574892" y="86264"/>
                </a:cubicBezTo>
                <a:cubicBezTo>
                  <a:pt x="3591212" y="87197"/>
                  <a:pt x="3595641" y="96638"/>
                  <a:pt x="3609398" y="103517"/>
                </a:cubicBezTo>
                <a:cubicBezTo>
                  <a:pt x="3623303" y="110469"/>
                  <a:pt x="3634911" y="109490"/>
                  <a:pt x="3649654" y="115019"/>
                </a:cubicBezTo>
                <a:cubicBezTo>
                  <a:pt x="3657681" y="118029"/>
                  <a:pt x="3664631" y="123511"/>
                  <a:pt x="3672658" y="126521"/>
                </a:cubicBezTo>
                <a:cubicBezTo>
                  <a:pt x="3680059" y="129296"/>
                  <a:pt x="3688091" y="130001"/>
                  <a:pt x="3695662" y="132272"/>
                </a:cubicBezTo>
                <a:cubicBezTo>
                  <a:pt x="3707275" y="135756"/>
                  <a:pt x="3718665" y="139940"/>
                  <a:pt x="3730167" y="143774"/>
                </a:cubicBezTo>
                <a:cubicBezTo>
                  <a:pt x="3735918" y="145691"/>
                  <a:pt x="3741395" y="148855"/>
                  <a:pt x="3747420" y="149524"/>
                </a:cubicBezTo>
                <a:cubicBezTo>
                  <a:pt x="3764673" y="151441"/>
                  <a:pt x="3781994" y="152820"/>
                  <a:pt x="3799179" y="155275"/>
                </a:cubicBezTo>
                <a:cubicBezTo>
                  <a:pt x="3858510" y="163751"/>
                  <a:pt x="3795454" y="158896"/>
                  <a:pt x="3862439" y="166777"/>
                </a:cubicBezTo>
                <a:cubicBezTo>
                  <a:pt x="3883468" y="169251"/>
                  <a:pt x="3904613" y="170611"/>
                  <a:pt x="3925700" y="172528"/>
                </a:cubicBezTo>
                <a:cubicBezTo>
                  <a:pt x="3958460" y="183448"/>
                  <a:pt x="3939678" y="178527"/>
                  <a:pt x="3994711" y="184030"/>
                </a:cubicBezTo>
                <a:lnTo>
                  <a:pt x="4057971" y="189781"/>
                </a:lnTo>
                <a:cubicBezTo>
                  <a:pt x="4157421" y="209671"/>
                  <a:pt x="4004513" y="177853"/>
                  <a:pt x="4121232" y="207034"/>
                </a:cubicBezTo>
                <a:cubicBezTo>
                  <a:pt x="4132904" y="209952"/>
                  <a:pt x="4149938" y="213586"/>
                  <a:pt x="4161488" y="218536"/>
                </a:cubicBezTo>
                <a:cubicBezTo>
                  <a:pt x="4169368" y="221913"/>
                  <a:pt x="4176280" y="227575"/>
                  <a:pt x="4184492" y="230038"/>
                </a:cubicBezTo>
                <a:cubicBezTo>
                  <a:pt x="4195661" y="233389"/>
                  <a:pt x="4207525" y="233703"/>
                  <a:pt x="4218998" y="235789"/>
                </a:cubicBezTo>
                <a:cubicBezTo>
                  <a:pt x="4228615" y="237538"/>
                  <a:pt x="4238210" y="239420"/>
                  <a:pt x="4247752" y="241540"/>
                </a:cubicBezTo>
                <a:cubicBezTo>
                  <a:pt x="4255468" y="243254"/>
                  <a:pt x="4262865" y="246839"/>
                  <a:pt x="4270756" y="247290"/>
                </a:cubicBezTo>
                <a:cubicBezTo>
                  <a:pt x="4330116" y="250682"/>
                  <a:pt x="4389609" y="251124"/>
                  <a:pt x="4449035" y="253041"/>
                </a:cubicBezTo>
                <a:cubicBezTo>
                  <a:pt x="4472039" y="254958"/>
                  <a:pt x="4495359" y="254538"/>
                  <a:pt x="4518047" y="258792"/>
                </a:cubicBezTo>
                <a:cubicBezTo>
                  <a:pt x="4526473" y="260372"/>
                  <a:pt x="4533216" y="266812"/>
                  <a:pt x="4541050" y="270294"/>
                </a:cubicBezTo>
                <a:cubicBezTo>
                  <a:pt x="4559929" y="278685"/>
                  <a:pt x="4575384" y="282407"/>
                  <a:pt x="4592809" y="293298"/>
                </a:cubicBezTo>
                <a:cubicBezTo>
                  <a:pt x="4632699" y="318229"/>
                  <a:pt x="4597169" y="306822"/>
                  <a:pt x="4644567" y="316302"/>
                </a:cubicBezTo>
                <a:cubicBezTo>
                  <a:pt x="4677758" y="338430"/>
                  <a:pt x="4645000" y="318777"/>
                  <a:pt x="4696326" y="339306"/>
                </a:cubicBezTo>
                <a:cubicBezTo>
                  <a:pt x="4704286" y="342490"/>
                  <a:pt x="4711328" y="347730"/>
                  <a:pt x="4719330" y="350807"/>
                </a:cubicBezTo>
                <a:cubicBezTo>
                  <a:pt x="4736304" y="357335"/>
                  <a:pt x="4753835" y="362309"/>
                  <a:pt x="4771088" y="368060"/>
                </a:cubicBezTo>
                <a:cubicBezTo>
                  <a:pt x="4776839" y="369977"/>
                  <a:pt x="4783143" y="370692"/>
                  <a:pt x="4788341" y="373811"/>
                </a:cubicBezTo>
                <a:cubicBezTo>
                  <a:pt x="4797926" y="379562"/>
                  <a:pt x="4806778" y="386765"/>
                  <a:pt x="4817096" y="391064"/>
                </a:cubicBezTo>
                <a:cubicBezTo>
                  <a:pt x="4829978" y="396432"/>
                  <a:pt x="4844013" y="398462"/>
                  <a:pt x="4857352" y="402566"/>
                </a:cubicBezTo>
                <a:cubicBezTo>
                  <a:pt x="4868940" y="406132"/>
                  <a:pt x="4880044" y="411342"/>
                  <a:pt x="4891858" y="414068"/>
                </a:cubicBezTo>
                <a:cubicBezTo>
                  <a:pt x="4905066" y="417116"/>
                  <a:pt x="4918643" y="418322"/>
                  <a:pt x="4932115" y="419819"/>
                </a:cubicBezTo>
                <a:cubicBezTo>
                  <a:pt x="4986972" y="425914"/>
                  <a:pt x="5030859" y="427788"/>
                  <a:pt x="5087390" y="431321"/>
                </a:cubicBezTo>
                <a:cubicBezTo>
                  <a:pt x="5167691" y="451396"/>
                  <a:pt x="5079039" y="430936"/>
                  <a:pt x="5277171" y="442823"/>
                </a:cubicBezTo>
                <a:cubicBezTo>
                  <a:pt x="5317537" y="445245"/>
                  <a:pt x="5357668" y="450663"/>
                  <a:pt x="5397941" y="454324"/>
                </a:cubicBezTo>
                <a:lnTo>
                  <a:pt x="5535964" y="465826"/>
                </a:lnTo>
                <a:cubicBezTo>
                  <a:pt x="5555134" y="467743"/>
                  <a:pt x="5574257" y="470204"/>
                  <a:pt x="5593473" y="471577"/>
                </a:cubicBezTo>
                <a:lnTo>
                  <a:pt x="5777503" y="483079"/>
                </a:lnTo>
                <a:lnTo>
                  <a:pt x="6019043" y="494581"/>
                </a:lnTo>
                <a:cubicBezTo>
                  <a:pt x="6120643" y="492664"/>
                  <a:pt x="6222352" y="493905"/>
                  <a:pt x="6323843" y="488830"/>
                </a:cubicBezTo>
                <a:cubicBezTo>
                  <a:pt x="6337782" y="488133"/>
                  <a:pt x="6350561" y="480713"/>
                  <a:pt x="6364100" y="477328"/>
                </a:cubicBezTo>
                <a:cubicBezTo>
                  <a:pt x="6381246" y="473041"/>
                  <a:pt x="6398577" y="469529"/>
                  <a:pt x="6415858" y="465826"/>
                </a:cubicBezTo>
                <a:cubicBezTo>
                  <a:pt x="6425416" y="463778"/>
                  <a:pt x="6435250" y="462884"/>
                  <a:pt x="6444613" y="460075"/>
                </a:cubicBezTo>
                <a:cubicBezTo>
                  <a:pt x="6454501" y="457109"/>
                  <a:pt x="6463352" y="451078"/>
                  <a:pt x="6473367" y="448574"/>
                </a:cubicBezTo>
                <a:cubicBezTo>
                  <a:pt x="6494160" y="443376"/>
                  <a:pt x="6515655" y="441487"/>
                  <a:pt x="6536628" y="437072"/>
                </a:cubicBezTo>
                <a:cubicBezTo>
                  <a:pt x="6552097" y="433815"/>
                  <a:pt x="6582635" y="425570"/>
                  <a:pt x="6582635" y="425570"/>
                </a:cubicBezTo>
                <a:cubicBezTo>
                  <a:pt x="6621614" y="399584"/>
                  <a:pt x="6573205" y="428142"/>
                  <a:pt x="6645896" y="408317"/>
                </a:cubicBezTo>
                <a:cubicBezTo>
                  <a:pt x="6652564" y="406498"/>
                  <a:pt x="6656967" y="399906"/>
                  <a:pt x="6663149" y="396815"/>
                </a:cubicBezTo>
                <a:cubicBezTo>
                  <a:pt x="6672814" y="391982"/>
                  <a:pt x="6694190" y="388077"/>
                  <a:pt x="6703405" y="385313"/>
                </a:cubicBezTo>
                <a:cubicBezTo>
                  <a:pt x="6751348" y="370930"/>
                  <a:pt x="6723552" y="377987"/>
                  <a:pt x="6766666" y="362309"/>
                </a:cubicBezTo>
                <a:cubicBezTo>
                  <a:pt x="6778060" y="358166"/>
                  <a:pt x="6790327" y="356229"/>
                  <a:pt x="6801171" y="350807"/>
                </a:cubicBezTo>
                <a:cubicBezTo>
                  <a:pt x="6808839" y="346973"/>
                  <a:pt x="6815858" y="341385"/>
                  <a:pt x="6824175" y="339306"/>
                </a:cubicBezTo>
                <a:cubicBezTo>
                  <a:pt x="6839169" y="335558"/>
                  <a:pt x="6854907" y="335905"/>
                  <a:pt x="6870183" y="333555"/>
                </a:cubicBezTo>
                <a:cubicBezTo>
                  <a:pt x="6898365" y="329219"/>
                  <a:pt x="6896184" y="327777"/>
                  <a:pt x="6921941" y="322053"/>
                </a:cubicBezTo>
                <a:cubicBezTo>
                  <a:pt x="6931483" y="319933"/>
                  <a:pt x="6941079" y="318051"/>
                  <a:pt x="6950696" y="316302"/>
                </a:cubicBezTo>
                <a:cubicBezTo>
                  <a:pt x="6962168" y="314216"/>
                  <a:pt x="6973562" y="311256"/>
                  <a:pt x="6985201" y="310551"/>
                </a:cubicBezTo>
                <a:cubicBezTo>
                  <a:pt x="7036900" y="307418"/>
                  <a:pt x="7088687" y="305424"/>
                  <a:pt x="7140477" y="304800"/>
                </a:cubicBezTo>
                <a:lnTo>
                  <a:pt x="7939858" y="299049"/>
                </a:lnTo>
                <a:cubicBezTo>
                  <a:pt x="7959028" y="297132"/>
                  <a:pt x="7978250" y="295688"/>
                  <a:pt x="7997367" y="293298"/>
                </a:cubicBezTo>
                <a:cubicBezTo>
                  <a:pt x="8035193" y="288570"/>
                  <a:pt x="8116117" y="269361"/>
                  <a:pt x="8135390" y="264543"/>
                </a:cubicBezTo>
                <a:cubicBezTo>
                  <a:pt x="8143058" y="262626"/>
                  <a:pt x="8150993" y="261567"/>
                  <a:pt x="8158394" y="258792"/>
                </a:cubicBezTo>
                <a:cubicBezTo>
                  <a:pt x="8166421" y="255782"/>
                  <a:pt x="8173371" y="250300"/>
                  <a:pt x="8181398" y="247290"/>
                </a:cubicBezTo>
                <a:cubicBezTo>
                  <a:pt x="8188798" y="244515"/>
                  <a:pt x="8196831" y="243811"/>
                  <a:pt x="8204401" y="241540"/>
                </a:cubicBezTo>
                <a:cubicBezTo>
                  <a:pt x="8216014" y="238056"/>
                  <a:pt x="8227405" y="233872"/>
                  <a:pt x="8238907" y="230038"/>
                </a:cubicBezTo>
                <a:cubicBezTo>
                  <a:pt x="8244658" y="228121"/>
                  <a:pt x="8250279" y="225757"/>
                  <a:pt x="8256160" y="224287"/>
                </a:cubicBezTo>
                <a:lnTo>
                  <a:pt x="8279164" y="218536"/>
                </a:lnTo>
                <a:cubicBezTo>
                  <a:pt x="8288749" y="212785"/>
                  <a:pt x="8297742" y="205908"/>
                  <a:pt x="8307918" y="201283"/>
                </a:cubicBezTo>
                <a:cubicBezTo>
                  <a:pt x="8318955" y="196266"/>
                  <a:pt x="8332336" y="196506"/>
                  <a:pt x="8342424" y="189781"/>
                </a:cubicBezTo>
                <a:cubicBezTo>
                  <a:pt x="8366254" y="173895"/>
                  <a:pt x="8352972" y="179955"/>
                  <a:pt x="8382681" y="172528"/>
                </a:cubicBezTo>
                <a:cubicBezTo>
                  <a:pt x="8390349" y="168694"/>
                  <a:pt x="8397804" y="164403"/>
                  <a:pt x="8405684" y="161026"/>
                </a:cubicBezTo>
                <a:cubicBezTo>
                  <a:pt x="8411256" y="158638"/>
                  <a:pt x="8417261" y="157403"/>
                  <a:pt x="8422937" y="155275"/>
                </a:cubicBezTo>
                <a:cubicBezTo>
                  <a:pt x="8432603" y="151650"/>
                  <a:pt x="8442319" y="148100"/>
                  <a:pt x="8451692" y="143774"/>
                </a:cubicBezTo>
                <a:cubicBezTo>
                  <a:pt x="8467260" y="136589"/>
                  <a:pt x="8480887" y="124133"/>
                  <a:pt x="8497700" y="120770"/>
                </a:cubicBezTo>
                <a:cubicBezTo>
                  <a:pt x="8507285" y="118853"/>
                  <a:pt x="8516971" y="117390"/>
                  <a:pt x="8526454" y="115019"/>
                </a:cubicBezTo>
                <a:cubicBezTo>
                  <a:pt x="8532335" y="113549"/>
                  <a:pt x="8537878" y="110933"/>
                  <a:pt x="8543707" y="109268"/>
                </a:cubicBezTo>
                <a:cubicBezTo>
                  <a:pt x="8551307" y="107097"/>
                  <a:pt x="8559043" y="105434"/>
                  <a:pt x="8566711" y="103517"/>
                </a:cubicBezTo>
                <a:cubicBezTo>
                  <a:pt x="8572462" y="99683"/>
                  <a:pt x="8577492" y="94442"/>
                  <a:pt x="8583964" y="92015"/>
                </a:cubicBezTo>
                <a:cubicBezTo>
                  <a:pt x="8593116" y="88583"/>
                  <a:pt x="8603194" y="88462"/>
                  <a:pt x="8612718" y="86264"/>
                </a:cubicBezTo>
                <a:cubicBezTo>
                  <a:pt x="8628121" y="82709"/>
                  <a:pt x="8643225" y="77862"/>
                  <a:pt x="8658726" y="74762"/>
                </a:cubicBezTo>
                <a:cubicBezTo>
                  <a:pt x="8668311" y="72845"/>
                  <a:pt x="8677998" y="71382"/>
                  <a:pt x="8687481" y="69011"/>
                </a:cubicBezTo>
                <a:cubicBezTo>
                  <a:pt x="8716728" y="61699"/>
                  <a:pt x="8706681" y="55763"/>
                  <a:pt x="8750741" y="51758"/>
                </a:cubicBezTo>
                <a:lnTo>
                  <a:pt x="8814001" y="46007"/>
                </a:lnTo>
                <a:cubicBezTo>
                  <a:pt x="8837005" y="47924"/>
                  <a:pt x="8859929" y="51758"/>
                  <a:pt x="8883013" y="51758"/>
                </a:cubicBezTo>
                <a:cubicBezTo>
                  <a:pt x="8904303" y="51758"/>
                  <a:pt x="8956425" y="43736"/>
                  <a:pt x="8980779" y="40257"/>
                </a:cubicBezTo>
                <a:cubicBezTo>
                  <a:pt x="8999762" y="33929"/>
                  <a:pt x="9026744" y="24445"/>
                  <a:pt x="9044039" y="23004"/>
                </a:cubicBezTo>
                <a:cubicBezTo>
                  <a:pt x="9067043" y="21087"/>
                  <a:pt x="9136101" y="19670"/>
                  <a:pt x="9159058" y="17253"/>
                </a:cubicBezTo>
                <a:cubicBezTo>
                  <a:pt x="9164509" y="195261"/>
                  <a:pt x="9149125" y="1238540"/>
                  <a:pt x="9159058" y="1282460"/>
                </a:cubicBezTo>
              </a:path>
            </a:pathLst>
          </a:custGeom>
          <a:gradFill flip="none" rotWithShape="1">
            <a:gsLst>
              <a:gs pos="0">
                <a:srgbClr val="3F647B">
                  <a:alpha val="49804"/>
                </a:srgbClr>
              </a:gs>
              <a:gs pos="100000">
                <a:srgbClr val="6DD9D9">
                  <a:alpha val="0"/>
                </a:srgbClr>
              </a:gs>
            </a:gsLst>
            <a:lin ang="5400000" scaled="1"/>
            <a:tileRect/>
          </a:gradFill>
          <a:ln w="12700" cmpd="sng">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32" name="Rectangle 31"/>
          <p:cNvSpPr/>
          <p:nvPr/>
        </p:nvSpPr>
        <p:spPr>
          <a:xfrm>
            <a:off x="0" y="2248917"/>
            <a:ext cx="9144000" cy="387632"/>
          </a:xfrm>
          <a:prstGeom prst="rect">
            <a:avLst/>
          </a:prstGeom>
          <a:gradFill flip="none" rotWithShape="1">
            <a:gsLst>
              <a:gs pos="0">
                <a:schemeClr val="bg1">
                  <a:alpha val="0"/>
                </a:schemeClr>
              </a:gs>
              <a:gs pos="50000">
                <a:srgbClr val="AEC6D6"/>
              </a:gs>
              <a:gs pos="100000">
                <a:schemeClr val="bg1">
                  <a:shade val="100000"/>
                  <a:satMod val="115000"/>
                  <a:alpha val="0"/>
                </a:schemeClr>
              </a:gs>
            </a:gsLst>
            <a:lin ang="54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Freeform 38"/>
          <p:cNvSpPr/>
          <p:nvPr/>
        </p:nvSpPr>
        <p:spPr>
          <a:xfrm>
            <a:off x="158750" y="2601862"/>
            <a:ext cx="5848350" cy="2038350"/>
          </a:xfrm>
          <a:custGeom>
            <a:avLst/>
            <a:gdLst>
              <a:gd name="connsiteX0" fmla="*/ 1231900 w 5848350"/>
              <a:gd name="connsiteY0" fmla="*/ 2025650 h 2038350"/>
              <a:gd name="connsiteX1" fmla="*/ 5245100 w 5848350"/>
              <a:gd name="connsiteY1" fmla="*/ 946150 h 2038350"/>
              <a:gd name="connsiteX2" fmla="*/ 5759450 w 5848350"/>
              <a:gd name="connsiteY2" fmla="*/ 558800 h 2038350"/>
              <a:gd name="connsiteX3" fmla="*/ 5848350 w 5848350"/>
              <a:gd name="connsiteY3" fmla="*/ 393700 h 2038350"/>
              <a:gd name="connsiteX4" fmla="*/ 5480050 w 5848350"/>
              <a:gd name="connsiteY4" fmla="*/ 247650 h 2038350"/>
              <a:gd name="connsiteX5" fmla="*/ 4864100 w 5848350"/>
              <a:gd name="connsiteY5" fmla="*/ 165100 h 2038350"/>
              <a:gd name="connsiteX6" fmla="*/ 4362450 w 5848350"/>
              <a:gd name="connsiteY6" fmla="*/ 120650 h 2038350"/>
              <a:gd name="connsiteX7" fmla="*/ 3975100 w 5848350"/>
              <a:gd name="connsiteY7" fmla="*/ 88900 h 2038350"/>
              <a:gd name="connsiteX8" fmla="*/ 3708400 w 5848350"/>
              <a:gd name="connsiteY8" fmla="*/ 63500 h 2038350"/>
              <a:gd name="connsiteX9" fmla="*/ 3562350 w 5848350"/>
              <a:gd name="connsiteY9" fmla="*/ 44450 h 2038350"/>
              <a:gd name="connsiteX10" fmla="*/ 3511550 w 5848350"/>
              <a:gd name="connsiteY10" fmla="*/ 6350 h 2038350"/>
              <a:gd name="connsiteX11" fmla="*/ 3492500 w 5848350"/>
              <a:gd name="connsiteY11" fmla="*/ 0 h 2038350"/>
              <a:gd name="connsiteX12" fmla="*/ 3390900 w 5848350"/>
              <a:gd name="connsiteY12" fmla="*/ 12700 h 2038350"/>
              <a:gd name="connsiteX13" fmla="*/ 3314700 w 5848350"/>
              <a:gd name="connsiteY13" fmla="*/ 31750 h 2038350"/>
              <a:gd name="connsiteX14" fmla="*/ 3314700 w 5848350"/>
              <a:gd name="connsiteY14" fmla="*/ 31750 h 2038350"/>
              <a:gd name="connsiteX15" fmla="*/ 3708400 w 5848350"/>
              <a:gd name="connsiteY15" fmla="*/ 114300 h 2038350"/>
              <a:gd name="connsiteX16" fmla="*/ 4197350 w 5848350"/>
              <a:gd name="connsiteY16" fmla="*/ 171450 h 2038350"/>
              <a:gd name="connsiteX17" fmla="*/ 5029200 w 5848350"/>
              <a:gd name="connsiteY17" fmla="*/ 298450 h 2038350"/>
              <a:gd name="connsiteX18" fmla="*/ 5245100 w 5848350"/>
              <a:gd name="connsiteY18" fmla="*/ 400050 h 2038350"/>
              <a:gd name="connsiteX19" fmla="*/ 4800600 w 5848350"/>
              <a:gd name="connsiteY19" fmla="*/ 685800 h 2038350"/>
              <a:gd name="connsiteX20" fmla="*/ 292100 w 5848350"/>
              <a:gd name="connsiteY20" fmla="*/ 1803400 h 2038350"/>
              <a:gd name="connsiteX21" fmla="*/ 0 w 5848350"/>
              <a:gd name="connsiteY21" fmla="*/ 2038350 h 203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48350" h="2038350">
                <a:moveTo>
                  <a:pt x="1231900" y="2025650"/>
                </a:moveTo>
                <a:lnTo>
                  <a:pt x="5245100" y="946150"/>
                </a:lnTo>
                <a:lnTo>
                  <a:pt x="5759450" y="558800"/>
                </a:lnTo>
                <a:lnTo>
                  <a:pt x="5848350" y="393700"/>
                </a:lnTo>
                <a:lnTo>
                  <a:pt x="5480050" y="247650"/>
                </a:lnTo>
                <a:lnTo>
                  <a:pt x="4864100" y="165100"/>
                </a:lnTo>
                <a:lnTo>
                  <a:pt x="4362450" y="120650"/>
                </a:lnTo>
                <a:lnTo>
                  <a:pt x="3975100" y="88900"/>
                </a:lnTo>
                <a:lnTo>
                  <a:pt x="3708400" y="63500"/>
                </a:lnTo>
                <a:lnTo>
                  <a:pt x="3562350" y="44450"/>
                </a:lnTo>
                <a:lnTo>
                  <a:pt x="3511550" y="6350"/>
                </a:lnTo>
                <a:lnTo>
                  <a:pt x="3492500" y="0"/>
                </a:lnTo>
                <a:lnTo>
                  <a:pt x="3390900" y="12700"/>
                </a:lnTo>
                <a:lnTo>
                  <a:pt x="3314700" y="31750"/>
                </a:lnTo>
                <a:lnTo>
                  <a:pt x="3314700" y="31750"/>
                </a:lnTo>
                <a:lnTo>
                  <a:pt x="3708400" y="114300"/>
                </a:lnTo>
                <a:lnTo>
                  <a:pt x="4197350" y="171450"/>
                </a:lnTo>
                <a:lnTo>
                  <a:pt x="5029200" y="298450"/>
                </a:lnTo>
                <a:lnTo>
                  <a:pt x="5245100" y="400050"/>
                </a:lnTo>
                <a:lnTo>
                  <a:pt x="4800600" y="685800"/>
                </a:lnTo>
                <a:lnTo>
                  <a:pt x="292100" y="1803400"/>
                </a:lnTo>
                <a:lnTo>
                  <a:pt x="0" y="2038350"/>
                </a:lnTo>
              </a:path>
            </a:pathLst>
          </a:custGeom>
          <a:gradFill flip="none" rotWithShape="1">
            <a:gsLst>
              <a:gs pos="0">
                <a:srgbClr val="E6AF00"/>
              </a:gs>
              <a:gs pos="100000">
                <a:srgbClr val="E9E4A1"/>
              </a:gs>
            </a:gsLst>
            <a:lin ang="16200000" scaled="1"/>
            <a:tileRect/>
          </a:gradFill>
          <a:ln w="12700" cmpd="sng">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pic>
        <p:nvPicPr>
          <p:cNvPr id="51" name="Picture 50" descr="roadNoBG.pn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0" y="2529279"/>
            <a:ext cx="7765473" cy="2110933"/>
          </a:xfrm>
          <a:prstGeom prst="rect">
            <a:avLst/>
          </a:prstGeom>
        </p:spPr>
      </p:pic>
      <p:grpSp>
        <p:nvGrpSpPr>
          <p:cNvPr id="121" name="Group 120"/>
          <p:cNvGrpSpPr/>
          <p:nvPr/>
        </p:nvGrpSpPr>
        <p:grpSpPr>
          <a:xfrm>
            <a:off x="5128543" y="1828432"/>
            <a:ext cx="1979766" cy="908464"/>
            <a:chOff x="3182175" y="1084812"/>
            <a:chExt cx="5679201" cy="2606040"/>
          </a:xfrm>
        </p:grpSpPr>
        <p:pic>
          <p:nvPicPr>
            <p:cNvPr id="119" name="Picture 3" descr="\\vmware-host\Shared Folders\Desktop\Active  Projects\2015 EMC World\Presentations\Roloff Session\Dome.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182175" y="1084812"/>
              <a:ext cx="5679201" cy="2606040"/>
            </a:xfrm>
            <a:prstGeom prst="rect">
              <a:avLst/>
            </a:prstGeom>
            <a:noFill/>
          </p:spPr>
        </p:pic>
        <p:pic>
          <p:nvPicPr>
            <p:cNvPr id="120" name="Picture 3" descr="\\vmware-host\Shared Folders\Desktop\Active  Projects\2015 EMC World\Presentations\Roloff Session\Dome.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182175" y="1084812"/>
              <a:ext cx="5679201" cy="2606040"/>
            </a:xfrm>
            <a:prstGeom prst="rect">
              <a:avLst/>
            </a:prstGeom>
            <a:noFill/>
          </p:spPr>
        </p:pic>
      </p:grpSp>
      <p:sp>
        <p:nvSpPr>
          <p:cNvPr id="2" name="Title 1"/>
          <p:cNvSpPr>
            <a:spLocks noGrp="1"/>
          </p:cNvSpPr>
          <p:nvPr>
            <p:ph type="ctrTitle"/>
          </p:nvPr>
        </p:nvSpPr>
        <p:spPr/>
        <p:txBody>
          <a:bodyPr/>
          <a:lstStyle/>
          <a:p>
            <a:r>
              <a:rPr lang="en-US" dirty="0" smtClean="0">
                <a:solidFill>
                  <a:srgbClr val="FFFFFF"/>
                </a:solidFill>
              </a:rPr>
              <a:t>IT’S A JOURNEY—STEP BY STEP</a:t>
            </a:r>
            <a:endParaRPr lang="en-US" dirty="0">
              <a:solidFill>
                <a:srgbClr val="FFFFFF"/>
              </a:solidFill>
            </a:endParaRPr>
          </a:p>
        </p:txBody>
      </p:sp>
      <p:sp>
        <p:nvSpPr>
          <p:cNvPr id="78" name="TextBox 77"/>
          <p:cNvSpPr txBox="1"/>
          <p:nvPr/>
        </p:nvSpPr>
        <p:spPr>
          <a:xfrm>
            <a:off x="1561820" y="3793396"/>
            <a:ext cx="3450584" cy="646331"/>
          </a:xfrm>
          <a:prstGeom prst="rect">
            <a:avLst/>
          </a:prstGeom>
          <a:noFill/>
          <a:effectLst>
            <a:outerShdw blurRad="139700" dist="38100" dir="5400000" algn="t" rotWithShape="0">
              <a:prstClr val="black"/>
            </a:outerShdw>
          </a:effectLst>
          <a:scene3d>
            <a:camera prst="isometricOffAxis2Top">
              <a:rot lat="18300000" lon="3300000" rev="18180000"/>
            </a:camera>
            <a:lightRig rig="threePt" dir="t"/>
          </a:scene3d>
        </p:spPr>
        <p:txBody>
          <a:bodyPr wrap="none" rtlCol="0">
            <a:spAutoFit/>
          </a:bodyPr>
          <a:lstStyle/>
          <a:p>
            <a:r>
              <a:rPr lang="en-US" sz="3600" dirty="0" smtClean="0">
                <a:solidFill>
                  <a:srgbClr val="FFFFFF"/>
                </a:solidFill>
                <a:ea typeface="+mj-ea"/>
                <a:cs typeface="+mj-cs"/>
              </a:rPr>
              <a:t>STEP BY STEP</a:t>
            </a:r>
            <a:endParaRPr lang="en-US" sz="3600" dirty="0" smtClean="0">
              <a:solidFill>
                <a:schemeClr val="bg2"/>
              </a:solidFill>
            </a:endParaRPr>
          </a:p>
        </p:txBody>
      </p:sp>
      <p:grpSp>
        <p:nvGrpSpPr>
          <p:cNvPr id="94" name="Group 93"/>
          <p:cNvGrpSpPr/>
          <p:nvPr/>
        </p:nvGrpSpPr>
        <p:grpSpPr>
          <a:xfrm>
            <a:off x="6678339" y="1698115"/>
            <a:ext cx="1603510" cy="1791473"/>
            <a:chOff x="6677194" y="2579569"/>
            <a:chExt cx="1265022" cy="1413307"/>
          </a:xfrm>
        </p:grpSpPr>
        <p:grpSp>
          <p:nvGrpSpPr>
            <p:cNvPr id="90" name="Group 89"/>
            <p:cNvGrpSpPr/>
            <p:nvPr/>
          </p:nvGrpSpPr>
          <p:grpSpPr>
            <a:xfrm>
              <a:off x="6677194" y="2579569"/>
              <a:ext cx="1265022" cy="1413307"/>
              <a:chOff x="6677194" y="2488135"/>
              <a:chExt cx="1265022" cy="1413307"/>
            </a:xfrm>
          </p:grpSpPr>
          <p:grpSp>
            <p:nvGrpSpPr>
              <p:cNvPr id="79" name="Group 78"/>
              <p:cNvGrpSpPr/>
              <p:nvPr/>
            </p:nvGrpSpPr>
            <p:grpSpPr>
              <a:xfrm>
                <a:off x="6677194" y="2488135"/>
                <a:ext cx="1265022" cy="1413307"/>
                <a:chOff x="1169025" y="2556183"/>
                <a:chExt cx="1371701" cy="1532491"/>
              </a:xfrm>
            </p:grpSpPr>
            <p:grpSp>
              <p:nvGrpSpPr>
                <p:cNvPr id="80" name="Group 79"/>
                <p:cNvGrpSpPr/>
                <p:nvPr/>
              </p:nvGrpSpPr>
              <p:grpSpPr>
                <a:xfrm>
                  <a:off x="1456508" y="3010989"/>
                  <a:ext cx="727067" cy="1077685"/>
                  <a:chOff x="1456508" y="3010989"/>
                  <a:chExt cx="727067" cy="1077685"/>
                </a:xfrm>
              </p:grpSpPr>
              <p:sp>
                <p:nvSpPr>
                  <p:cNvPr id="82" name="Oval 81"/>
                  <p:cNvSpPr/>
                  <p:nvPr/>
                </p:nvSpPr>
                <p:spPr>
                  <a:xfrm>
                    <a:off x="1456508" y="3923420"/>
                    <a:ext cx="727067" cy="165254"/>
                  </a:xfrm>
                  <a:prstGeom prst="ellipse">
                    <a:avLst/>
                  </a:prstGeom>
                  <a:gradFill flip="none" rotWithShape="1">
                    <a:gsLst>
                      <a:gs pos="0">
                        <a:schemeClr val="tx1">
                          <a:alpha val="40000"/>
                        </a:schemeClr>
                      </a:gs>
                      <a:gs pos="100000">
                        <a:schemeClr val="tx1">
                          <a:alpha val="0"/>
                        </a:schemeClr>
                      </a:gs>
                    </a:gsLst>
                    <a:path path="circle">
                      <a:fillToRect l="50000" t="50000" r="50000" b="50000"/>
                    </a:path>
                    <a:tileRect/>
                  </a:gradFill>
                  <a:ln w="12700" cmpd="sng">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p>
                </p:txBody>
              </p:sp>
              <p:pic>
                <p:nvPicPr>
                  <p:cNvPr id="83" name="Picture 4" descr="\\vmware-host\Shared Folders\Desktop\Active  Projects\2015 EMC World\Presentations\Roloff Session\Street Signs.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646964" y="3010989"/>
                    <a:ext cx="337850" cy="1042660"/>
                  </a:xfrm>
                  <a:prstGeom prst="rect">
                    <a:avLst/>
                  </a:prstGeom>
                  <a:noFill/>
                </p:spPr>
              </p:pic>
            </p:grpSp>
            <p:pic>
              <p:nvPicPr>
                <p:cNvPr id="81" name="Picture 3" descr="\\vmware-host\Shared Folders\Desktop\Active  Projects\2015 EMC World\Presentations\Roloff Session\Sign Top.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169025" y="2556183"/>
                  <a:ext cx="1371701" cy="858805"/>
                </a:xfrm>
                <a:prstGeom prst="rect">
                  <a:avLst/>
                </a:prstGeom>
                <a:noFill/>
              </p:spPr>
            </p:pic>
          </p:grpSp>
          <p:sp>
            <p:nvSpPr>
              <p:cNvPr id="50" name="TextBox 49"/>
              <p:cNvSpPr txBox="1"/>
              <p:nvPr/>
            </p:nvSpPr>
            <p:spPr>
              <a:xfrm>
                <a:off x="6736264" y="2815049"/>
                <a:ext cx="1130875" cy="356118"/>
              </a:xfrm>
              <a:prstGeom prst="rect">
                <a:avLst/>
              </a:prstGeom>
              <a:noFill/>
              <a:scene3d>
                <a:camera prst="isometricOffAxis2Left">
                  <a:rot lat="600000" lon="1560000" rev="0"/>
                </a:camera>
                <a:lightRig rig="threePt" dir="t"/>
              </a:scene3d>
            </p:spPr>
            <p:txBody>
              <a:bodyPr wrap="none" rtlCol="0">
                <a:spAutoFit/>
              </a:bodyPr>
              <a:lstStyle/>
              <a:p>
                <a:pPr algn="ctr">
                  <a:lnSpc>
                    <a:spcPts val="1400"/>
                  </a:lnSpc>
                </a:pPr>
                <a:r>
                  <a:rPr lang="en-US" sz="1400" dirty="0" smtClean="0">
                    <a:solidFill>
                      <a:schemeClr val="bg1"/>
                    </a:solidFill>
                  </a:rPr>
                  <a:t>Converged </a:t>
                </a:r>
                <a:br>
                  <a:rPr lang="en-US" sz="1400" dirty="0" smtClean="0">
                    <a:solidFill>
                      <a:schemeClr val="bg1"/>
                    </a:solidFill>
                  </a:rPr>
                </a:br>
                <a:r>
                  <a:rPr lang="en-US" sz="1400" dirty="0" smtClean="0">
                    <a:solidFill>
                      <a:schemeClr val="bg1"/>
                    </a:solidFill>
                  </a:rPr>
                  <a:t>Infrastructure</a:t>
                </a:r>
              </a:p>
            </p:txBody>
          </p:sp>
        </p:grpSp>
        <p:sp>
          <p:nvSpPr>
            <p:cNvPr id="91" name="Freeform 23"/>
            <p:cNvSpPr>
              <a:spLocks noEditPoints="1"/>
            </p:cNvSpPr>
            <p:nvPr/>
          </p:nvSpPr>
          <p:spPr bwMode="auto">
            <a:xfrm>
              <a:off x="7191369" y="2705024"/>
              <a:ext cx="173428" cy="171216"/>
            </a:xfrm>
            <a:custGeom>
              <a:avLst/>
              <a:gdLst>
                <a:gd name="T0" fmla="*/ 271 w 329"/>
                <a:gd name="T1" fmla="*/ 183 h 325"/>
                <a:gd name="T2" fmla="*/ 271 w 329"/>
                <a:gd name="T3" fmla="*/ 143 h 325"/>
                <a:gd name="T4" fmla="*/ 329 w 329"/>
                <a:gd name="T5" fmla="*/ 72 h 325"/>
                <a:gd name="T6" fmla="*/ 257 w 329"/>
                <a:gd name="T7" fmla="*/ 0 h 325"/>
                <a:gd name="T8" fmla="*/ 186 w 329"/>
                <a:gd name="T9" fmla="*/ 58 h 325"/>
                <a:gd name="T10" fmla="*/ 142 w 329"/>
                <a:gd name="T11" fmla="*/ 58 h 325"/>
                <a:gd name="T12" fmla="*/ 72 w 329"/>
                <a:gd name="T13" fmla="*/ 0 h 325"/>
                <a:gd name="T14" fmla="*/ 0 w 329"/>
                <a:gd name="T15" fmla="*/ 72 h 325"/>
                <a:gd name="T16" fmla="*/ 57 w 329"/>
                <a:gd name="T17" fmla="*/ 143 h 325"/>
                <a:gd name="T18" fmla="*/ 57 w 329"/>
                <a:gd name="T19" fmla="*/ 183 h 325"/>
                <a:gd name="T20" fmla="*/ 0 w 329"/>
                <a:gd name="T21" fmla="*/ 253 h 325"/>
                <a:gd name="T22" fmla="*/ 72 w 329"/>
                <a:gd name="T23" fmla="*/ 325 h 325"/>
                <a:gd name="T24" fmla="*/ 142 w 329"/>
                <a:gd name="T25" fmla="*/ 266 h 325"/>
                <a:gd name="T26" fmla="*/ 186 w 329"/>
                <a:gd name="T27" fmla="*/ 266 h 325"/>
                <a:gd name="T28" fmla="*/ 257 w 329"/>
                <a:gd name="T29" fmla="*/ 325 h 325"/>
                <a:gd name="T30" fmla="*/ 329 w 329"/>
                <a:gd name="T31" fmla="*/ 253 h 325"/>
                <a:gd name="T32" fmla="*/ 271 w 329"/>
                <a:gd name="T33" fmla="*/ 183 h 325"/>
                <a:gd name="T34" fmla="*/ 257 w 329"/>
                <a:gd name="T35" fmla="*/ 297 h 325"/>
                <a:gd name="T36" fmla="*/ 213 w 329"/>
                <a:gd name="T37" fmla="*/ 253 h 325"/>
                <a:gd name="T38" fmla="*/ 257 w 329"/>
                <a:gd name="T39" fmla="*/ 209 h 325"/>
                <a:gd name="T40" fmla="*/ 301 w 329"/>
                <a:gd name="T41" fmla="*/ 253 h 325"/>
                <a:gd name="T42" fmla="*/ 257 w 329"/>
                <a:gd name="T43" fmla="*/ 297 h 325"/>
                <a:gd name="T44" fmla="*/ 116 w 329"/>
                <a:gd name="T45" fmla="*/ 253 h 325"/>
                <a:gd name="T46" fmla="*/ 72 w 329"/>
                <a:gd name="T47" fmla="*/ 297 h 325"/>
                <a:gd name="T48" fmla="*/ 28 w 329"/>
                <a:gd name="T49" fmla="*/ 253 h 325"/>
                <a:gd name="T50" fmla="*/ 72 w 329"/>
                <a:gd name="T51" fmla="*/ 209 h 325"/>
                <a:gd name="T52" fmla="*/ 116 w 329"/>
                <a:gd name="T53" fmla="*/ 253 h 325"/>
                <a:gd name="T54" fmla="*/ 116 w 329"/>
                <a:gd name="T55" fmla="*/ 72 h 325"/>
                <a:gd name="T56" fmla="*/ 72 w 329"/>
                <a:gd name="T57" fmla="*/ 116 h 325"/>
                <a:gd name="T58" fmla="*/ 28 w 329"/>
                <a:gd name="T59" fmla="*/ 72 h 325"/>
                <a:gd name="T60" fmla="*/ 72 w 329"/>
                <a:gd name="T61" fmla="*/ 28 h 325"/>
                <a:gd name="T62" fmla="*/ 116 w 329"/>
                <a:gd name="T63" fmla="*/ 72 h 325"/>
                <a:gd name="T64" fmla="*/ 213 w 329"/>
                <a:gd name="T65" fmla="*/ 72 h 325"/>
                <a:gd name="T66" fmla="*/ 257 w 329"/>
                <a:gd name="T67" fmla="*/ 28 h 325"/>
                <a:gd name="T68" fmla="*/ 301 w 329"/>
                <a:gd name="T69" fmla="*/ 72 h 325"/>
                <a:gd name="T70" fmla="*/ 257 w 329"/>
                <a:gd name="T71" fmla="*/ 116 h 325"/>
                <a:gd name="T72" fmla="*/ 213 w 329"/>
                <a:gd name="T73" fmla="*/ 72 h 325"/>
                <a:gd name="T74" fmla="*/ 85 w 329"/>
                <a:gd name="T75" fmla="*/ 182 h 325"/>
                <a:gd name="T76" fmla="*/ 85 w 329"/>
                <a:gd name="T77" fmla="*/ 143 h 325"/>
                <a:gd name="T78" fmla="*/ 142 w 329"/>
                <a:gd name="T79" fmla="*/ 86 h 325"/>
                <a:gd name="T80" fmla="*/ 186 w 329"/>
                <a:gd name="T81" fmla="*/ 86 h 325"/>
                <a:gd name="T82" fmla="*/ 243 w 329"/>
                <a:gd name="T83" fmla="*/ 143 h 325"/>
                <a:gd name="T84" fmla="*/ 243 w 329"/>
                <a:gd name="T85" fmla="*/ 183 h 325"/>
                <a:gd name="T86" fmla="*/ 186 w 329"/>
                <a:gd name="T87" fmla="*/ 238 h 325"/>
                <a:gd name="T88" fmla="*/ 142 w 329"/>
                <a:gd name="T89" fmla="*/ 238 h 325"/>
                <a:gd name="T90" fmla="*/ 85 w 329"/>
                <a:gd name="T91" fmla="*/ 18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9" h="325">
                  <a:moveTo>
                    <a:pt x="271" y="183"/>
                  </a:moveTo>
                  <a:cubicBezTo>
                    <a:pt x="271" y="143"/>
                    <a:pt x="271" y="143"/>
                    <a:pt x="271" y="143"/>
                  </a:cubicBezTo>
                  <a:cubicBezTo>
                    <a:pt x="304" y="136"/>
                    <a:pt x="329" y="107"/>
                    <a:pt x="329" y="72"/>
                  </a:cubicBezTo>
                  <a:cubicBezTo>
                    <a:pt x="329" y="32"/>
                    <a:pt x="296" y="0"/>
                    <a:pt x="257" y="0"/>
                  </a:cubicBezTo>
                  <a:cubicBezTo>
                    <a:pt x="222" y="0"/>
                    <a:pt x="193" y="25"/>
                    <a:pt x="186" y="58"/>
                  </a:cubicBezTo>
                  <a:cubicBezTo>
                    <a:pt x="142" y="58"/>
                    <a:pt x="142" y="58"/>
                    <a:pt x="142" y="58"/>
                  </a:cubicBezTo>
                  <a:cubicBezTo>
                    <a:pt x="136" y="25"/>
                    <a:pt x="107" y="0"/>
                    <a:pt x="72" y="0"/>
                  </a:cubicBezTo>
                  <a:cubicBezTo>
                    <a:pt x="32" y="0"/>
                    <a:pt x="0" y="32"/>
                    <a:pt x="0" y="72"/>
                  </a:cubicBezTo>
                  <a:cubicBezTo>
                    <a:pt x="0" y="107"/>
                    <a:pt x="25" y="136"/>
                    <a:pt x="57" y="143"/>
                  </a:cubicBezTo>
                  <a:cubicBezTo>
                    <a:pt x="57" y="183"/>
                    <a:pt x="57" y="183"/>
                    <a:pt x="57" y="183"/>
                  </a:cubicBezTo>
                  <a:cubicBezTo>
                    <a:pt x="25" y="189"/>
                    <a:pt x="0" y="218"/>
                    <a:pt x="0" y="253"/>
                  </a:cubicBezTo>
                  <a:cubicBezTo>
                    <a:pt x="0" y="293"/>
                    <a:pt x="32" y="325"/>
                    <a:pt x="72" y="325"/>
                  </a:cubicBezTo>
                  <a:cubicBezTo>
                    <a:pt x="107" y="325"/>
                    <a:pt x="137" y="299"/>
                    <a:pt x="142" y="266"/>
                  </a:cubicBezTo>
                  <a:cubicBezTo>
                    <a:pt x="186" y="266"/>
                    <a:pt x="186" y="266"/>
                    <a:pt x="186" y="266"/>
                  </a:cubicBezTo>
                  <a:cubicBezTo>
                    <a:pt x="192" y="299"/>
                    <a:pt x="221" y="325"/>
                    <a:pt x="257" y="325"/>
                  </a:cubicBezTo>
                  <a:cubicBezTo>
                    <a:pt x="296" y="325"/>
                    <a:pt x="329" y="293"/>
                    <a:pt x="329" y="253"/>
                  </a:cubicBezTo>
                  <a:cubicBezTo>
                    <a:pt x="329" y="218"/>
                    <a:pt x="304" y="189"/>
                    <a:pt x="271" y="183"/>
                  </a:cubicBezTo>
                  <a:close/>
                  <a:moveTo>
                    <a:pt x="257" y="297"/>
                  </a:moveTo>
                  <a:cubicBezTo>
                    <a:pt x="232" y="297"/>
                    <a:pt x="213" y="277"/>
                    <a:pt x="213" y="253"/>
                  </a:cubicBezTo>
                  <a:cubicBezTo>
                    <a:pt x="213" y="229"/>
                    <a:pt x="232" y="209"/>
                    <a:pt x="257" y="209"/>
                  </a:cubicBezTo>
                  <a:cubicBezTo>
                    <a:pt x="281" y="209"/>
                    <a:pt x="301" y="229"/>
                    <a:pt x="301" y="253"/>
                  </a:cubicBezTo>
                  <a:cubicBezTo>
                    <a:pt x="301" y="277"/>
                    <a:pt x="281" y="297"/>
                    <a:pt x="257" y="297"/>
                  </a:cubicBezTo>
                  <a:close/>
                  <a:moveTo>
                    <a:pt x="116" y="253"/>
                  </a:moveTo>
                  <a:cubicBezTo>
                    <a:pt x="116" y="277"/>
                    <a:pt x="96" y="297"/>
                    <a:pt x="72" y="297"/>
                  </a:cubicBezTo>
                  <a:cubicBezTo>
                    <a:pt x="47" y="297"/>
                    <a:pt x="28" y="277"/>
                    <a:pt x="28" y="253"/>
                  </a:cubicBezTo>
                  <a:cubicBezTo>
                    <a:pt x="28" y="229"/>
                    <a:pt x="47" y="209"/>
                    <a:pt x="72" y="209"/>
                  </a:cubicBezTo>
                  <a:cubicBezTo>
                    <a:pt x="96" y="209"/>
                    <a:pt x="116" y="229"/>
                    <a:pt x="116" y="253"/>
                  </a:cubicBezTo>
                  <a:close/>
                  <a:moveTo>
                    <a:pt x="116" y="72"/>
                  </a:moveTo>
                  <a:cubicBezTo>
                    <a:pt x="116" y="96"/>
                    <a:pt x="96" y="116"/>
                    <a:pt x="72" y="116"/>
                  </a:cubicBezTo>
                  <a:cubicBezTo>
                    <a:pt x="47" y="116"/>
                    <a:pt x="28" y="96"/>
                    <a:pt x="28" y="72"/>
                  </a:cubicBezTo>
                  <a:cubicBezTo>
                    <a:pt x="28" y="48"/>
                    <a:pt x="47" y="28"/>
                    <a:pt x="72" y="28"/>
                  </a:cubicBezTo>
                  <a:cubicBezTo>
                    <a:pt x="96" y="28"/>
                    <a:pt x="116" y="48"/>
                    <a:pt x="116" y="72"/>
                  </a:cubicBezTo>
                  <a:close/>
                  <a:moveTo>
                    <a:pt x="213" y="72"/>
                  </a:moveTo>
                  <a:cubicBezTo>
                    <a:pt x="213" y="48"/>
                    <a:pt x="232" y="28"/>
                    <a:pt x="257" y="28"/>
                  </a:cubicBezTo>
                  <a:cubicBezTo>
                    <a:pt x="281" y="28"/>
                    <a:pt x="301" y="48"/>
                    <a:pt x="301" y="72"/>
                  </a:cubicBezTo>
                  <a:cubicBezTo>
                    <a:pt x="301" y="96"/>
                    <a:pt x="281" y="116"/>
                    <a:pt x="257" y="116"/>
                  </a:cubicBezTo>
                  <a:cubicBezTo>
                    <a:pt x="232" y="116"/>
                    <a:pt x="213" y="96"/>
                    <a:pt x="213" y="72"/>
                  </a:cubicBezTo>
                  <a:close/>
                  <a:moveTo>
                    <a:pt x="85" y="182"/>
                  </a:moveTo>
                  <a:cubicBezTo>
                    <a:pt x="85" y="143"/>
                    <a:pt x="85" y="143"/>
                    <a:pt x="85" y="143"/>
                  </a:cubicBezTo>
                  <a:cubicBezTo>
                    <a:pt x="114" y="137"/>
                    <a:pt x="136" y="115"/>
                    <a:pt x="142" y="86"/>
                  </a:cubicBezTo>
                  <a:cubicBezTo>
                    <a:pt x="186" y="86"/>
                    <a:pt x="186" y="86"/>
                    <a:pt x="186" y="86"/>
                  </a:cubicBezTo>
                  <a:cubicBezTo>
                    <a:pt x="192" y="115"/>
                    <a:pt x="214" y="137"/>
                    <a:pt x="243" y="143"/>
                  </a:cubicBezTo>
                  <a:cubicBezTo>
                    <a:pt x="243" y="183"/>
                    <a:pt x="243" y="183"/>
                    <a:pt x="243" y="183"/>
                  </a:cubicBezTo>
                  <a:cubicBezTo>
                    <a:pt x="215" y="188"/>
                    <a:pt x="193" y="210"/>
                    <a:pt x="186" y="238"/>
                  </a:cubicBezTo>
                  <a:cubicBezTo>
                    <a:pt x="142" y="238"/>
                    <a:pt x="142" y="238"/>
                    <a:pt x="142" y="238"/>
                  </a:cubicBezTo>
                  <a:cubicBezTo>
                    <a:pt x="136" y="210"/>
                    <a:pt x="114" y="188"/>
                    <a:pt x="85" y="182"/>
                  </a:cubicBezTo>
                  <a:close/>
                </a:path>
              </a:pathLst>
            </a:custGeom>
            <a:solidFill>
              <a:sysClr val="window" lastClr="FFFFFF"/>
            </a:solidFill>
            <a:ln>
              <a:noFill/>
            </a:ln>
            <a:scene3d>
              <a:camera prst="isometricOffAxis2Left">
                <a:rot lat="1080000" lon="1200000" rev="0"/>
              </a:camera>
              <a:lightRig rig="threePt" dir="t"/>
            </a:scene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100" kern="0">
                <a:solidFill>
                  <a:sysClr val="windowText" lastClr="000000"/>
                </a:solidFill>
              </a:endParaRPr>
            </a:p>
          </p:txBody>
        </p:sp>
      </p:grpSp>
      <p:grpSp>
        <p:nvGrpSpPr>
          <p:cNvPr id="97" name="Group 96"/>
          <p:cNvGrpSpPr/>
          <p:nvPr/>
        </p:nvGrpSpPr>
        <p:grpSpPr>
          <a:xfrm>
            <a:off x="607435" y="1589304"/>
            <a:ext cx="1969294" cy="2080988"/>
            <a:chOff x="1169025" y="2556183"/>
            <a:chExt cx="1450234" cy="1532491"/>
          </a:xfrm>
        </p:grpSpPr>
        <p:grpSp>
          <p:nvGrpSpPr>
            <p:cNvPr id="62" name="Group 61"/>
            <p:cNvGrpSpPr/>
            <p:nvPr/>
          </p:nvGrpSpPr>
          <p:grpSpPr>
            <a:xfrm>
              <a:off x="1169025" y="2556183"/>
              <a:ext cx="1371701" cy="1532491"/>
              <a:chOff x="1169025" y="2556183"/>
              <a:chExt cx="1371701" cy="1532491"/>
            </a:xfrm>
          </p:grpSpPr>
          <p:grpSp>
            <p:nvGrpSpPr>
              <p:cNvPr id="56" name="Group 55"/>
              <p:cNvGrpSpPr/>
              <p:nvPr/>
            </p:nvGrpSpPr>
            <p:grpSpPr>
              <a:xfrm>
                <a:off x="1456508" y="3010989"/>
                <a:ext cx="727067" cy="1077685"/>
                <a:chOff x="1456508" y="3010989"/>
                <a:chExt cx="727067" cy="1077685"/>
              </a:xfrm>
            </p:grpSpPr>
            <p:sp>
              <p:nvSpPr>
                <p:cNvPr id="55" name="Oval 54"/>
                <p:cNvSpPr/>
                <p:nvPr/>
              </p:nvSpPr>
              <p:spPr>
                <a:xfrm>
                  <a:off x="1456508" y="3886199"/>
                  <a:ext cx="727067" cy="202475"/>
                </a:xfrm>
                <a:prstGeom prst="ellipse">
                  <a:avLst/>
                </a:prstGeom>
                <a:gradFill flip="none" rotWithShape="1">
                  <a:gsLst>
                    <a:gs pos="0">
                      <a:schemeClr val="tx1">
                        <a:alpha val="40000"/>
                      </a:schemeClr>
                    </a:gs>
                    <a:gs pos="100000">
                      <a:schemeClr val="tx1">
                        <a:alpha val="0"/>
                      </a:schemeClr>
                    </a:gs>
                  </a:gsLst>
                  <a:path path="circle">
                    <a:fillToRect l="50000" t="50000" r="50000" b="50000"/>
                  </a:path>
                  <a:tileRect/>
                </a:gradFill>
                <a:ln w="12700" cmpd="sng">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p>
              </p:txBody>
            </p:sp>
            <p:pic>
              <p:nvPicPr>
                <p:cNvPr id="53" name="Picture 4" descr="\\vmware-host\Shared Folders\Desktop\Active  Projects\2015 EMC World\Presentations\Roloff Session\Street Signs.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646964" y="3010989"/>
                  <a:ext cx="337850" cy="1042660"/>
                </a:xfrm>
                <a:prstGeom prst="rect">
                  <a:avLst/>
                </a:prstGeom>
                <a:noFill/>
              </p:spPr>
            </p:pic>
          </p:grpSp>
          <p:pic>
            <p:nvPicPr>
              <p:cNvPr id="54" name="Picture 3" descr="\\vmware-host\Shared Folders\Desktop\Active  Projects\2015 EMC World\Presentations\Roloff Session\Sign Top.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169025" y="2556183"/>
                <a:ext cx="1371701" cy="858805"/>
              </a:xfrm>
              <a:prstGeom prst="rect">
                <a:avLst/>
              </a:prstGeom>
              <a:noFill/>
            </p:spPr>
          </p:pic>
        </p:grpSp>
        <p:sp>
          <p:nvSpPr>
            <p:cNvPr id="45" name="TextBox 44"/>
            <p:cNvSpPr txBox="1"/>
            <p:nvPr/>
          </p:nvSpPr>
          <p:spPr>
            <a:xfrm>
              <a:off x="1288270" y="2956976"/>
              <a:ext cx="1330989" cy="283318"/>
            </a:xfrm>
            <a:prstGeom prst="rect">
              <a:avLst/>
            </a:prstGeom>
            <a:noFill/>
            <a:scene3d>
              <a:camera prst="isometricOffAxis2Left">
                <a:rot lat="600000" lon="1560000" rev="0"/>
              </a:camera>
              <a:lightRig rig="threePt" dir="t"/>
            </a:scene3d>
          </p:spPr>
          <p:txBody>
            <a:bodyPr wrap="square" rtlCol="0">
              <a:spAutoFit/>
            </a:bodyPr>
            <a:lstStyle/>
            <a:p>
              <a:r>
                <a:rPr lang="en-US" sz="1900" dirty="0" smtClean="0">
                  <a:solidFill>
                    <a:schemeClr val="bg1"/>
                  </a:solidFill>
                </a:rPr>
                <a:t>User Portal</a:t>
              </a:r>
            </a:p>
          </p:txBody>
        </p:sp>
        <p:sp>
          <p:nvSpPr>
            <p:cNvPr id="93" name="Freeform 26"/>
            <p:cNvSpPr>
              <a:spLocks noChangeAspect="1" noEditPoints="1"/>
            </p:cNvSpPr>
            <p:nvPr/>
          </p:nvSpPr>
          <p:spPr bwMode="auto">
            <a:xfrm>
              <a:off x="1706818" y="2705295"/>
              <a:ext cx="236285" cy="158372"/>
            </a:xfrm>
            <a:custGeom>
              <a:avLst/>
              <a:gdLst>
                <a:gd name="T0" fmla="*/ 1712 w 1723"/>
                <a:gd name="T1" fmla="*/ 872 h 953"/>
                <a:gd name="T2" fmla="*/ 1510 w 1723"/>
                <a:gd name="T3" fmla="*/ 744 h 953"/>
                <a:gd name="T4" fmla="*/ 1510 w 1723"/>
                <a:gd name="T5" fmla="*/ 21 h 953"/>
                <a:gd name="T6" fmla="*/ 1488 w 1723"/>
                <a:gd name="T7" fmla="*/ 0 h 953"/>
                <a:gd name="T8" fmla="*/ 226 w 1723"/>
                <a:gd name="T9" fmla="*/ 0 h 953"/>
                <a:gd name="T10" fmla="*/ 204 w 1723"/>
                <a:gd name="T11" fmla="*/ 21 h 953"/>
                <a:gd name="T12" fmla="*/ 204 w 1723"/>
                <a:gd name="T13" fmla="*/ 744 h 953"/>
                <a:gd name="T14" fmla="*/ 9 w 1723"/>
                <a:gd name="T15" fmla="*/ 872 h 953"/>
                <a:gd name="T16" fmla="*/ 9 w 1723"/>
                <a:gd name="T17" fmla="*/ 874 h 953"/>
                <a:gd name="T18" fmla="*/ 6 w 1723"/>
                <a:gd name="T19" fmla="*/ 876 h 953"/>
                <a:gd name="T20" fmla="*/ 4 w 1723"/>
                <a:gd name="T21" fmla="*/ 878 h 953"/>
                <a:gd name="T22" fmla="*/ 4 w 1723"/>
                <a:gd name="T23" fmla="*/ 879 h 953"/>
                <a:gd name="T24" fmla="*/ 2 w 1723"/>
                <a:gd name="T25" fmla="*/ 881 h 953"/>
                <a:gd name="T26" fmla="*/ 2 w 1723"/>
                <a:gd name="T27" fmla="*/ 883 h 953"/>
                <a:gd name="T28" fmla="*/ 0 w 1723"/>
                <a:gd name="T29" fmla="*/ 885 h 953"/>
                <a:gd name="T30" fmla="*/ 0 w 1723"/>
                <a:gd name="T31" fmla="*/ 887 h 953"/>
                <a:gd name="T32" fmla="*/ 0 w 1723"/>
                <a:gd name="T33" fmla="*/ 890 h 953"/>
                <a:gd name="T34" fmla="*/ 0 w 1723"/>
                <a:gd name="T35" fmla="*/ 911 h 953"/>
                <a:gd name="T36" fmla="*/ 62 w 1723"/>
                <a:gd name="T37" fmla="*/ 953 h 953"/>
                <a:gd name="T38" fmla="*/ 1668 w 1723"/>
                <a:gd name="T39" fmla="*/ 953 h 953"/>
                <a:gd name="T40" fmla="*/ 1723 w 1723"/>
                <a:gd name="T41" fmla="*/ 911 h 953"/>
                <a:gd name="T42" fmla="*/ 1723 w 1723"/>
                <a:gd name="T43" fmla="*/ 892 h 953"/>
                <a:gd name="T44" fmla="*/ 1723 w 1723"/>
                <a:gd name="T45" fmla="*/ 890 h 953"/>
                <a:gd name="T46" fmla="*/ 1712 w 1723"/>
                <a:gd name="T47" fmla="*/ 872 h 953"/>
                <a:gd name="T48" fmla="*/ 657 w 1723"/>
                <a:gd name="T49" fmla="*/ 876 h 953"/>
                <a:gd name="T50" fmla="*/ 734 w 1723"/>
                <a:gd name="T51" fmla="*/ 804 h 953"/>
                <a:gd name="T52" fmla="*/ 1010 w 1723"/>
                <a:gd name="T53" fmla="*/ 804 h 953"/>
                <a:gd name="T54" fmla="*/ 1087 w 1723"/>
                <a:gd name="T55" fmla="*/ 876 h 953"/>
                <a:gd name="T56" fmla="*/ 657 w 1723"/>
                <a:gd name="T57" fmla="*/ 876 h 953"/>
                <a:gd name="T58" fmla="*/ 1431 w 1723"/>
                <a:gd name="T59" fmla="*/ 707 h 953"/>
                <a:gd name="T60" fmla="*/ 283 w 1723"/>
                <a:gd name="T61" fmla="*/ 707 h 953"/>
                <a:gd name="T62" fmla="*/ 283 w 1723"/>
                <a:gd name="T63" fmla="*/ 68 h 953"/>
                <a:gd name="T64" fmla="*/ 1431 w 1723"/>
                <a:gd name="T65" fmla="*/ 68 h 953"/>
                <a:gd name="T66" fmla="*/ 1431 w 1723"/>
                <a:gd name="T67" fmla="*/ 707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23" h="953">
                  <a:moveTo>
                    <a:pt x="1712" y="872"/>
                  </a:moveTo>
                  <a:cubicBezTo>
                    <a:pt x="1510" y="744"/>
                    <a:pt x="1510" y="744"/>
                    <a:pt x="1510" y="744"/>
                  </a:cubicBezTo>
                  <a:cubicBezTo>
                    <a:pt x="1510" y="21"/>
                    <a:pt x="1510" y="21"/>
                    <a:pt x="1510" y="21"/>
                  </a:cubicBezTo>
                  <a:cubicBezTo>
                    <a:pt x="1510" y="10"/>
                    <a:pt x="1501" y="0"/>
                    <a:pt x="1488" y="0"/>
                  </a:cubicBezTo>
                  <a:cubicBezTo>
                    <a:pt x="226" y="0"/>
                    <a:pt x="226" y="0"/>
                    <a:pt x="226" y="0"/>
                  </a:cubicBezTo>
                  <a:cubicBezTo>
                    <a:pt x="213" y="0"/>
                    <a:pt x="204" y="10"/>
                    <a:pt x="204" y="21"/>
                  </a:cubicBezTo>
                  <a:cubicBezTo>
                    <a:pt x="204" y="744"/>
                    <a:pt x="204" y="744"/>
                    <a:pt x="204" y="744"/>
                  </a:cubicBezTo>
                  <a:cubicBezTo>
                    <a:pt x="9" y="872"/>
                    <a:pt x="9" y="872"/>
                    <a:pt x="9" y="872"/>
                  </a:cubicBezTo>
                  <a:cubicBezTo>
                    <a:pt x="9" y="872"/>
                    <a:pt x="9" y="872"/>
                    <a:pt x="9" y="874"/>
                  </a:cubicBezTo>
                  <a:cubicBezTo>
                    <a:pt x="7" y="874"/>
                    <a:pt x="7" y="874"/>
                    <a:pt x="6" y="876"/>
                  </a:cubicBezTo>
                  <a:cubicBezTo>
                    <a:pt x="6" y="878"/>
                    <a:pt x="4" y="878"/>
                    <a:pt x="4" y="878"/>
                  </a:cubicBezTo>
                  <a:cubicBezTo>
                    <a:pt x="4" y="879"/>
                    <a:pt x="4" y="879"/>
                    <a:pt x="4" y="879"/>
                  </a:cubicBezTo>
                  <a:cubicBezTo>
                    <a:pt x="2" y="879"/>
                    <a:pt x="2" y="881"/>
                    <a:pt x="2" y="881"/>
                  </a:cubicBezTo>
                  <a:cubicBezTo>
                    <a:pt x="2" y="881"/>
                    <a:pt x="2" y="881"/>
                    <a:pt x="2" y="883"/>
                  </a:cubicBezTo>
                  <a:cubicBezTo>
                    <a:pt x="0" y="885"/>
                    <a:pt x="0" y="885"/>
                    <a:pt x="0" y="885"/>
                  </a:cubicBezTo>
                  <a:cubicBezTo>
                    <a:pt x="0" y="885"/>
                    <a:pt x="0" y="885"/>
                    <a:pt x="0" y="887"/>
                  </a:cubicBezTo>
                  <a:cubicBezTo>
                    <a:pt x="0" y="887"/>
                    <a:pt x="0" y="889"/>
                    <a:pt x="0" y="890"/>
                  </a:cubicBezTo>
                  <a:cubicBezTo>
                    <a:pt x="0" y="911"/>
                    <a:pt x="0" y="911"/>
                    <a:pt x="0" y="911"/>
                  </a:cubicBezTo>
                  <a:cubicBezTo>
                    <a:pt x="0" y="940"/>
                    <a:pt x="40" y="953"/>
                    <a:pt x="62" y="953"/>
                  </a:cubicBezTo>
                  <a:cubicBezTo>
                    <a:pt x="1668" y="953"/>
                    <a:pt x="1668" y="953"/>
                    <a:pt x="1668" y="953"/>
                  </a:cubicBezTo>
                  <a:cubicBezTo>
                    <a:pt x="1699" y="953"/>
                    <a:pt x="1723" y="934"/>
                    <a:pt x="1723" y="911"/>
                  </a:cubicBezTo>
                  <a:cubicBezTo>
                    <a:pt x="1723" y="892"/>
                    <a:pt x="1723" y="892"/>
                    <a:pt x="1723" y="892"/>
                  </a:cubicBezTo>
                  <a:cubicBezTo>
                    <a:pt x="1723" y="890"/>
                    <a:pt x="1723" y="890"/>
                    <a:pt x="1723" y="890"/>
                  </a:cubicBezTo>
                  <a:cubicBezTo>
                    <a:pt x="1723" y="881"/>
                    <a:pt x="1719" y="876"/>
                    <a:pt x="1712" y="872"/>
                  </a:cubicBezTo>
                  <a:close/>
                  <a:moveTo>
                    <a:pt x="657" y="876"/>
                  </a:moveTo>
                  <a:cubicBezTo>
                    <a:pt x="734" y="804"/>
                    <a:pt x="734" y="804"/>
                    <a:pt x="734" y="804"/>
                  </a:cubicBezTo>
                  <a:cubicBezTo>
                    <a:pt x="1010" y="804"/>
                    <a:pt x="1010" y="804"/>
                    <a:pt x="1010" y="804"/>
                  </a:cubicBezTo>
                  <a:cubicBezTo>
                    <a:pt x="1087" y="876"/>
                    <a:pt x="1087" y="876"/>
                    <a:pt x="1087" y="876"/>
                  </a:cubicBezTo>
                  <a:lnTo>
                    <a:pt x="657" y="876"/>
                  </a:lnTo>
                  <a:close/>
                  <a:moveTo>
                    <a:pt x="1431" y="707"/>
                  </a:moveTo>
                  <a:cubicBezTo>
                    <a:pt x="283" y="707"/>
                    <a:pt x="283" y="707"/>
                    <a:pt x="283" y="707"/>
                  </a:cubicBezTo>
                  <a:cubicBezTo>
                    <a:pt x="283" y="68"/>
                    <a:pt x="283" y="68"/>
                    <a:pt x="283" y="68"/>
                  </a:cubicBezTo>
                  <a:cubicBezTo>
                    <a:pt x="1431" y="68"/>
                    <a:pt x="1431" y="68"/>
                    <a:pt x="1431" y="68"/>
                  </a:cubicBezTo>
                  <a:lnTo>
                    <a:pt x="1431" y="707"/>
                  </a:lnTo>
                  <a:close/>
                </a:path>
              </a:pathLst>
            </a:custGeom>
            <a:solidFill>
              <a:sysClr val="window" lastClr="FFFFFF"/>
            </a:solidFill>
            <a:ln>
              <a:noFill/>
            </a:ln>
            <a:scene3d>
              <a:camera prst="isometricOffAxis2Left">
                <a:rot lat="1080000" lon="1200000" rev="0"/>
              </a:camera>
              <a:lightRig rig="threePt" dir="t"/>
            </a:scene3d>
            <a:extLst/>
          </p:spPr>
          <p:txBody>
            <a:bodyPr vert="horz" wrap="square" lIns="91440" tIns="45720" rIns="91440" bIns="45720" numCol="1" anchor="t" anchorCtr="0" compatLnSpc="1">
              <a:prstTxWarp prst="textNoShape">
                <a:avLst/>
              </a:prstTxWarp>
            </a:bodyPr>
            <a:lstStyle/>
            <a:p>
              <a:pPr defTabSz="914400">
                <a:defRPr/>
              </a:pPr>
              <a:endParaRPr lang="en-US" sz="1100" kern="0">
                <a:solidFill>
                  <a:sysClr val="windowText" lastClr="000000"/>
                </a:solidFill>
              </a:endParaRPr>
            </a:p>
          </p:txBody>
        </p:sp>
      </p:grpSp>
      <p:grpSp>
        <p:nvGrpSpPr>
          <p:cNvPr id="116" name="Group 115"/>
          <p:cNvGrpSpPr/>
          <p:nvPr/>
        </p:nvGrpSpPr>
        <p:grpSpPr>
          <a:xfrm>
            <a:off x="2967615" y="1615938"/>
            <a:ext cx="1460420" cy="1625458"/>
            <a:chOff x="3398391" y="2423157"/>
            <a:chExt cx="1152137" cy="1282337"/>
          </a:xfrm>
        </p:grpSpPr>
        <p:grpSp>
          <p:nvGrpSpPr>
            <p:cNvPr id="98" name="Group 97"/>
            <p:cNvGrpSpPr/>
            <p:nvPr/>
          </p:nvGrpSpPr>
          <p:grpSpPr>
            <a:xfrm>
              <a:off x="3398391" y="2423157"/>
              <a:ext cx="1152137" cy="1282337"/>
              <a:chOff x="3472728" y="2464618"/>
              <a:chExt cx="1079678" cy="1201690"/>
            </a:xfrm>
          </p:grpSpPr>
          <p:grpSp>
            <p:nvGrpSpPr>
              <p:cNvPr id="66" name="Group 65"/>
              <p:cNvGrpSpPr/>
              <p:nvPr/>
            </p:nvGrpSpPr>
            <p:grpSpPr>
              <a:xfrm>
                <a:off x="3476798" y="2464618"/>
                <a:ext cx="1075608" cy="1201690"/>
                <a:chOff x="1169025" y="2556183"/>
                <a:chExt cx="1371701" cy="1532491"/>
              </a:xfrm>
            </p:grpSpPr>
            <p:grpSp>
              <p:nvGrpSpPr>
                <p:cNvPr id="68" name="Group 67"/>
                <p:cNvGrpSpPr/>
                <p:nvPr/>
              </p:nvGrpSpPr>
              <p:grpSpPr>
                <a:xfrm>
                  <a:off x="1487728" y="3010989"/>
                  <a:ext cx="727067" cy="1077685"/>
                  <a:chOff x="1487728" y="3010989"/>
                  <a:chExt cx="727067" cy="1077685"/>
                </a:xfrm>
              </p:grpSpPr>
              <p:sp>
                <p:nvSpPr>
                  <p:cNvPr id="70" name="Oval 69"/>
                  <p:cNvSpPr/>
                  <p:nvPr/>
                </p:nvSpPr>
                <p:spPr>
                  <a:xfrm>
                    <a:off x="1487728" y="3910981"/>
                    <a:ext cx="727067" cy="177693"/>
                  </a:xfrm>
                  <a:prstGeom prst="ellipse">
                    <a:avLst/>
                  </a:prstGeom>
                  <a:gradFill flip="none" rotWithShape="1">
                    <a:gsLst>
                      <a:gs pos="0">
                        <a:schemeClr val="tx1">
                          <a:alpha val="40000"/>
                        </a:schemeClr>
                      </a:gs>
                      <a:gs pos="100000">
                        <a:schemeClr val="tx1">
                          <a:alpha val="0"/>
                        </a:schemeClr>
                      </a:gs>
                    </a:gsLst>
                    <a:path path="circle">
                      <a:fillToRect l="50000" t="50000" r="50000" b="50000"/>
                    </a:path>
                    <a:tileRect/>
                  </a:gradFill>
                  <a:ln w="12700" cmpd="sng">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p>
                </p:txBody>
              </p:sp>
              <p:pic>
                <p:nvPicPr>
                  <p:cNvPr id="75" name="Picture 4" descr="\\vmware-host\Shared Folders\Desktop\Active  Projects\2015 EMC World\Presentations\Roloff Session\Street Signs.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678184" y="3010989"/>
                    <a:ext cx="337850" cy="1042660"/>
                  </a:xfrm>
                  <a:prstGeom prst="rect">
                    <a:avLst/>
                  </a:prstGeom>
                  <a:noFill/>
                </p:spPr>
              </p:pic>
            </p:grpSp>
            <p:pic>
              <p:nvPicPr>
                <p:cNvPr id="69" name="Picture 3" descr="\\vmware-host\Shared Folders\Desktop\Active  Projects\2015 EMC World\Presentations\Roloff Session\Sign Top.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169025" y="2556183"/>
                  <a:ext cx="1371701" cy="858805"/>
                </a:xfrm>
                <a:prstGeom prst="rect">
                  <a:avLst/>
                </a:prstGeom>
                <a:noFill/>
              </p:spPr>
            </p:pic>
          </p:grpSp>
          <p:sp>
            <p:nvSpPr>
              <p:cNvPr id="73" name="TextBox 72"/>
              <p:cNvSpPr txBox="1"/>
              <p:nvPr/>
            </p:nvSpPr>
            <p:spPr>
              <a:xfrm>
                <a:off x="3472728" y="2833184"/>
                <a:ext cx="1060891" cy="157807"/>
              </a:xfrm>
              <a:prstGeom prst="rect">
                <a:avLst/>
              </a:prstGeom>
              <a:noFill/>
              <a:scene3d>
                <a:camera prst="isometricOffAxis2Left">
                  <a:rot lat="1080000" lon="900000" rev="0"/>
                </a:camera>
                <a:lightRig rig="threePt" dir="t"/>
              </a:scene3d>
            </p:spPr>
            <p:txBody>
              <a:bodyPr wrap="none" rtlCol="0">
                <a:spAutoFit/>
              </a:bodyPr>
              <a:lstStyle/>
              <a:p>
                <a:pPr algn="ctr">
                  <a:lnSpc>
                    <a:spcPts val="900"/>
                  </a:lnSpc>
                </a:pPr>
                <a:r>
                  <a:rPr lang="en-US" sz="1300" spc="-30" dirty="0" smtClean="0">
                    <a:solidFill>
                      <a:schemeClr val="bg1"/>
                    </a:solidFill>
                  </a:rPr>
                  <a:t>Service Catalog</a:t>
                </a:r>
              </a:p>
            </p:txBody>
          </p:sp>
        </p:grpSp>
        <p:grpSp>
          <p:nvGrpSpPr>
            <p:cNvPr id="99" name="Group 98"/>
            <p:cNvGrpSpPr>
              <a:grpSpLocks noChangeAspect="1"/>
            </p:cNvGrpSpPr>
            <p:nvPr/>
          </p:nvGrpSpPr>
          <p:grpSpPr>
            <a:xfrm>
              <a:off x="3879669" y="2527798"/>
              <a:ext cx="159816" cy="187486"/>
              <a:chOff x="24580850" y="-23302913"/>
              <a:chExt cx="2576513" cy="3022601"/>
            </a:xfrm>
            <a:solidFill>
              <a:schemeClr val="bg1"/>
            </a:solidFill>
          </p:grpSpPr>
          <p:sp>
            <p:nvSpPr>
              <p:cNvPr id="100" name="Freeform 14"/>
              <p:cNvSpPr>
                <a:spLocks/>
              </p:cNvSpPr>
              <p:nvPr/>
            </p:nvSpPr>
            <p:spPr bwMode="auto">
              <a:xfrm>
                <a:off x="24888825" y="-22994938"/>
                <a:ext cx="1943100" cy="2392363"/>
              </a:xfrm>
              <a:custGeom>
                <a:avLst/>
                <a:gdLst>
                  <a:gd name="T0" fmla="*/ 130 w 518"/>
                  <a:gd name="T1" fmla="*/ 47 h 638"/>
                  <a:gd name="T2" fmla="*/ 492 w 518"/>
                  <a:gd name="T3" fmla="*/ 47 h 638"/>
                  <a:gd name="T4" fmla="*/ 518 w 518"/>
                  <a:gd name="T5" fmla="*/ 51 h 638"/>
                  <a:gd name="T6" fmla="*/ 443 w 518"/>
                  <a:gd name="T7" fmla="*/ 0 h 638"/>
                  <a:gd name="T8" fmla="*/ 81 w 518"/>
                  <a:gd name="T9" fmla="*/ 0 h 638"/>
                  <a:gd name="T10" fmla="*/ 0 w 518"/>
                  <a:gd name="T11" fmla="*/ 80 h 638"/>
                  <a:gd name="T12" fmla="*/ 0 w 518"/>
                  <a:gd name="T13" fmla="*/ 562 h 638"/>
                  <a:gd name="T14" fmla="*/ 55 w 518"/>
                  <a:gd name="T15" fmla="*/ 638 h 638"/>
                  <a:gd name="T16" fmla="*/ 49 w 518"/>
                  <a:gd name="T17" fmla="*/ 609 h 638"/>
                  <a:gd name="T18" fmla="*/ 49 w 518"/>
                  <a:gd name="T19" fmla="*/ 127 h 638"/>
                  <a:gd name="T20" fmla="*/ 130 w 518"/>
                  <a:gd name="T21" fmla="*/ 47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8" h="638">
                    <a:moveTo>
                      <a:pt x="130" y="47"/>
                    </a:moveTo>
                    <a:cubicBezTo>
                      <a:pt x="492" y="47"/>
                      <a:pt x="492" y="47"/>
                      <a:pt x="492" y="47"/>
                    </a:cubicBezTo>
                    <a:cubicBezTo>
                      <a:pt x="501" y="47"/>
                      <a:pt x="510" y="48"/>
                      <a:pt x="518" y="51"/>
                    </a:cubicBezTo>
                    <a:cubicBezTo>
                      <a:pt x="507" y="21"/>
                      <a:pt x="477" y="0"/>
                      <a:pt x="443" y="0"/>
                    </a:cubicBezTo>
                    <a:cubicBezTo>
                      <a:pt x="81" y="0"/>
                      <a:pt x="81" y="0"/>
                      <a:pt x="81" y="0"/>
                    </a:cubicBezTo>
                    <a:cubicBezTo>
                      <a:pt x="36" y="0"/>
                      <a:pt x="0" y="36"/>
                      <a:pt x="0" y="80"/>
                    </a:cubicBezTo>
                    <a:cubicBezTo>
                      <a:pt x="0" y="562"/>
                      <a:pt x="0" y="562"/>
                      <a:pt x="0" y="562"/>
                    </a:cubicBezTo>
                    <a:cubicBezTo>
                      <a:pt x="0" y="598"/>
                      <a:pt x="23" y="628"/>
                      <a:pt x="55" y="638"/>
                    </a:cubicBezTo>
                    <a:cubicBezTo>
                      <a:pt x="51" y="629"/>
                      <a:pt x="49" y="620"/>
                      <a:pt x="49" y="609"/>
                    </a:cubicBezTo>
                    <a:cubicBezTo>
                      <a:pt x="49" y="127"/>
                      <a:pt x="49" y="127"/>
                      <a:pt x="49" y="127"/>
                    </a:cubicBezTo>
                    <a:cubicBezTo>
                      <a:pt x="49" y="83"/>
                      <a:pt x="85" y="47"/>
                      <a:pt x="130" y="47"/>
                    </a:cubicBezTo>
                    <a:close/>
                  </a:path>
                </a:pathLst>
              </a:custGeom>
              <a:solidFill>
                <a:sysClr val="window" lastClr="FFFFFF"/>
              </a:solidFill>
              <a:ln>
                <a:noFill/>
              </a:ln>
              <a:scene3d>
                <a:camera prst="isometricOffAxis2Left">
                  <a:rot lat="1080000" lon="1200000" rev="0"/>
                </a:camera>
                <a:lightRig rig="threePt" dir="t"/>
              </a:scene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100" kern="0">
                  <a:solidFill>
                    <a:sysClr val="windowText" lastClr="000000"/>
                  </a:solidFill>
                </a:endParaRPr>
              </a:p>
            </p:txBody>
          </p:sp>
          <p:sp>
            <p:nvSpPr>
              <p:cNvPr id="101" name="Freeform 15"/>
              <p:cNvSpPr>
                <a:spLocks/>
              </p:cNvSpPr>
              <p:nvPr/>
            </p:nvSpPr>
            <p:spPr bwMode="auto">
              <a:xfrm>
                <a:off x="24580850" y="-23302913"/>
                <a:ext cx="1943100" cy="2397125"/>
              </a:xfrm>
              <a:custGeom>
                <a:avLst/>
                <a:gdLst>
                  <a:gd name="T0" fmla="*/ 130 w 518"/>
                  <a:gd name="T1" fmla="*/ 47 h 639"/>
                  <a:gd name="T2" fmla="*/ 493 w 518"/>
                  <a:gd name="T3" fmla="*/ 47 h 639"/>
                  <a:gd name="T4" fmla="*/ 518 w 518"/>
                  <a:gd name="T5" fmla="*/ 52 h 639"/>
                  <a:gd name="T6" fmla="*/ 443 w 518"/>
                  <a:gd name="T7" fmla="*/ 0 h 639"/>
                  <a:gd name="T8" fmla="*/ 81 w 518"/>
                  <a:gd name="T9" fmla="*/ 0 h 639"/>
                  <a:gd name="T10" fmla="*/ 0 w 518"/>
                  <a:gd name="T11" fmla="*/ 81 h 639"/>
                  <a:gd name="T12" fmla="*/ 0 w 518"/>
                  <a:gd name="T13" fmla="*/ 563 h 639"/>
                  <a:gd name="T14" fmla="*/ 55 w 518"/>
                  <a:gd name="T15" fmla="*/ 639 h 639"/>
                  <a:gd name="T16" fmla="*/ 49 w 518"/>
                  <a:gd name="T17" fmla="*/ 610 h 639"/>
                  <a:gd name="T18" fmla="*/ 49 w 518"/>
                  <a:gd name="T19" fmla="*/ 128 h 639"/>
                  <a:gd name="T20" fmla="*/ 130 w 518"/>
                  <a:gd name="T21" fmla="*/ 4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8" h="639">
                    <a:moveTo>
                      <a:pt x="130" y="47"/>
                    </a:moveTo>
                    <a:cubicBezTo>
                      <a:pt x="493" y="47"/>
                      <a:pt x="493" y="47"/>
                      <a:pt x="493" y="47"/>
                    </a:cubicBezTo>
                    <a:cubicBezTo>
                      <a:pt x="502" y="47"/>
                      <a:pt x="510" y="49"/>
                      <a:pt x="518" y="52"/>
                    </a:cubicBezTo>
                    <a:cubicBezTo>
                      <a:pt x="507" y="22"/>
                      <a:pt x="478" y="0"/>
                      <a:pt x="443" y="0"/>
                    </a:cubicBezTo>
                    <a:cubicBezTo>
                      <a:pt x="81" y="0"/>
                      <a:pt x="81" y="0"/>
                      <a:pt x="81" y="0"/>
                    </a:cubicBezTo>
                    <a:cubicBezTo>
                      <a:pt x="36" y="0"/>
                      <a:pt x="0" y="37"/>
                      <a:pt x="0" y="81"/>
                    </a:cubicBezTo>
                    <a:cubicBezTo>
                      <a:pt x="0" y="563"/>
                      <a:pt x="0" y="563"/>
                      <a:pt x="0" y="563"/>
                    </a:cubicBezTo>
                    <a:cubicBezTo>
                      <a:pt x="0" y="598"/>
                      <a:pt x="23" y="628"/>
                      <a:pt x="55" y="639"/>
                    </a:cubicBezTo>
                    <a:cubicBezTo>
                      <a:pt x="51" y="630"/>
                      <a:pt x="49" y="620"/>
                      <a:pt x="49" y="610"/>
                    </a:cubicBezTo>
                    <a:cubicBezTo>
                      <a:pt x="49" y="128"/>
                      <a:pt x="49" y="128"/>
                      <a:pt x="49" y="128"/>
                    </a:cubicBezTo>
                    <a:cubicBezTo>
                      <a:pt x="49" y="84"/>
                      <a:pt x="86" y="47"/>
                      <a:pt x="130" y="47"/>
                    </a:cubicBezTo>
                    <a:close/>
                  </a:path>
                </a:pathLst>
              </a:custGeom>
              <a:solidFill>
                <a:sysClr val="window" lastClr="FFFFFF"/>
              </a:solidFill>
              <a:ln>
                <a:noFill/>
              </a:ln>
              <a:scene3d>
                <a:camera prst="isometricOffAxis2Left">
                  <a:rot lat="1080000" lon="1200000" rev="0"/>
                </a:camera>
                <a:lightRig rig="threePt" dir="t"/>
              </a:scene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100" kern="0">
                  <a:solidFill>
                    <a:sysClr val="windowText" lastClr="000000"/>
                  </a:solidFill>
                </a:endParaRPr>
              </a:p>
            </p:txBody>
          </p:sp>
          <p:sp>
            <p:nvSpPr>
              <p:cNvPr id="102" name="Freeform 16"/>
              <p:cNvSpPr>
                <a:spLocks noEditPoints="1"/>
              </p:cNvSpPr>
              <p:nvPr/>
            </p:nvSpPr>
            <p:spPr bwMode="auto">
              <a:xfrm>
                <a:off x="25196800" y="-22691725"/>
                <a:ext cx="1960563" cy="2411413"/>
              </a:xfrm>
              <a:custGeom>
                <a:avLst/>
                <a:gdLst>
                  <a:gd name="T0" fmla="*/ 443 w 523"/>
                  <a:gd name="T1" fmla="*/ 0 h 643"/>
                  <a:gd name="T2" fmla="*/ 80 w 523"/>
                  <a:gd name="T3" fmla="*/ 0 h 643"/>
                  <a:gd name="T4" fmla="*/ 0 w 523"/>
                  <a:gd name="T5" fmla="*/ 81 h 643"/>
                  <a:gd name="T6" fmla="*/ 0 w 523"/>
                  <a:gd name="T7" fmla="*/ 563 h 643"/>
                  <a:gd name="T8" fmla="*/ 80 w 523"/>
                  <a:gd name="T9" fmla="*/ 643 h 643"/>
                  <a:gd name="T10" fmla="*/ 443 w 523"/>
                  <a:gd name="T11" fmla="*/ 643 h 643"/>
                  <a:gd name="T12" fmla="*/ 523 w 523"/>
                  <a:gd name="T13" fmla="*/ 563 h 643"/>
                  <a:gd name="T14" fmla="*/ 523 w 523"/>
                  <a:gd name="T15" fmla="*/ 81 h 643"/>
                  <a:gd name="T16" fmla="*/ 443 w 523"/>
                  <a:gd name="T17" fmla="*/ 0 h 643"/>
                  <a:gd name="T18" fmla="*/ 431 w 523"/>
                  <a:gd name="T19" fmla="*/ 516 h 643"/>
                  <a:gd name="T20" fmla="*/ 82 w 523"/>
                  <a:gd name="T21" fmla="*/ 516 h 643"/>
                  <a:gd name="T22" fmla="*/ 66 w 523"/>
                  <a:gd name="T23" fmla="*/ 500 h 643"/>
                  <a:gd name="T24" fmla="*/ 82 w 523"/>
                  <a:gd name="T25" fmla="*/ 483 h 643"/>
                  <a:gd name="T26" fmla="*/ 431 w 523"/>
                  <a:gd name="T27" fmla="*/ 483 h 643"/>
                  <a:gd name="T28" fmla="*/ 448 w 523"/>
                  <a:gd name="T29" fmla="*/ 500 h 643"/>
                  <a:gd name="T30" fmla="*/ 431 w 523"/>
                  <a:gd name="T31" fmla="*/ 516 h 643"/>
                  <a:gd name="T32" fmla="*/ 431 w 523"/>
                  <a:gd name="T33" fmla="*/ 413 h 643"/>
                  <a:gd name="T34" fmla="*/ 82 w 523"/>
                  <a:gd name="T35" fmla="*/ 413 h 643"/>
                  <a:gd name="T36" fmla="*/ 66 w 523"/>
                  <a:gd name="T37" fmla="*/ 396 h 643"/>
                  <a:gd name="T38" fmla="*/ 82 w 523"/>
                  <a:gd name="T39" fmla="*/ 380 h 643"/>
                  <a:gd name="T40" fmla="*/ 431 w 523"/>
                  <a:gd name="T41" fmla="*/ 380 h 643"/>
                  <a:gd name="T42" fmla="*/ 448 w 523"/>
                  <a:gd name="T43" fmla="*/ 396 h 643"/>
                  <a:gd name="T44" fmla="*/ 431 w 523"/>
                  <a:gd name="T45" fmla="*/ 413 h 643"/>
                  <a:gd name="T46" fmla="*/ 431 w 523"/>
                  <a:gd name="T47" fmla="*/ 309 h 643"/>
                  <a:gd name="T48" fmla="*/ 82 w 523"/>
                  <a:gd name="T49" fmla="*/ 309 h 643"/>
                  <a:gd name="T50" fmla="*/ 66 w 523"/>
                  <a:gd name="T51" fmla="*/ 293 h 643"/>
                  <a:gd name="T52" fmla="*/ 82 w 523"/>
                  <a:gd name="T53" fmla="*/ 277 h 643"/>
                  <a:gd name="T54" fmla="*/ 431 w 523"/>
                  <a:gd name="T55" fmla="*/ 277 h 643"/>
                  <a:gd name="T56" fmla="*/ 448 w 523"/>
                  <a:gd name="T57" fmla="*/ 293 h 643"/>
                  <a:gd name="T58" fmla="*/ 431 w 523"/>
                  <a:gd name="T59" fmla="*/ 309 h 643"/>
                  <a:gd name="T60" fmla="*/ 431 w 523"/>
                  <a:gd name="T61" fmla="*/ 206 h 643"/>
                  <a:gd name="T62" fmla="*/ 82 w 523"/>
                  <a:gd name="T63" fmla="*/ 206 h 643"/>
                  <a:gd name="T64" fmla="*/ 66 w 523"/>
                  <a:gd name="T65" fmla="*/ 190 h 643"/>
                  <a:gd name="T66" fmla="*/ 82 w 523"/>
                  <a:gd name="T67" fmla="*/ 174 h 643"/>
                  <a:gd name="T68" fmla="*/ 431 w 523"/>
                  <a:gd name="T69" fmla="*/ 174 h 643"/>
                  <a:gd name="T70" fmla="*/ 448 w 523"/>
                  <a:gd name="T71" fmla="*/ 190 h 643"/>
                  <a:gd name="T72" fmla="*/ 431 w 523"/>
                  <a:gd name="T73" fmla="*/ 206 h 643"/>
                  <a:gd name="T74" fmla="*/ 431 w 523"/>
                  <a:gd name="T75" fmla="*/ 103 h 643"/>
                  <a:gd name="T76" fmla="*/ 82 w 523"/>
                  <a:gd name="T77" fmla="*/ 103 h 643"/>
                  <a:gd name="T78" fmla="*/ 66 w 523"/>
                  <a:gd name="T79" fmla="*/ 87 h 643"/>
                  <a:gd name="T80" fmla="*/ 82 w 523"/>
                  <a:gd name="T81" fmla="*/ 70 h 643"/>
                  <a:gd name="T82" fmla="*/ 431 w 523"/>
                  <a:gd name="T83" fmla="*/ 70 h 643"/>
                  <a:gd name="T84" fmla="*/ 448 w 523"/>
                  <a:gd name="T85" fmla="*/ 87 h 643"/>
                  <a:gd name="T86" fmla="*/ 431 w 523"/>
                  <a:gd name="T87" fmla="*/ 103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643">
                    <a:moveTo>
                      <a:pt x="443" y="0"/>
                    </a:moveTo>
                    <a:cubicBezTo>
                      <a:pt x="80" y="0"/>
                      <a:pt x="80" y="0"/>
                      <a:pt x="80" y="0"/>
                    </a:cubicBezTo>
                    <a:cubicBezTo>
                      <a:pt x="36" y="0"/>
                      <a:pt x="0" y="36"/>
                      <a:pt x="0" y="81"/>
                    </a:cubicBezTo>
                    <a:cubicBezTo>
                      <a:pt x="0" y="563"/>
                      <a:pt x="0" y="563"/>
                      <a:pt x="0" y="563"/>
                    </a:cubicBezTo>
                    <a:cubicBezTo>
                      <a:pt x="0" y="607"/>
                      <a:pt x="36" y="643"/>
                      <a:pt x="80" y="643"/>
                    </a:cubicBezTo>
                    <a:cubicBezTo>
                      <a:pt x="443" y="643"/>
                      <a:pt x="443" y="643"/>
                      <a:pt x="443" y="643"/>
                    </a:cubicBezTo>
                    <a:cubicBezTo>
                      <a:pt x="487" y="643"/>
                      <a:pt x="523" y="607"/>
                      <a:pt x="523" y="563"/>
                    </a:cubicBezTo>
                    <a:cubicBezTo>
                      <a:pt x="523" y="81"/>
                      <a:pt x="523" y="81"/>
                      <a:pt x="523" y="81"/>
                    </a:cubicBezTo>
                    <a:cubicBezTo>
                      <a:pt x="523" y="36"/>
                      <a:pt x="487" y="0"/>
                      <a:pt x="443" y="0"/>
                    </a:cubicBezTo>
                    <a:close/>
                    <a:moveTo>
                      <a:pt x="431" y="516"/>
                    </a:moveTo>
                    <a:cubicBezTo>
                      <a:pt x="82" y="516"/>
                      <a:pt x="82" y="516"/>
                      <a:pt x="82" y="516"/>
                    </a:cubicBezTo>
                    <a:cubicBezTo>
                      <a:pt x="73" y="516"/>
                      <a:pt x="66" y="509"/>
                      <a:pt x="66" y="500"/>
                    </a:cubicBezTo>
                    <a:cubicBezTo>
                      <a:pt x="66" y="491"/>
                      <a:pt x="73" y="483"/>
                      <a:pt x="82" y="483"/>
                    </a:cubicBezTo>
                    <a:cubicBezTo>
                      <a:pt x="431" y="483"/>
                      <a:pt x="431" y="483"/>
                      <a:pt x="431" y="483"/>
                    </a:cubicBezTo>
                    <a:cubicBezTo>
                      <a:pt x="441" y="483"/>
                      <a:pt x="448" y="491"/>
                      <a:pt x="448" y="500"/>
                    </a:cubicBezTo>
                    <a:cubicBezTo>
                      <a:pt x="448" y="509"/>
                      <a:pt x="441" y="516"/>
                      <a:pt x="431" y="516"/>
                    </a:cubicBezTo>
                    <a:close/>
                    <a:moveTo>
                      <a:pt x="431" y="413"/>
                    </a:moveTo>
                    <a:cubicBezTo>
                      <a:pt x="82" y="413"/>
                      <a:pt x="82" y="413"/>
                      <a:pt x="82" y="413"/>
                    </a:cubicBezTo>
                    <a:cubicBezTo>
                      <a:pt x="73" y="413"/>
                      <a:pt x="66" y="405"/>
                      <a:pt x="66" y="396"/>
                    </a:cubicBezTo>
                    <a:cubicBezTo>
                      <a:pt x="66" y="387"/>
                      <a:pt x="73" y="380"/>
                      <a:pt x="82" y="380"/>
                    </a:cubicBezTo>
                    <a:cubicBezTo>
                      <a:pt x="431" y="380"/>
                      <a:pt x="431" y="380"/>
                      <a:pt x="431" y="380"/>
                    </a:cubicBezTo>
                    <a:cubicBezTo>
                      <a:pt x="441" y="380"/>
                      <a:pt x="448" y="387"/>
                      <a:pt x="448" y="396"/>
                    </a:cubicBezTo>
                    <a:cubicBezTo>
                      <a:pt x="448" y="405"/>
                      <a:pt x="441" y="413"/>
                      <a:pt x="431" y="413"/>
                    </a:cubicBezTo>
                    <a:close/>
                    <a:moveTo>
                      <a:pt x="431" y="309"/>
                    </a:moveTo>
                    <a:cubicBezTo>
                      <a:pt x="82" y="309"/>
                      <a:pt x="82" y="309"/>
                      <a:pt x="82" y="309"/>
                    </a:cubicBezTo>
                    <a:cubicBezTo>
                      <a:pt x="73" y="309"/>
                      <a:pt x="66" y="302"/>
                      <a:pt x="66" y="293"/>
                    </a:cubicBezTo>
                    <a:cubicBezTo>
                      <a:pt x="66" y="284"/>
                      <a:pt x="73" y="277"/>
                      <a:pt x="82" y="277"/>
                    </a:cubicBezTo>
                    <a:cubicBezTo>
                      <a:pt x="431" y="277"/>
                      <a:pt x="431" y="277"/>
                      <a:pt x="431" y="277"/>
                    </a:cubicBezTo>
                    <a:cubicBezTo>
                      <a:pt x="441" y="277"/>
                      <a:pt x="448" y="284"/>
                      <a:pt x="448" y="293"/>
                    </a:cubicBezTo>
                    <a:cubicBezTo>
                      <a:pt x="448" y="302"/>
                      <a:pt x="441" y="309"/>
                      <a:pt x="431" y="309"/>
                    </a:cubicBezTo>
                    <a:close/>
                    <a:moveTo>
                      <a:pt x="431" y="206"/>
                    </a:moveTo>
                    <a:cubicBezTo>
                      <a:pt x="82" y="206"/>
                      <a:pt x="82" y="206"/>
                      <a:pt x="82" y="206"/>
                    </a:cubicBezTo>
                    <a:cubicBezTo>
                      <a:pt x="73" y="206"/>
                      <a:pt x="66" y="199"/>
                      <a:pt x="66" y="190"/>
                    </a:cubicBezTo>
                    <a:cubicBezTo>
                      <a:pt x="66" y="181"/>
                      <a:pt x="73" y="174"/>
                      <a:pt x="82" y="174"/>
                    </a:cubicBezTo>
                    <a:cubicBezTo>
                      <a:pt x="431" y="174"/>
                      <a:pt x="431" y="174"/>
                      <a:pt x="431" y="174"/>
                    </a:cubicBezTo>
                    <a:cubicBezTo>
                      <a:pt x="441" y="174"/>
                      <a:pt x="448" y="181"/>
                      <a:pt x="448" y="190"/>
                    </a:cubicBezTo>
                    <a:cubicBezTo>
                      <a:pt x="448" y="199"/>
                      <a:pt x="441" y="206"/>
                      <a:pt x="431" y="206"/>
                    </a:cubicBezTo>
                    <a:close/>
                    <a:moveTo>
                      <a:pt x="431" y="103"/>
                    </a:moveTo>
                    <a:cubicBezTo>
                      <a:pt x="82" y="103"/>
                      <a:pt x="82" y="103"/>
                      <a:pt x="82" y="103"/>
                    </a:cubicBezTo>
                    <a:cubicBezTo>
                      <a:pt x="73" y="103"/>
                      <a:pt x="66" y="96"/>
                      <a:pt x="66" y="87"/>
                    </a:cubicBezTo>
                    <a:cubicBezTo>
                      <a:pt x="66" y="78"/>
                      <a:pt x="73" y="70"/>
                      <a:pt x="82" y="70"/>
                    </a:cubicBezTo>
                    <a:cubicBezTo>
                      <a:pt x="431" y="70"/>
                      <a:pt x="431" y="70"/>
                      <a:pt x="431" y="70"/>
                    </a:cubicBezTo>
                    <a:cubicBezTo>
                      <a:pt x="441" y="70"/>
                      <a:pt x="448" y="78"/>
                      <a:pt x="448" y="87"/>
                    </a:cubicBezTo>
                    <a:cubicBezTo>
                      <a:pt x="448" y="96"/>
                      <a:pt x="441" y="103"/>
                      <a:pt x="431" y="103"/>
                    </a:cubicBezTo>
                    <a:close/>
                  </a:path>
                </a:pathLst>
              </a:custGeom>
              <a:solidFill>
                <a:sysClr val="window" lastClr="FFFFFF"/>
              </a:solidFill>
              <a:ln>
                <a:noFill/>
              </a:ln>
              <a:scene3d>
                <a:camera prst="isometricOffAxis2Left">
                  <a:rot lat="1080000" lon="1200000" rev="0"/>
                </a:camera>
                <a:lightRig rig="threePt" dir="t"/>
              </a:scene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100" kern="0">
                  <a:solidFill>
                    <a:sysClr val="windowText" lastClr="000000"/>
                  </a:solidFill>
                </a:endParaRPr>
              </a:p>
            </p:txBody>
          </p:sp>
        </p:grpSp>
      </p:grpSp>
      <p:grpSp>
        <p:nvGrpSpPr>
          <p:cNvPr id="117" name="Group 116"/>
          <p:cNvGrpSpPr/>
          <p:nvPr/>
        </p:nvGrpSpPr>
        <p:grpSpPr>
          <a:xfrm>
            <a:off x="4615731" y="1587897"/>
            <a:ext cx="1137119" cy="1146225"/>
            <a:chOff x="4935484" y="2352738"/>
            <a:chExt cx="897082" cy="904266"/>
          </a:xfrm>
        </p:grpSpPr>
        <p:grpSp>
          <p:nvGrpSpPr>
            <p:cNvPr id="96" name="Group 95"/>
            <p:cNvGrpSpPr/>
            <p:nvPr/>
          </p:nvGrpSpPr>
          <p:grpSpPr>
            <a:xfrm>
              <a:off x="4935484" y="2352738"/>
              <a:ext cx="897082" cy="904266"/>
              <a:chOff x="4935484" y="2352738"/>
              <a:chExt cx="897082" cy="904266"/>
            </a:xfrm>
          </p:grpSpPr>
          <p:grpSp>
            <p:nvGrpSpPr>
              <p:cNvPr id="89" name="Group 88"/>
              <p:cNvGrpSpPr/>
              <p:nvPr/>
            </p:nvGrpSpPr>
            <p:grpSpPr>
              <a:xfrm>
                <a:off x="4935484" y="2352738"/>
                <a:ext cx="897082" cy="904266"/>
                <a:chOff x="5653941" y="1980447"/>
                <a:chExt cx="897082" cy="904266"/>
              </a:xfrm>
            </p:grpSpPr>
            <p:grpSp>
              <p:nvGrpSpPr>
                <p:cNvPr id="85" name="Group 84"/>
                <p:cNvGrpSpPr/>
                <p:nvPr/>
              </p:nvGrpSpPr>
              <p:grpSpPr>
                <a:xfrm>
                  <a:off x="5841953" y="2179916"/>
                  <a:ext cx="475496" cy="704797"/>
                  <a:chOff x="1456508" y="3010989"/>
                  <a:chExt cx="727067" cy="1077685"/>
                </a:xfrm>
              </p:grpSpPr>
              <p:sp>
                <p:nvSpPr>
                  <p:cNvPr id="87" name="Oval 86"/>
                  <p:cNvSpPr/>
                  <p:nvPr/>
                </p:nvSpPr>
                <p:spPr>
                  <a:xfrm>
                    <a:off x="1456508" y="3932213"/>
                    <a:ext cx="727067" cy="156461"/>
                  </a:xfrm>
                  <a:prstGeom prst="ellipse">
                    <a:avLst/>
                  </a:prstGeom>
                  <a:gradFill flip="none" rotWithShape="1">
                    <a:gsLst>
                      <a:gs pos="0">
                        <a:schemeClr val="tx1">
                          <a:alpha val="40000"/>
                        </a:schemeClr>
                      </a:gs>
                      <a:gs pos="100000">
                        <a:schemeClr val="tx1">
                          <a:alpha val="0"/>
                        </a:schemeClr>
                      </a:gs>
                    </a:gsLst>
                    <a:path path="circle">
                      <a:fillToRect l="50000" t="50000" r="50000" b="50000"/>
                    </a:path>
                    <a:tileRect/>
                  </a:gradFill>
                  <a:ln w="12700" cmpd="sng">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p>
                </p:txBody>
              </p:sp>
              <p:pic>
                <p:nvPicPr>
                  <p:cNvPr id="88" name="Picture 4" descr="\\vmware-host\Shared Folders\Desktop\Active  Projects\2015 EMC World\Presentations\Roloff Session\Street Signs.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646964" y="3010989"/>
                    <a:ext cx="337850" cy="1042660"/>
                  </a:xfrm>
                  <a:prstGeom prst="rect">
                    <a:avLst/>
                  </a:prstGeom>
                  <a:noFill/>
                </p:spPr>
              </p:pic>
            </p:grpSp>
            <p:pic>
              <p:nvPicPr>
                <p:cNvPr id="86" name="Picture 3" descr="\\vmware-host\Shared Folders\Desktop\Active  Projects\2015 EMC World\Presentations\Roloff Session\Sign Top.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653941" y="1980447"/>
                  <a:ext cx="897082" cy="561652"/>
                </a:xfrm>
                <a:prstGeom prst="rect">
                  <a:avLst/>
                </a:prstGeom>
                <a:noFill/>
              </p:spPr>
            </p:pic>
          </p:grpSp>
          <p:sp>
            <p:nvSpPr>
              <p:cNvPr id="65" name="TextBox 64"/>
              <p:cNvSpPr txBox="1"/>
              <p:nvPr/>
            </p:nvSpPr>
            <p:spPr>
              <a:xfrm>
                <a:off x="4946678" y="2566493"/>
                <a:ext cx="833639" cy="275181"/>
              </a:xfrm>
              <a:prstGeom prst="rect">
                <a:avLst/>
              </a:prstGeom>
              <a:noFill/>
              <a:scene3d>
                <a:camera prst="isometricOffAxis2Left">
                  <a:rot lat="780000" lon="1200000" rev="0"/>
                </a:camera>
                <a:lightRig rig="threePt" dir="t"/>
              </a:scene3d>
            </p:spPr>
            <p:txBody>
              <a:bodyPr wrap="none" rtlCol="0">
                <a:spAutoFit/>
              </a:bodyPr>
              <a:lstStyle/>
              <a:p>
                <a:pPr algn="ctr">
                  <a:lnSpc>
                    <a:spcPts val="1000"/>
                  </a:lnSpc>
                </a:pPr>
                <a:r>
                  <a:rPr lang="en-US" sz="1000" dirty="0" smtClean="0">
                    <a:solidFill>
                      <a:schemeClr val="bg1"/>
                    </a:solidFill>
                  </a:rPr>
                  <a:t>Financial</a:t>
                </a:r>
                <a:br>
                  <a:rPr lang="en-US" sz="1000" dirty="0" smtClean="0">
                    <a:solidFill>
                      <a:schemeClr val="bg1"/>
                    </a:solidFill>
                  </a:rPr>
                </a:br>
                <a:r>
                  <a:rPr lang="en-US" sz="1000" dirty="0" smtClean="0">
                    <a:solidFill>
                      <a:schemeClr val="bg1"/>
                    </a:solidFill>
                  </a:rPr>
                  <a:t>Transparency</a:t>
                </a:r>
              </a:p>
            </p:txBody>
          </p:sp>
        </p:grpSp>
        <p:grpSp>
          <p:nvGrpSpPr>
            <p:cNvPr id="109" name="Group 108"/>
            <p:cNvGrpSpPr/>
            <p:nvPr/>
          </p:nvGrpSpPr>
          <p:grpSpPr>
            <a:xfrm>
              <a:off x="5285213" y="2426495"/>
              <a:ext cx="157891" cy="157445"/>
              <a:chOff x="2452343" y="1799592"/>
              <a:chExt cx="438265" cy="437026"/>
            </a:xfrm>
          </p:grpSpPr>
          <p:sp>
            <p:nvSpPr>
              <p:cNvPr id="105" name="Freeform 6"/>
              <p:cNvSpPr>
                <a:spLocks/>
              </p:cNvSpPr>
              <p:nvPr/>
            </p:nvSpPr>
            <p:spPr bwMode="auto">
              <a:xfrm>
                <a:off x="2687283" y="2041971"/>
                <a:ext cx="35334" cy="79967"/>
              </a:xfrm>
              <a:custGeom>
                <a:avLst/>
                <a:gdLst>
                  <a:gd name="T0" fmla="*/ 0 w 41"/>
                  <a:gd name="T1" fmla="*/ 0 h 93"/>
                  <a:gd name="T2" fmla="*/ 0 w 41"/>
                  <a:gd name="T3" fmla="*/ 93 h 93"/>
                  <a:gd name="T4" fmla="*/ 30 w 41"/>
                  <a:gd name="T5" fmla="*/ 76 h 93"/>
                  <a:gd name="T6" fmla="*/ 41 w 41"/>
                  <a:gd name="T7" fmla="*/ 45 h 93"/>
                  <a:gd name="T8" fmla="*/ 31 w 41"/>
                  <a:gd name="T9" fmla="*/ 17 h 93"/>
                  <a:gd name="T10" fmla="*/ 0 w 41"/>
                  <a:gd name="T11" fmla="*/ 0 h 93"/>
                </a:gdLst>
                <a:ahLst/>
                <a:cxnLst>
                  <a:cxn ang="0">
                    <a:pos x="T0" y="T1"/>
                  </a:cxn>
                  <a:cxn ang="0">
                    <a:pos x="T2" y="T3"/>
                  </a:cxn>
                  <a:cxn ang="0">
                    <a:pos x="T4" y="T5"/>
                  </a:cxn>
                  <a:cxn ang="0">
                    <a:pos x="T6" y="T7"/>
                  </a:cxn>
                  <a:cxn ang="0">
                    <a:pos x="T8" y="T9"/>
                  </a:cxn>
                  <a:cxn ang="0">
                    <a:pos x="T10" y="T11"/>
                  </a:cxn>
                </a:cxnLst>
                <a:rect l="0" t="0" r="r" b="b"/>
                <a:pathLst>
                  <a:path w="41" h="93">
                    <a:moveTo>
                      <a:pt x="0" y="0"/>
                    </a:moveTo>
                    <a:cubicBezTo>
                      <a:pt x="0" y="93"/>
                      <a:pt x="0" y="93"/>
                      <a:pt x="0" y="93"/>
                    </a:cubicBezTo>
                    <a:cubicBezTo>
                      <a:pt x="12" y="91"/>
                      <a:pt x="22" y="85"/>
                      <a:pt x="30" y="76"/>
                    </a:cubicBezTo>
                    <a:cubicBezTo>
                      <a:pt x="37" y="68"/>
                      <a:pt x="41" y="57"/>
                      <a:pt x="41" y="45"/>
                    </a:cubicBezTo>
                    <a:cubicBezTo>
                      <a:pt x="41" y="34"/>
                      <a:pt x="38" y="25"/>
                      <a:pt x="31" y="17"/>
                    </a:cubicBezTo>
                    <a:cubicBezTo>
                      <a:pt x="25" y="10"/>
                      <a:pt x="15" y="4"/>
                      <a:pt x="0" y="0"/>
                    </a:cubicBezTo>
                    <a:close/>
                  </a:path>
                </a:pathLst>
              </a:custGeom>
              <a:solidFill>
                <a:sysClr val="window" lastClr="FFFFFF"/>
              </a:solidFill>
              <a:ln>
                <a:noFill/>
              </a:ln>
              <a:scene3d>
                <a:camera prst="isometricOffAxis2Left">
                  <a:rot lat="1080000" lon="1200000" rev="0"/>
                </a:camera>
                <a:lightRig rig="threePt" dir="t"/>
              </a:scene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100" kern="0">
                  <a:solidFill>
                    <a:sysClr val="windowText" lastClr="000000"/>
                  </a:solidFill>
                </a:endParaRPr>
              </a:p>
            </p:txBody>
          </p:sp>
          <p:sp>
            <p:nvSpPr>
              <p:cNvPr id="106" name="Freeform 7"/>
              <p:cNvSpPr>
                <a:spLocks/>
              </p:cNvSpPr>
              <p:nvPr/>
            </p:nvSpPr>
            <p:spPr bwMode="auto">
              <a:xfrm>
                <a:off x="2630872" y="1902495"/>
                <a:ext cx="26656" cy="71288"/>
              </a:xfrm>
              <a:custGeom>
                <a:avLst/>
                <a:gdLst>
                  <a:gd name="T0" fmla="*/ 8 w 31"/>
                  <a:gd name="T1" fmla="*/ 16 h 83"/>
                  <a:gd name="T2" fmla="*/ 0 w 31"/>
                  <a:gd name="T3" fmla="*/ 41 h 83"/>
                  <a:gd name="T4" fmla="*/ 7 w 31"/>
                  <a:gd name="T5" fmla="*/ 65 h 83"/>
                  <a:gd name="T6" fmla="*/ 31 w 31"/>
                  <a:gd name="T7" fmla="*/ 83 h 83"/>
                  <a:gd name="T8" fmla="*/ 31 w 31"/>
                  <a:gd name="T9" fmla="*/ 0 h 83"/>
                  <a:gd name="T10" fmla="*/ 8 w 31"/>
                  <a:gd name="T11" fmla="*/ 16 h 83"/>
                </a:gdLst>
                <a:ahLst/>
                <a:cxnLst>
                  <a:cxn ang="0">
                    <a:pos x="T0" y="T1"/>
                  </a:cxn>
                  <a:cxn ang="0">
                    <a:pos x="T2" y="T3"/>
                  </a:cxn>
                  <a:cxn ang="0">
                    <a:pos x="T4" y="T5"/>
                  </a:cxn>
                  <a:cxn ang="0">
                    <a:pos x="T6" y="T7"/>
                  </a:cxn>
                  <a:cxn ang="0">
                    <a:pos x="T8" y="T9"/>
                  </a:cxn>
                  <a:cxn ang="0">
                    <a:pos x="T10" y="T11"/>
                  </a:cxn>
                </a:cxnLst>
                <a:rect l="0" t="0" r="r" b="b"/>
                <a:pathLst>
                  <a:path w="31" h="83">
                    <a:moveTo>
                      <a:pt x="8" y="16"/>
                    </a:moveTo>
                    <a:cubicBezTo>
                      <a:pt x="2" y="24"/>
                      <a:pt x="0" y="32"/>
                      <a:pt x="0" y="41"/>
                    </a:cubicBezTo>
                    <a:cubicBezTo>
                      <a:pt x="0" y="50"/>
                      <a:pt x="2" y="58"/>
                      <a:pt x="7" y="65"/>
                    </a:cubicBezTo>
                    <a:cubicBezTo>
                      <a:pt x="12" y="72"/>
                      <a:pt x="20" y="78"/>
                      <a:pt x="31" y="83"/>
                    </a:cubicBezTo>
                    <a:cubicBezTo>
                      <a:pt x="31" y="0"/>
                      <a:pt x="31" y="0"/>
                      <a:pt x="31" y="0"/>
                    </a:cubicBezTo>
                    <a:cubicBezTo>
                      <a:pt x="21" y="3"/>
                      <a:pt x="14" y="8"/>
                      <a:pt x="8" y="16"/>
                    </a:cubicBezTo>
                    <a:close/>
                  </a:path>
                </a:pathLst>
              </a:custGeom>
              <a:solidFill>
                <a:sysClr val="window" lastClr="FFFFFF"/>
              </a:solidFill>
              <a:ln>
                <a:noFill/>
              </a:ln>
              <a:scene3d>
                <a:camera prst="isometricOffAxis2Left">
                  <a:rot lat="1080000" lon="1200000" rev="0"/>
                </a:camera>
                <a:lightRig rig="threePt" dir="t"/>
              </a:scene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100" kern="0">
                  <a:solidFill>
                    <a:sysClr val="windowText" lastClr="000000"/>
                  </a:solidFill>
                </a:endParaRPr>
              </a:p>
            </p:txBody>
          </p:sp>
          <p:sp>
            <p:nvSpPr>
              <p:cNvPr id="107" name="Freeform 8"/>
              <p:cNvSpPr>
                <a:spLocks noEditPoints="1"/>
              </p:cNvSpPr>
              <p:nvPr/>
            </p:nvSpPr>
            <p:spPr bwMode="auto">
              <a:xfrm>
                <a:off x="2452343" y="1799592"/>
                <a:ext cx="438265" cy="437026"/>
              </a:xfrm>
              <a:custGeom>
                <a:avLst/>
                <a:gdLst>
                  <a:gd name="T0" fmla="*/ 255 w 510"/>
                  <a:gd name="T1" fmla="*/ 0 h 508"/>
                  <a:gd name="T2" fmla="*/ 0 w 510"/>
                  <a:gd name="T3" fmla="*/ 254 h 508"/>
                  <a:gd name="T4" fmla="*/ 255 w 510"/>
                  <a:gd name="T5" fmla="*/ 508 h 508"/>
                  <a:gd name="T6" fmla="*/ 510 w 510"/>
                  <a:gd name="T7" fmla="*/ 254 h 508"/>
                  <a:gd name="T8" fmla="*/ 255 w 510"/>
                  <a:gd name="T9" fmla="*/ 0 h 508"/>
                  <a:gd name="T10" fmla="*/ 347 w 510"/>
                  <a:gd name="T11" fmla="*/ 392 h 508"/>
                  <a:gd name="T12" fmla="*/ 273 w 510"/>
                  <a:gd name="T13" fmla="*/ 428 h 508"/>
                  <a:gd name="T14" fmla="*/ 273 w 510"/>
                  <a:gd name="T15" fmla="*/ 459 h 508"/>
                  <a:gd name="T16" fmla="*/ 239 w 510"/>
                  <a:gd name="T17" fmla="*/ 459 h 508"/>
                  <a:gd name="T18" fmla="*/ 239 w 510"/>
                  <a:gd name="T19" fmla="*/ 429 h 508"/>
                  <a:gd name="T20" fmla="*/ 171 w 510"/>
                  <a:gd name="T21" fmla="*/ 398 h 508"/>
                  <a:gd name="T22" fmla="*/ 138 w 510"/>
                  <a:gd name="T23" fmla="*/ 325 h 508"/>
                  <a:gd name="T24" fmla="*/ 201 w 510"/>
                  <a:gd name="T25" fmla="*/ 318 h 508"/>
                  <a:gd name="T26" fmla="*/ 215 w 510"/>
                  <a:gd name="T27" fmla="*/ 352 h 508"/>
                  <a:gd name="T28" fmla="*/ 239 w 510"/>
                  <a:gd name="T29" fmla="*/ 372 h 508"/>
                  <a:gd name="T30" fmla="*/ 239 w 510"/>
                  <a:gd name="T31" fmla="*/ 271 h 508"/>
                  <a:gd name="T32" fmla="*/ 170 w 510"/>
                  <a:gd name="T33" fmla="*/ 230 h 508"/>
                  <a:gd name="T34" fmla="*/ 148 w 510"/>
                  <a:gd name="T35" fmla="*/ 164 h 508"/>
                  <a:gd name="T36" fmla="*/ 172 w 510"/>
                  <a:gd name="T37" fmla="*/ 98 h 508"/>
                  <a:gd name="T38" fmla="*/ 239 w 510"/>
                  <a:gd name="T39" fmla="*/ 67 h 508"/>
                  <a:gd name="T40" fmla="*/ 239 w 510"/>
                  <a:gd name="T41" fmla="*/ 47 h 508"/>
                  <a:gd name="T42" fmla="*/ 237 w 510"/>
                  <a:gd name="T43" fmla="*/ 47 h 508"/>
                  <a:gd name="T44" fmla="*/ 239 w 510"/>
                  <a:gd name="T45" fmla="*/ 47 h 508"/>
                  <a:gd name="T46" fmla="*/ 273 w 510"/>
                  <a:gd name="T47" fmla="*/ 47 h 508"/>
                  <a:gd name="T48" fmla="*/ 273 w 510"/>
                  <a:gd name="T49" fmla="*/ 67 h 508"/>
                  <a:gd name="T50" fmla="*/ 334 w 510"/>
                  <a:gd name="T51" fmla="*/ 93 h 508"/>
                  <a:gd name="T52" fmla="*/ 363 w 510"/>
                  <a:gd name="T53" fmla="*/ 151 h 508"/>
                  <a:gd name="T54" fmla="*/ 302 w 510"/>
                  <a:gd name="T55" fmla="*/ 159 h 508"/>
                  <a:gd name="T56" fmla="*/ 273 w 510"/>
                  <a:gd name="T57" fmla="*/ 120 h 508"/>
                  <a:gd name="T58" fmla="*/ 273 w 510"/>
                  <a:gd name="T59" fmla="*/ 214 h 508"/>
                  <a:gd name="T60" fmla="*/ 352 w 510"/>
                  <a:gd name="T61" fmla="*/ 255 h 508"/>
                  <a:gd name="T62" fmla="*/ 373 w 510"/>
                  <a:gd name="T63" fmla="*/ 318 h 508"/>
                  <a:gd name="T64" fmla="*/ 347 w 510"/>
                  <a:gd name="T65" fmla="*/ 392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0" h="508">
                    <a:moveTo>
                      <a:pt x="255" y="0"/>
                    </a:moveTo>
                    <a:cubicBezTo>
                      <a:pt x="115" y="0"/>
                      <a:pt x="0" y="113"/>
                      <a:pt x="0" y="254"/>
                    </a:cubicBezTo>
                    <a:cubicBezTo>
                      <a:pt x="0" y="394"/>
                      <a:pt x="115" y="508"/>
                      <a:pt x="255" y="508"/>
                    </a:cubicBezTo>
                    <a:cubicBezTo>
                      <a:pt x="396" y="508"/>
                      <a:pt x="510" y="394"/>
                      <a:pt x="510" y="254"/>
                    </a:cubicBezTo>
                    <a:cubicBezTo>
                      <a:pt x="510" y="113"/>
                      <a:pt x="396" y="0"/>
                      <a:pt x="255" y="0"/>
                    </a:cubicBezTo>
                    <a:close/>
                    <a:moveTo>
                      <a:pt x="347" y="392"/>
                    </a:moveTo>
                    <a:cubicBezTo>
                      <a:pt x="329" y="412"/>
                      <a:pt x="305" y="424"/>
                      <a:pt x="273" y="428"/>
                    </a:cubicBezTo>
                    <a:cubicBezTo>
                      <a:pt x="273" y="459"/>
                      <a:pt x="273" y="459"/>
                      <a:pt x="273" y="459"/>
                    </a:cubicBezTo>
                    <a:cubicBezTo>
                      <a:pt x="239" y="459"/>
                      <a:pt x="239" y="459"/>
                      <a:pt x="239" y="459"/>
                    </a:cubicBezTo>
                    <a:cubicBezTo>
                      <a:pt x="239" y="429"/>
                      <a:pt x="239" y="429"/>
                      <a:pt x="239" y="429"/>
                    </a:cubicBezTo>
                    <a:cubicBezTo>
                      <a:pt x="211" y="426"/>
                      <a:pt x="188" y="416"/>
                      <a:pt x="171" y="398"/>
                    </a:cubicBezTo>
                    <a:cubicBezTo>
                      <a:pt x="154" y="381"/>
                      <a:pt x="143" y="357"/>
                      <a:pt x="138" y="325"/>
                    </a:cubicBezTo>
                    <a:cubicBezTo>
                      <a:pt x="201" y="318"/>
                      <a:pt x="201" y="318"/>
                      <a:pt x="201" y="318"/>
                    </a:cubicBezTo>
                    <a:cubicBezTo>
                      <a:pt x="203" y="331"/>
                      <a:pt x="208" y="342"/>
                      <a:pt x="215" y="352"/>
                    </a:cubicBezTo>
                    <a:cubicBezTo>
                      <a:pt x="222" y="361"/>
                      <a:pt x="230" y="368"/>
                      <a:pt x="239" y="372"/>
                    </a:cubicBezTo>
                    <a:cubicBezTo>
                      <a:pt x="239" y="271"/>
                      <a:pt x="239" y="271"/>
                      <a:pt x="239" y="271"/>
                    </a:cubicBezTo>
                    <a:cubicBezTo>
                      <a:pt x="207" y="262"/>
                      <a:pt x="184" y="249"/>
                      <a:pt x="170" y="230"/>
                    </a:cubicBezTo>
                    <a:cubicBezTo>
                      <a:pt x="155" y="212"/>
                      <a:pt x="148" y="190"/>
                      <a:pt x="148" y="164"/>
                    </a:cubicBezTo>
                    <a:cubicBezTo>
                      <a:pt x="148" y="138"/>
                      <a:pt x="156" y="116"/>
                      <a:pt x="172" y="98"/>
                    </a:cubicBezTo>
                    <a:cubicBezTo>
                      <a:pt x="189" y="80"/>
                      <a:pt x="211" y="70"/>
                      <a:pt x="239" y="67"/>
                    </a:cubicBezTo>
                    <a:cubicBezTo>
                      <a:pt x="239" y="47"/>
                      <a:pt x="239" y="47"/>
                      <a:pt x="239" y="47"/>
                    </a:cubicBezTo>
                    <a:cubicBezTo>
                      <a:pt x="237" y="47"/>
                      <a:pt x="237" y="47"/>
                      <a:pt x="237" y="47"/>
                    </a:cubicBezTo>
                    <a:cubicBezTo>
                      <a:pt x="239" y="47"/>
                      <a:pt x="239" y="47"/>
                      <a:pt x="239" y="47"/>
                    </a:cubicBezTo>
                    <a:cubicBezTo>
                      <a:pt x="273" y="47"/>
                      <a:pt x="273" y="47"/>
                      <a:pt x="273" y="47"/>
                    </a:cubicBezTo>
                    <a:cubicBezTo>
                      <a:pt x="273" y="67"/>
                      <a:pt x="273" y="67"/>
                      <a:pt x="273" y="67"/>
                    </a:cubicBezTo>
                    <a:cubicBezTo>
                      <a:pt x="299" y="70"/>
                      <a:pt x="319" y="79"/>
                      <a:pt x="334" y="93"/>
                    </a:cubicBezTo>
                    <a:cubicBezTo>
                      <a:pt x="349" y="108"/>
                      <a:pt x="359" y="127"/>
                      <a:pt x="363" y="151"/>
                    </a:cubicBezTo>
                    <a:cubicBezTo>
                      <a:pt x="302" y="159"/>
                      <a:pt x="302" y="159"/>
                      <a:pt x="302" y="159"/>
                    </a:cubicBezTo>
                    <a:cubicBezTo>
                      <a:pt x="299" y="140"/>
                      <a:pt x="289" y="127"/>
                      <a:pt x="273" y="120"/>
                    </a:cubicBezTo>
                    <a:cubicBezTo>
                      <a:pt x="273" y="214"/>
                      <a:pt x="273" y="214"/>
                      <a:pt x="273" y="214"/>
                    </a:cubicBezTo>
                    <a:cubicBezTo>
                      <a:pt x="312" y="225"/>
                      <a:pt x="338" y="238"/>
                      <a:pt x="352" y="255"/>
                    </a:cubicBezTo>
                    <a:cubicBezTo>
                      <a:pt x="366" y="271"/>
                      <a:pt x="373" y="293"/>
                      <a:pt x="373" y="318"/>
                    </a:cubicBezTo>
                    <a:cubicBezTo>
                      <a:pt x="373" y="347"/>
                      <a:pt x="364" y="372"/>
                      <a:pt x="347" y="392"/>
                    </a:cubicBezTo>
                    <a:close/>
                  </a:path>
                </a:pathLst>
              </a:custGeom>
              <a:solidFill>
                <a:sysClr val="window" lastClr="FFFFFF"/>
              </a:solidFill>
              <a:ln>
                <a:noFill/>
              </a:ln>
              <a:scene3d>
                <a:camera prst="isometricOffAxis2Left">
                  <a:rot lat="1080000" lon="1200000" rev="0"/>
                </a:camera>
                <a:lightRig rig="threePt" dir="t"/>
              </a:scene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100" kern="0">
                  <a:solidFill>
                    <a:sysClr val="windowText" lastClr="000000"/>
                  </a:solidFill>
                </a:endParaRPr>
              </a:p>
            </p:txBody>
          </p:sp>
        </p:grpSp>
      </p:grpSp>
      <p:grpSp>
        <p:nvGrpSpPr>
          <p:cNvPr id="115" name="Group 114"/>
          <p:cNvGrpSpPr/>
          <p:nvPr/>
        </p:nvGrpSpPr>
        <p:grpSpPr>
          <a:xfrm>
            <a:off x="5193246" y="2108141"/>
            <a:ext cx="2065763" cy="2532071"/>
            <a:chOff x="5019290" y="3145929"/>
            <a:chExt cx="1629698" cy="1997571"/>
          </a:xfrm>
        </p:grpSpPr>
        <p:grpSp>
          <p:nvGrpSpPr>
            <p:cNvPr id="95" name="Group 94"/>
            <p:cNvGrpSpPr/>
            <p:nvPr/>
          </p:nvGrpSpPr>
          <p:grpSpPr>
            <a:xfrm>
              <a:off x="5019290" y="3145929"/>
              <a:ext cx="1629698" cy="1997571"/>
              <a:chOff x="5019290" y="3145929"/>
              <a:chExt cx="1629698" cy="1997571"/>
            </a:xfrm>
          </p:grpSpPr>
          <p:pic>
            <p:nvPicPr>
              <p:cNvPr id="38" name="Picture 2" descr="\\vmware-host\Shared Folders\Desktop\Active  Projects\2015 EMC World\Presentations\Roloff Session\Sign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5313226" y="3820381"/>
                <a:ext cx="962892" cy="1323119"/>
              </a:xfrm>
              <a:prstGeom prst="rect">
                <a:avLst/>
              </a:prstGeom>
              <a:noFill/>
            </p:spPr>
          </p:pic>
          <p:pic>
            <p:nvPicPr>
              <p:cNvPr id="1027" name="Picture 3" descr="\\vmware-host\Shared Folders\Desktop\Active  Projects\2015 EMC World\Presentations\Roloff Session\Sign Top.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033453" y="3145929"/>
                <a:ext cx="1615535" cy="1011466"/>
              </a:xfrm>
              <a:prstGeom prst="rect">
                <a:avLst/>
              </a:prstGeom>
              <a:noFill/>
            </p:spPr>
          </p:pic>
          <p:sp>
            <p:nvSpPr>
              <p:cNvPr id="40" name="TextBox 39"/>
              <p:cNvSpPr txBox="1"/>
              <p:nvPr/>
            </p:nvSpPr>
            <p:spPr>
              <a:xfrm>
                <a:off x="5019290" y="3608150"/>
                <a:ext cx="1610117" cy="339930"/>
              </a:xfrm>
              <a:prstGeom prst="rect">
                <a:avLst/>
              </a:prstGeom>
              <a:noFill/>
              <a:scene3d>
                <a:camera prst="isometricOffAxis2Left">
                  <a:rot lat="600000" lon="1560000" rev="0"/>
                </a:camera>
                <a:lightRig rig="threePt" dir="t"/>
              </a:scene3d>
            </p:spPr>
            <p:txBody>
              <a:bodyPr wrap="none" rtlCol="0">
                <a:spAutoFit/>
              </a:bodyPr>
              <a:lstStyle/>
              <a:p>
                <a:r>
                  <a:rPr lang="en-US" sz="2200" dirty="0" smtClean="0">
                    <a:solidFill>
                      <a:schemeClr val="bg1"/>
                    </a:solidFill>
                  </a:rPr>
                  <a:t>Virtualization</a:t>
                </a:r>
              </a:p>
            </p:txBody>
          </p:sp>
        </p:grpSp>
        <p:sp>
          <p:nvSpPr>
            <p:cNvPr id="103" name="Freeform 24"/>
            <p:cNvSpPr>
              <a:spLocks/>
            </p:cNvSpPr>
            <p:nvPr/>
          </p:nvSpPr>
          <p:spPr bwMode="auto">
            <a:xfrm>
              <a:off x="5655494" y="3295108"/>
              <a:ext cx="314231" cy="211588"/>
            </a:xfrm>
            <a:custGeom>
              <a:avLst/>
              <a:gdLst>
                <a:gd name="T0" fmla="*/ 928 w 1182"/>
                <a:gd name="T1" fmla="*/ 261 h 796"/>
                <a:gd name="T2" fmla="*/ 857 w 1182"/>
                <a:gd name="T3" fmla="*/ 272 h 796"/>
                <a:gd name="T4" fmla="*/ 536 w 1182"/>
                <a:gd name="T5" fmla="*/ 0 h 796"/>
                <a:gd name="T6" fmla="*/ 214 w 1182"/>
                <a:gd name="T7" fmla="*/ 275 h 796"/>
                <a:gd name="T8" fmla="*/ 0 w 1182"/>
                <a:gd name="T9" fmla="*/ 528 h 796"/>
                <a:gd name="T10" fmla="*/ 185 w 1182"/>
                <a:gd name="T11" fmla="*/ 772 h 796"/>
                <a:gd name="T12" fmla="*/ 306 w 1182"/>
                <a:gd name="T13" fmla="*/ 796 h 796"/>
                <a:gd name="T14" fmla="*/ 312 w 1182"/>
                <a:gd name="T15" fmla="*/ 796 h 796"/>
                <a:gd name="T16" fmla="*/ 322 w 1182"/>
                <a:gd name="T17" fmla="*/ 796 h 796"/>
                <a:gd name="T18" fmla="*/ 804 w 1182"/>
                <a:gd name="T19" fmla="*/ 796 h 796"/>
                <a:gd name="T20" fmla="*/ 1009 w 1182"/>
                <a:gd name="T21" fmla="*/ 607 h 796"/>
                <a:gd name="T22" fmla="*/ 804 w 1182"/>
                <a:gd name="T23" fmla="*/ 418 h 796"/>
                <a:gd name="T24" fmla="*/ 746 w 1182"/>
                <a:gd name="T25" fmla="*/ 426 h 796"/>
                <a:gd name="T26" fmla="*/ 487 w 1182"/>
                <a:gd name="T27" fmla="*/ 234 h 796"/>
                <a:gd name="T28" fmla="*/ 227 w 1182"/>
                <a:gd name="T29" fmla="*/ 428 h 796"/>
                <a:gd name="T30" fmla="*/ 54 w 1182"/>
                <a:gd name="T31" fmla="*/ 607 h 796"/>
                <a:gd name="T32" fmla="*/ 56 w 1182"/>
                <a:gd name="T33" fmla="*/ 630 h 796"/>
                <a:gd name="T34" fmla="*/ 42 w 1182"/>
                <a:gd name="T35" fmla="*/ 555 h 796"/>
                <a:gd name="T36" fmla="*/ 234 w 1182"/>
                <a:gd name="T37" fmla="*/ 327 h 796"/>
                <a:gd name="T38" fmla="*/ 523 w 1182"/>
                <a:gd name="T39" fmla="*/ 81 h 796"/>
                <a:gd name="T40" fmla="*/ 812 w 1182"/>
                <a:gd name="T41" fmla="*/ 325 h 796"/>
                <a:gd name="T42" fmla="*/ 876 w 1182"/>
                <a:gd name="T43" fmla="*/ 315 h 796"/>
                <a:gd name="T44" fmla="*/ 1104 w 1182"/>
                <a:gd name="T45" fmla="*/ 555 h 796"/>
                <a:gd name="T46" fmla="*/ 876 w 1182"/>
                <a:gd name="T47" fmla="*/ 796 h 796"/>
                <a:gd name="T48" fmla="*/ 928 w 1182"/>
                <a:gd name="T49" fmla="*/ 796 h 796"/>
                <a:gd name="T50" fmla="*/ 1182 w 1182"/>
                <a:gd name="T51" fmla="*/ 528 h 796"/>
                <a:gd name="T52" fmla="*/ 928 w 1182"/>
                <a:gd name="T53" fmla="*/ 261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82" h="796">
                  <a:moveTo>
                    <a:pt x="928" y="261"/>
                  </a:moveTo>
                  <a:cubicBezTo>
                    <a:pt x="903" y="261"/>
                    <a:pt x="879" y="265"/>
                    <a:pt x="857" y="272"/>
                  </a:cubicBezTo>
                  <a:cubicBezTo>
                    <a:pt x="817" y="115"/>
                    <a:pt x="689" y="0"/>
                    <a:pt x="536" y="0"/>
                  </a:cubicBezTo>
                  <a:cubicBezTo>
                    <a:pt x="382" y="0"/>
                    <a:pt x="252" y="117"/>
                    <a:pt x="214" y="275"/>
                  </a:cubicBezTo>
                  <a:cubicBezTo>
                    <a:pt x="90" y="310"/>
                    <a:pt x="0" y="410"/>
                    <a:pt x="0" y="528"/>
                  </a:cubicBezTo>
                  <a:cubicBezTo>
                    <a:pt x="0" y="637"/>
                    <a:pt x="76" y="731"/>
                    <a:pt x="185" y="772"/>
                  </a:cubicBezTo>
                  <a:cubicBezTo>
                    <a:pt x="221" y="787"/>
                    <a:pt x="262" y="796"/>
                    <a:pt x="306" y="796"/>
                  </a:cubicBezTo>
                  <a:cubicBezTo>
                    <a:pt x="308" y="796"/>
                    <a:pt x="310" y="796"/>
                    <a:pt x="312" y="796"/>
                  </a:cubicBezTo>
                  <a:cubicBezTo>
                    <a:pt x="315" y="796"/>
                    <a:pt x="318" y="796"/>
                    <a:pt x="322" y="796"/>
                  </a:cubicBezTo>
                  <a:cubicBezTo>
                    <a:pt x="393" y="796"/>
                    <a:pt x="644" y="796"/>
                    <a:pt x="804" y="796"/>
                  </a:cubicBezTo>
                  <a:cubicBezTo>
                    <a:pt x="917" y="796"/>
                    <a:pt x="1009" y="711"/>
                    <a:pt x="1009" y="607"/>
                  </a:cubicBezTo>
                  <a:cubicBezTo>
                    <a:pt x="1009" y="503"/>
                    <a:pt x="917" y="418"/>
                    <a:pt x="804" y="418"/>
                  </a:cubicBezTo>
                  <a:cubicBezTo>
                    <a:pt x="784" y="418"/>
                    <a:pt x="764" y="421"/>
                    <a:pt x="746" y="426"/>
                  </a:cubicBezTo>
                  <a:cubicBezTo>
                    <a:pt x="714" y="315"/>
                    <a:pt x="610" y="234"/>
                    <a:pt x="487" y="234"/>
                  </a:cubicBezTo>
                  <a:cubicBezTo>
                    <a:pt x="362" y="234"/>
                    <a:pt x="258" y="316"/>
                    <a:pt x="227" y="428"/>
                  </a:cubicBezTo>
                  <a:cubicBezTo>
                    <a:pt x="126" y="453"/>
                    <a:pt x="54" y="523"/>
                    <a:pt x="54" y="607"/>
                  </a:cubicBezTo>
                  <a:cubicBezTo>
                    <a:pt x="54" y="615"/>
                    <a:pt x="55" y="622"/>
                    <a:pt x="56" y="630"/>
                  </a:cubicBezTo>
                  <a:cubicBezTo>
                    <a:pt x="47" y="607"/>
                    <a:pt x="42" y="582"/>
                    <a:pt x="42" y="555"/>
                  </a:cubicBezTo>
                  <a:cubicBezTo>
                    <a:pt x="42" y="449"/>
                    <a:pt x="123" y="359"/>
                    <a:pt x="234" y="327"/>
                  </a:cubicBezTo>
                  <a:cubicBezTo>
                    <a:pt x="269" y="185"/>
                    <a:pt x="385" y="81"/>
                    <a:pt x="523" y="81"/>
                  </a:cubicBezTo>
                  <a:cubicBezTo>
                    <a:pt x="661" y="81"/>
                    <a:pt x="776" y="184"/>
                    <a:pt x="812" y="325"/>
                  </a:cubicBezTo>
                  <a:cubicBezTo>
                    <a:pt x="832" y="319"/>
                    <a:pt x="854" y="315"/>
                    <a:pt x="876" y="315"/>
                  </a:cubicBezTo>
                  <a:cubicBezTo>
                    <a:pt x="1002" y="315"/>
                    <a:pt x="1104" y="423"/>
                    <a:pt x="1104" y="555"/>
                  </a:cubicBezTo>
                  <a:cubicBezTo>
                    <a:pt x="1104" y="688"/>
                    <a:pt x="1002" y="796"/>
                    <a:pt x="876" y="796"/>
                  </a:cubicBezTo>
                  <a:cubicBezTo>
                    <a:pt x="899" y="796"/>
                    <a:pt x="917" y="796"/>
                    <a:pt x="928" y="796"/>
                  </a:cubicBezTo>
                  <a:cubicBezTo>
                    <a:pt x="1068" y="796"/>
                    <a:pt x="1182" y="676"/>
                    <a:pt x="1182" y="528"/>
                  </a:cubicBezTo>
                  <a:cubicBezTo>
                    <a:pt x="1182" y="381"/>
                    <a:pt x="1068" y="261"/>
                    <a:pt x="928" y="261"/>
                  </a:cubicBezTo>
                  <a:close/>
                </a:path>
              </a:pathLst>
            </a:custGeom>
            <a:solidFill>
              <a:sysClr val="window" lastClr="FFFFFF"/>
            </a:solidFill>
            <a:ln>
              <a:noFill/>
            </a:ln>
            <a:scene3d>
              <a:camera prst="isometricOffAxis2Left">
                <a:rot lat="1080000" lon="1200000" rev="0"/>
              </a:camera>
              <a:lightRig rig="threePt" dir="t"/>
            </a:scene3d>
          </p:spPr>
          <p:txBody>
            <a:bodyPr vert="horz" wrap="square" lIns="91440" tIns="45720" rIns="91440" bIns="45720" numCol="1" anchor="t" anchorCtr="0" compatLnSpc="1">
              <a:prstTxWarp prst="textNoShape">
                <a:avLst/>
              </a:prstTxWarp>
            </a:bodyPr>
            <a:lstStyle/>
            <a:p>
              <a:pPr defTabSz="914400">
                <a:defRPr/>
              </a:pPr>
              <a:endParaRPr lang="en-US" sz="1100" kern="0">
                <a:solidFill>
                  <a:sysClr val="windowText" lastClr="000000"/>
                </a:solidFill>
              </a:endParaRPr>
            </a:p>
          </p:txBody>
        </p:sp>
      </p:grpSp>
      <p:sp>
        <p:nvSpPr>
          <p:cNvPr id="71" name="Rectangle 70"/>
          <p:cNvSpPr/>
          <p:nvPr/>
        </p:nvSpPr>
        <p:spPr>
          <a:xfrm>
            <a:off x="0" y="4197350"/>
            <a:ext cx="9144000" cy="459205"/>
          </a:xfrm>
          <a:prstGeom prst="rect">
            <a:avLst/>
          </a:prstGeom>
          <a:gradFill flip="none" rotWithShape="1">
            <a:gsLst>
              <a:gs pos="5000">
                <a:schemeClr val="bg1"/>
              </a:gs>
              <a:gs pos="100000">
                <a:schemeClr val="bg1">
                  <a:alpha val="0"/>
                </a:schemeClr>
              </a:gs>
            </a:gsLst>
            <a:lin ang="162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131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descr="\\vmware-host\Shared Folders\Desktop\Active  Projects\Mary Hettinger\140448982.jp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flipH="1">
            <a:off x="-233" y="-1"/>
            <a:ext cx="9144000" cy="2530081"/>
          </a:xfrm>
          <a:prstGeom prst="rect">
            <a:avLst/>
          </a:prstGeom>
          <a:noFill/>
        </p:spPr>
      </p:pic>
      <p:sp>
        <p:nvSpPr>
          <p:cNvPr id="25" name="Rectangle 24"/>
          <p:cNvSpPr/>
          <p:nvPr/>
        </p:nvSpPr>
        <p:spPr>
          <a:xfrm flipH="1">
            <a:off x="-233" y="2474430"/>
            <a:ext cx="9144000" cy="2134083"/>
          </a:xfrm>
          <a:prstGeom prst="rect">
            <a:avLst/>
          </a:prstGeom>
          <a:gradFill flip="none" rotWithShape="1">
            <a:gsLst>
              <a:gs pos="0">
                <a:schemeClr val="tx1">
                  <a:lumMod val="85000"/>
                  <a:lumOff val="15000"/>
                </a:schemeClr>
              </a:gs>
              <a:gs pos="47000">
                <a:srgbClr val="267426"/>
              </a:gs>
              <a:gs pos="100000">
                <a:srgbClr val="68B892"/>
              </a:gs>
            </a:gsLst>
            <a:lin ang="162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p:nvSpPr>
        <p:spPr>
          <a:xfrm flipH="1" flipV="1">
            <a:off x="-3" y="1089445"/>
            <a:ext cx="9144000" cy="1393899"/>
          </a:xfrm>
          <a:prstGeom prst="rect">
            <a:avLst/>
          </a:prstGeom>
          <a:gradFill flip="none" rotWithShape="1">
            <a:gsLst>
              <a:gs pos="0">
                <a:schemeClr val="tx2">
                  <a:alpha val="0"/>
                </a:schemeClr>
              </a:gs>
              <a:gs pos="100000">
                <a:schemeClr val="tx2">
                  <a:lumMod val="40000"/>
                  <a:lumOff val="60000"/>
                  <a:alpha val="90000"/>
                </a:schemeClr>
              </a:gs>
            </a:gsLst>
            <a:lin ang="162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Freeform 28"/>
          <p:cNvSpPr/>
          <p:nvPr/>
        </p:nvSpPr>
        <p:spPr>
          <a:xfrm flipH="1">
            <a:off x="-24022" y="691175"/>
            <a:ext cx="9168022" cy="2956056"/>
          </a:xfrm>
          <a:custGeom>
            <a:avLst/>
            <a:gdLst>
              <a:gd name="connsiteX0" fmla="*/ 0 w 9149450"/>
              <a:gd name="connsiteY0" fmla="*/ 46007 h 494581"/>
              <a:gd name="connsiteX1" fmla="*/ 46007 w 9149450"/>
              <a:gd name="connsiteY1" fmla="*/ 40257 h 494581"/>
              <a:gd name="connsiteX2" fmla="*/ 74762 w 9149450"/>
              <a:gd name="connsiteY2" fmla="*/ 28755 h 494581"/>
              <a:gd name="connsiteX3" fmla="*/ 143774 w 9149450"/>
              <a:gd name="connsiteY3" fmla="*/ 17253 h 494581"/>
              <a:gd name="connsiteX4" fmla="*/ 195532 w 9149450"/>
              <a:gd name="connsiteY4" fmla="*/ 5751 h 494581"/>
              <a:gd name="connsiteX5" fmla="*/ 276045 w 9149450"/>
              <a:gd name="connsiteY5" fmla="*/ 0 h 494581"/>
              <a:gd name="connsiteX6" fmla="*/ 557841 w 9149450"/>
              <a:gd name="connsiteY6" fmla="*/ 5751 h 494581"/>
              <a:gd name="connsiteX7" fmla="*/ 655607 w 9149450"/>
              <a:gd name="connsiteY7" fmla="*/ 23004 h 494581"/>
              <a:gd name="connsiteX8" fmla="*/ 701615 w 9149450"/>
              <a:gd name="connsiteY8" fmla="*/ 28755 h 494581"/>
              <a:gd name="connsiteX9" fmla="*/ 730370 w 9149450"/>
              <a:gd name="connsiteY9" fmla="*/ 34506 h 494581"/>
              <a:gd name="connsiteX10" fmla="*/ 793630 w 9149450"/>
              <a:gd name="connsiteY10" fmla="*/ 46007 h 494581"/>
              <a:gd name="connsiteX11" fmla="*/ 879894 w 9149450"/>
              <a:gd name="connsiteY11" fmla="*/ 63260 h 494581"/>
              <a:gd name="connsiteX12" fmla="*/ 966158 w 9149450"/>
              <a:gd name="connsiteY12" fmla="*/ 86264 h 494581"/>
              <a:gd name="connsiteX13" fmla="*/ 1017917 w 9149450"/>
              <a:gd name="connsiteY13" fmla="*/ 92015 h 494581"/>
              <a:gd name="connsiteX14" fmla="*/ 1035170 w 9149450"/>
              <a:gd name="connsiteY14" fmla="*/ 97766 h 494581"/>
              <a:gd name="connsiteX15" fmla="*/ 1104181 w 9149450"/>
              <a:gd name="connsiteY15" fmla="*/ 109268 h 494581"/>
              <a:gd name="connsiteX16" fmla="*/ 1184694 w 9149450"/>
              <a:gd name="connsiteY16" fmla="*/ 126521 h 494581"/>
              <a:gd name="connsiteX17" fmla="*/ 1288211 w 9149450"/>
              <a:gd name="connsiteY17" fmla="*/ 143774 h 494581"/>
              <a:gd name="connsiteX18" fmla="*/ 1351472 w 9149450"/>
              <a:gd name="connsiteY18" fmla="*/ 161026 h 494581"/>
              <a:gd name="connsiteX19" fmla="*/ 1391728 w 9149450"/>
              <a:gd name="connsiteY19" fmla="*/ 166777 h 494581"/>
              <a:gd name="connsiteX20" fmla="*/ 1483743 w 9149450"/>
              <a:gd name="connsiteY20" fmla="*/ 189781 h 494581"/>
              <a:gd name="connsiteX21" fmla="*/ 1529751 w 9149450"/>
              <a:gd name="connsiteY21" fmla="*/ 201283 h 494581"/>
              <a:gd name="connsiteX22" fmla="*/ 1616015 w 9149450"/>
              <a:gd name="connsiteY22" fmla="*/ 212785 h 494581"/>
              <a:gd name="connsiteX23" fmla="*/ 1685026 w 9149450"/>
              <a:gd name="connsiteY23" fmla="*/ 230038 h 494581"/>
              <a:gd name="connsiteX24" fmla="*/ 1708030 w 9149450"/>
              <a:gd name="connsiteY24" fmla="*/ 235789 h 494581"/>
              <a:gd name="connsiteX25" fmla="*/ 1754038 w 9149450"/>
              <a:gd name="connsiteY25" fmla="*/ 241540 h 494581"/>
              <a:gd name="connsiteX26" fmla="*/ 1777041 w 9149450"/>
              <a:gd name="connsiteY26" fmla="*/ 247290 h 494581"/>
              <a:gd name="connsiteX27" fmla="*/ 1863306 w 9149450"/>
              <a:gd name="connsiteY27" fmla="*/ 258792 h 494581"/>
              <a:gd name="connsiteX28" fmla="*/ 1955321 w 9149450"/>
              <a:gd name="connsiteY28" fmla="*/ 270294 h 494581"/>
              <a:gd name="connsiteX29" fmla="*/ 2007079 w 9149450"/>
              <a:gd name="connsiteY29" fmla="*/ 276045 h 494581"/>
              <a:gd name="connsiteX30" fmla="*/ 2041585 w 9149450"/>
              <a:gd name="connsiteY30" fmla="*/ 281796 h 494581"/>
              <a:gd name="connsiteX31" fmla="*/ 2231366 w 9149450"/>
              <a:gd name="connsiteY31" fmla="*/ 293298 h 494581"/>
              <a:gd name="connsiteX32" fmla="*/ 2461404 w 9149450"/>
              <a:gd name="connsiteY32" fmla="*/ 287547 h 494581"/>
              <a:gd name="connsiteX33" fmla="*/ 2490158 w 9149450"/>
              <a:gd name="connsiteY33" fmla="*/ 281796 h 494581"/>
              <a:gd name="connsiteX34" fmla="*/ 2553419 w 9149450"/>
              <a:gd name="connsiteY34" fmla="*/ 276045 h 494581"/>
              <a:gd name="connsiteX35" fmla="*/ 2582174 w 9149450"/>
              <a:gd name="connsiteY35" fmla="*/ 270294 h 494581"/>
              <a:gd name="connsiteX36" fmla="*/ 2628181 w 9149450"/>
              <a:gd name="connsiteY36" fmla="*/ 264543 h 494581"/>
              <a:gd name="connsiteX37" fmla="*/ 2651185 w 9149450"/>
              <a:gd name="connsiteY37" fmla="*/ 253041 h 494581"/>
              <a:gd name="connsiteX38" fmla="*/ 2674189 w 9149450"/>
              <a:gd name="connsiteY38" fmla="*/ 247290 h 494581"/>
              <a:gd name="connsiteX39" fmla="*/ 2691441 w 9149450"/>
              <a:gd name="connsiteY39" fmla="*/ 241540 h 494581"/>
              <a:gd name="connsiteX40" fmla="*/ 2737449 w 9149450"/>
              <a:gd name="connsiteY40" fmla="*/ 230038 h 494581"/>
              <a:gd name="connsiteX41" fmla="*/ 2760453 w 9149450"/>
              <a:gd name="connsiteY41" fmla="*/ 224287 h 494581"/>
              <a:gd name="connsiteX42" fmla="*/ 2789207 w 9149450"/>
              <a:gd name="connsiteY42" fmla="*/ 207034 h 494581"/>
              <a:gd name="connsiteX43" fmla="*/ 2823713 w 9149450"/>
              <a:gd name="connsiteY43" fmla="*/ 195532 h 494581"/>
              <a:gd name="connsiteX44" fmla="*/ 2840966 w 9149450"/>
              <a:gd name="connsiteY44" fmla="*/ 189781 h 494581"/>
              <a:gd name="connsiteX45" fmla="*/ 2904226 w 9149450"/>
              <a:gd name="connsiteY45" fmla="*/ 172528 h 494581"/>
              <a:gd name="connsiteX46" fmla="*/ 2955985 w 9149450"/>
              <a:gd name="connsiteY46" fmla="*/ 149524 h 494581"/>
              <a:gd name="connsiteX47" fmla="*/ 2973238 w 9149450"/>
              <a:gd name="connsiteY47" fmla="*/ 143774 h 494581"/>
              <a:gd name="connsiteX48" fmla="*/ 2996241 w 9149450"/>
              <a:gd name="connsiteY48" fmla="*/ 132272 h 494581"/>
              <a:gd name="connsiteX49" fmla="*/ 3013494 w 9149450"/>
              <a:gd name="connsiteY49" fmla="*/ 126521 h 494581"/>
              <a:gd name="connsiteX50" fmla="*/ 3036498 w 9149450"/>
              <a:gd name="connsiteY50" fmla="*/ 115019 h 494581"/>
              <a:gd name="connsiteX51" fmla="*/ 3071004 w 9149450"/>
              <a:gd name="connsiteY51" fmla="*/ 109268 h 494581"/>
              <a:gd name="connsiteX52" fmla="*/ 3105509 w 9149450"/>
              <a:gd name="connsiteY52" fmla="*/ 97766 h 494581"/>
              <a:gd name="connsiteX53" fmla="*/ 3140015 w 9149450"/>
              <a:gd name="connsiteY53" fmla="*/ 92015 h 494581"/>
              <a:gd name="connsiteX54" fmla="*/ 3163019 w 9149450"/>
              <a:gd name="connsiteY54" fmla="*/ 86264 h 494581"/>
              <a:gd name="connsiteX55" fmla="*/ 3370053 w 9149450"/>
              <a:gd name="connsiteY55" fmla="*/ 80513 h 494581"/>
              <a:gd name="connsiteX56" fmla="*/ 3554083 w 9149450"/>
              <a:gd name="connsiteY56" fmla="*/ 86264 h 494581"/>
              <a:gd name="connsiteX57" fmla="*/ 3588589 w 9149450"/>
              <a:gd name="connsiteY57" fmla="*/ 103517 h 494581"/>
              <a:gd name="connsiteX58" fmla="*/ 3628845 w 9149450"/>
              <a:gd name="connsiteY58" fmla="*/ 115019 h 494581"/>
              <a:gd name="connsiteX59" fmla="*/ 3651849 w 9149450"/>
              <a:gd name="connsiteY59" fmla="*/ 126521 h 494581"/>
              <a:gd name="connsiteX60" fmla="*/ 3674853 w 9149450"/>
              <a:gd name="connsiteY60" fmla="*/ 132272 h 494581"/>
              <a:gd name="connsiteX61" fmla="*/ 3709358 w 9149450"/>
              <a:gd name="connsiteY61" fmla="*/ 143774 h 494581"/>
              <a:gd name="connsiteX62" fmla="*/ 3726611 w 9149450"/>
              <a:gd name="connsiteY62" fmla="*/ 149524 h 494581"/>
              <a:gd name="connsiteX63" fmla="*/ 3778370 w 9149450"/>
              <a:gd name="connsiteY63" fmla="*/ 155275 h 494581"/>
              <a:gd name="connsiteX64" fmla="*/ 3841630 w 9149450"/>
              <a:gd name="connsiteY64" fmla="*/ 166777 h 494581"/>
              <a:gd name="connsiteX65" fmla="*/ 3904891 w 9149450"/>
              <a:gd name="connsiteY65" fmla="*/ 172528 h 494581"/>
              <a:gd name="connsiteX66" fmla="*/ 3973902 w 9149450"/>
              <a:gd name="connsiteY66" fmla="*/ 184030 h 494581"/>
              <a:gd name="connsiteX67" fmla="*/ 4037162 w 9149450"/>
              <a:gd name="connsiteY67" fmla="*/ 189781 h 494581"/>
              <a:gd name="connsiteX68" fmla="*/ 4100423 w 9149450"/>
              <a:gd name="connsiteY68" fmla="*/ 207034 h 494581"/>
              <a:gd name="connsiteX69" fmla="*/ 4140679 w 9149450"/>
              <a:gd name="connsiteY69" fmla="*/ 218536 h 494581"/>
              <a:gd name="connsiteX70" fmla="*/ 4163683 w 9149450"/>
              <a:gd name="connsiteY70" fmla="*/ 230038 h 494581"/>
              <a:gd name="connsiteX71" fmla="*/ 4198189 w 9149450"/>
              <a:gd name="connsiteY71" fmla="*/ 235789 h 494581"/>
              <a:gd name="connsiteX72" fmla="*/ 4226943 w 9149450"/>
              <a:gd name="connsiteY72" fmla="*/ 241540 h 494581"/>
              <a:gd name="connsiteX73" fmla="*/ 4249947 w 9149450"/>
              <a:gd name="connsiteY73" fmla="*/ 247290 h 494581"/>
              <a:gd name="connsiteX74" fmla="*/ 4428226 w 9149450"/>
              <a:gd name="connsiteY74" fmla="*/ 253041 h 494581"/>
              <a:gd name="connsiteX75" fmla="*/ 4497238 w 9149450"/>
              <a:gd name="connsiteY75" fmla="*/ 258792 h 494581"/>
              <a:gd name="connsiteX76" fmla="*/ 4520241 w 9149450"/>
              <a:gd name="connsiteY76" fmla="*/ 270294 h 494581"/>
              <a:gd name="connsiteX77" fmla="*/ 4572000 w 9149450"/>
              <a:gd name="connsiteY77" fmla="*/ 293298 h 494581"/>
              <a:gd name="connsiteX78" fmla="*/ 4623758 w 9149450"/>
              <a:gd name="connsiteY78" fmla="*/ 316302 h 494581"/>
              <a:gd name="connsiteX79" fmla="*/ 4675517 w 9149450"/>
              <a:gd name="connsiteY79" fmla="*/ 339306 h 494581"/>
              <a:gd name="connsiteX80" fmla="*/ 4698521 w 9149450"/>
              <a:gd name="connsiteY80" fmla="*/ 350807 h 494581"/>
              <a:gd name="connsiteX81" fmla="*/ 4750279 w 9149450"/>
              <a:gd name="connsiteY81" fmla="*/ 368060 h 494581"/>
              <a:gd name="connsiteX82" fmla="*/ 4767532 w 9149450"/>
              <a:gd name="connsiteY82" fmla="*/ 373811 h 494581"/>
              <a:gd name="connsiteX83" fmla="*/ 4796287 w 9149450"/>
              <a:gd name="connsiteY83" fmla="*/ 391064 h 494581"/>
              <a:gd name="connsiteX84" fmla="*/ 4836543 w 9149450"/>
              <a:gd name="connsiteY84" fmla="*/ 402566 h 494581"/>
              <a:gd name="connsiteX85" fmla="*/ 4871049 w 9149450"/>
              <a:gd name="connsiteY85" fmla="*/ 414068 h 494581"/>
              <a:gd name="connsiteX86" fmla="*/ 4911306 w 9149450"/>
              <a:gd name="connsiteY86" fmla="*/ 419819 h 494581"/>
              <a:gd name="connsiteX87" fmla="*/ 5066581 w 9149450"/>
              <a:gd name="connsiteY87" fmla="*/ 431321 h 494581"/>
              <a:gd name="connsiteX88" fmla="*/ 5256362 w 9149450"/>
              <a:gd name="connsiteY88" fmla="*/ 442823 h 494581"/>
              <a:gd name="connsiteX89" fmla="*/ 5377132 w 9149450"/>
              <a:gd name="connsiteY89" fmla="*/ 454324 h 494581"/>
              <a:gd name="connsiteX90" fmla="*/ 5515155 w 9149450"/>
              <a:gd name="connsiteY90" fmla="*/ 465826 h 494581"/>
              <a:gd name="connsiteX91" fmla="*/ 5572664 w 9149450"/>
              <a:gd name="connsiteY91" fmla="*/ 471577 h 494581"/>
              <a:gd name="connsiteX92" fmla="*/ 5756694 w 9149450"/>
              <a:gd name="connsiteY92" fmla="*/ 483079 h 494581"/>
              <a:gd name="connsiteX93" fmla="*/ 5998234 w 9149450"/>
              <a:gd name="connsiteY93" fmla="*/ 494581 h 494581"/>
              <a:gd name="connsiteX94" fmla="*/ 6303034 w 9149450"/>
              <a:gd name="connsiteY94" fmla="*/ 488830 h 494581"/>
              <a:gd name="connsiteX95" fmla="*/ 6343291 w 9149450"/>
              <a:gd name="connsiteY95" fmla="*/ 477328 h 494581"/>
              <a:gd name="connsiteX96" fmla="*/ 6395049 w 9149450"/>
              <a:gd name="connsiteY96" fmla="*/ 465826 h 494581"/>
              <a:gd name="connsiteX97" fmla="*/ 6423804 w 9149450"/>
              <a:gd name="connsiteY97" fmla="*/ 460075 h 494581"/>
              <a:gd name="connsiteX98" fmla="*/ 6452558 w 9149450"/>
              <a:gd name="connsiteY98" fmla="*/ 448574 h 494581"/>
              <a:gd name="connsiteX99" fmla="*/ 6515819 w 9149450"/>
              <a:gd name="connsiteY99" fmla="*/ 437072 h 494581"/>
              <a:gd name="connsiteX100" fmla="*/ 6561826 w 9149450"/>
              <a:gd name="connsiteY100" fmla="*/ 425570 h 494581"/>
              <a:gd name="connsiteX101" fmla="*/ 6625087 w 9149450"/>
              <a:gd name="connsiteY101" fmla="*/ 408317 h 494581"/>
              <a:gd name="connsiteX102" fmla="*/ 6642340 w 9149450"/>
              <a:gd name="connsiteY102" fmla="*/ 396815 h 494581"/>
              <a:gd name="connsiteX103" fmla="*/ 6682596 w 9149450"/>
              <a:gd name="connsiteY103" fmla="*/ 385313 h 494581"/>
              <a:gd name="connsiteX104" fmla="*/ 6745857 w 9149450"/>
              <a:gd name="connsiteY104" fmla="*/ 362309 h 494581"/>
              <a:gd name="connsiteX105" fmla="*/ 6780362 w 9149450"/>
              <a:gd name="connsiteY105" fmla="*/ 350807 h 494581"/>
              <a:gd name="connsiteX106" fmla="*/ 6803366 w 9149450"/>
              <a:gd name="connsiteY106" fmla="*/ 339306 h 494581"/>
              <a:gd name="connsiteX107" fmla="*/ 6849374 w 9149450"/>
              <a:gd name="connsiteY107" fmla="*/ 333555 h 494581"/>
              <a:gd name="connsiteX108" fmla="*/ 6901132 w 9149450"/>
              <a:gd name="connsiteY108" fmla="*/ 322053 h 494581"/>
              <a:gd name="connsiteX109" fmla="*/ 6929887 w 9149450"/>
              <a:gd name="connsiteY109" fmla="*/ 316302 h 494581"/>
              <a:gd name="connsiteX110" fmla="*/ 6964392 w 9149450"/>
              <a:gd name="connsiteY110" fmla="*/ 310551 h 494581"/>
              <a:gd name="connsiteX111" fmla="*/ 7119668 w 9149450"/>
              <a:gd name="connsiteY111" fmla="*/ 304800 h 494581"/>
              <a:gd name="connsiteX112" fmla="*/ 7919049 w 9149450"/>
              <a:gd name="connsiteY112" fmla="*/ 299049 h 494581"/>
              <a:gd name="connsiteX113" fmla="*/ 7976558 w 9149450"/>
              <a:gd name="connsiteY113" fmla="*/ 293298 h 494581"/>
              <a:gd name="connsiteX114" fmla="*/ 8114581 w 9149450"/>
              <a:gd name="connsiteY114" fmla="*/ 264543 h 494581"/>
              <a:gd name="connsiteX115" fmla="*/ 8137585 w 9149450"/>
              <a:gd name="connsiteY115" fmla="*/ 258792 h 494581"/>
              <a:gd name="connsiteX116" fmla="*/ 8160589 w 9149450"/>
              <a:gd name="connsiteY116" fmla="*/ 247290 h 494581"/>
              <a:gd name="connsiteX117" fmla="*/ 8183592 w 9149450"/>
              <a:gd name="connsiteY117" fmla="*/ 241540 h 494581"/>
              <a:gd name="connsiteX118" fmla="*/ 8218098 w 9149450"/>
              <a:gd name="connsiteY118" fmla="*/ 230038 h 494581"/>
              <a:gd name="connsiteX119" fmla="*/ 8235351 w 9149450"/>
              <a:gd name="connsiteY119" fmla="*/ 224287 h 494581"/>
              <a:gd name="connsiteX120" fmla="*/ 8258355 w 9149450"/>
              <a:gd name="connsiteY120" fmla="*/ 218536 h 494581"/>
              <a:gd name="connsiteX121" fmla="*/ 8287109 w 9149450"/>
              <a:gd name="connsiteY121" fmla="*/ 201283 h 494581"/>
              <a:gd name="connsiteX122" fmla="*/ 8321615 w 9149450"/>
              <a:gd name="connsiteY122" fmla="*/ 189781 h 494581"/>
              <a:gd name="connsiteX123" fmla="*/ 8361872 w 9149450"/>
              <a:gd name="connsiteY123" fmla="*/ 172528 h 494581"/>
              <a:gd name="connsiteX124" fmla="*/ 8384875 w 9149450"/>
              <a:gd name="connsiteY124" fmla="*/ 161026 h 494581"/>
              <a:gd name="connsiteX125" fmla="*/ 8402128 w 9149450"/>
              <a:gd name="connsiteY125" fmla="*/ 155275 h 494581"/>
              <a:gd name="connsiteX126" fmla="*/ 8430883 w 9149450"/>
              <a:gd name="connsiteY126" fmla="*/ 143774 h 494581"/>
              <a:gd name="connsiteX127" fmla="*/ 8476891 w 9149450"/>
              <a:gd name="connsiteY127" fmla="*/ 120770 h 494581"/>
              <a:gd name="connsiteX128" fmla="*/ 8505645 w 9149450"/>
              <a:gd name="connsiteY128" fmla="*/ 115019 h 494581"/>
              <a:gd name="connsiteX129" fmla="*/ 8522898 w 9149450"/>
              <a:gd name="connsiteY129" fmla="*/ 109268 h 494581"/>
              <a:gd name="connsiteX130" fmla="*/ 8545902 w 9149450"/>
              <a:gd name="connsiteY130" fmla="*/ 103517 h 494581"/>
              <a:gd name="connsiteX131" fmla="*/ 8563155 w 9149450"/>
              <a:gd name="connsiteY131" fmla="*/ 92015 h 494581"/>
              <a:gd name="connsiteX132" fmla="*/ 8591909 w 9149450"/>
              <a:gd name="connsiteY132" fmla="*/ 86264 h 494581"/>
              <a:gd name="connsiteX133" fmla="*/ 8637917 w 9149450"/>
              <a:gd name="connsiteY133" fmla="*/ 74762 h 494581"/>
              <a:gd name="connsiteX134" fmla="*/ 8666672 w 9149450"/>
              <a:gd name="connsiteY134" fmla="*/ 69011 h 494581"/>
              <a:gd name="connsiteX135" fmla="*/ 8729932 w 9149450"/>
              <a:gd name="connsiteY135" fmla="*/ 51758 h 494581"/>
              <a:gd name="connsiteX136" fmla="*/ 8793192 w 9149450"/>
              <a:gd name="connsiteY136" fmla="*/ 46007 h 494581"/>
              <a:gd name="connsiteX137" fmla="*/ 8862204 w 9149450"/>
              <a:gd name="connsiteY137" fmla="*/ 51758 h 494581"/>
              <a:gd name="connsiteX138" fmla="*/ 8959970 w 9149450"/>
              <a:gd name="connsiteY138" fmla="*/ 40257 h 494581"/>
              <a:gd name="connsiteX139" fmla="*/ 9023230 w 9149450"/>
              <a:gd name="connsiteY139" fmla="*/ 23004 h 494581"/>
              <a:gd name="connsiteX140" fmla="*/ 9092241 w 9149450"/>
              <a:gd name="connsiteY140" fmla="*/ 17253 h 494581"/>
              <a:gd name="connsiteX141" fmla="*/ 9138249 w 9149450"/>
              <a:gd name="connsiteY141" fmla="*/ 11502 h 494581"/>
              <a:gd name="connsiteX0" fmla="*/ 0 w 9149450"/>
              <a:gd name="connsiteY0" fmla="*/ 46007 h 1282460"/>
              <a:gd name="connsiteX1" fmla="*/ 46007 w 9149450"/>
              <a:gd name="connsiteY1" fmla="*/ 40257 h 1282460"/>
              <a:gd name="connsiteX2" fmla="*/ 74762 w 9149450"/>
              <a:gd name="connsiteY2" fmla="*/ 28755 h 1282460"/>
              <a:gd name="connsiteX3" fmla="*/ 143774 w 9149450"/>
              <a:gd name="connsiteY3" fmla="*/ 17253 h 1282460"/>
              <a:gd name="connsiteX4" fmla="*/ 195532 w 9149450"/>
              <a:gd name="connsiteY4" fmla="*/ 5751 h 1282460"/>
              <a:gd name="connsiteX5" fmla="*/ 276045 w 9149450"/>
              <a:gd name="connsiteY5" fmla="*/ 0 h 1282460"/>
              <a:gd name="connsiteX6" fmla="*/ 557841 w 9149450"/>
              <a:gd name="connsiteY6" fmla="*/ 5751 h 1282460"/>
              <a:gd name="connsiteX7" fmla="*/ 655607 w 9149450"/>
              <a:gd name="connsiteY7" fmla="*/ 23004 h 1282460"/>
              <a:gd name="connsiteX8" fmla="*/ 701615 w 9149450"/>
              <a:gd name="connsiteY8" fmla="*/ 28755 h 1282460"/>
              <a:gd name="connsiteX9" fmla="*/ 730370 w 9149450"/>
              <a:gd name="connsiteY9" fmla="*/ 34506 h 1282460"/>
              <a:gd name="connsiteX10" fmla="*/ 793630 w 9149450"/>
              <a:gd name="connsiteY10" fmla="*/ 46007 h 1282460"/>
              <a:gd name="connsiteX11" fmla="*/ 879894 w 9149450"/>
              <a:gd name="connsiteY11" fmla="*/ 63260 h 1282460"/>
              <a:gd name="connsiteX12" fmla="*/ 966158 w 9149450"/>
              <a:gd name="connsiteY12" fmla="*/ 86264 h 1282460"/>
              <a:gd name="connsiteX13" fmla="*/ 1017917 w 9149450"/>
              <a:gd name="connsiteY13" fmla="*/ 92015 h 1282460"/>
              <a:gd name="connsiteX14" fmla="*/ 1035170 w 9149450"/>
              <a:gd name="connsiteY14" fmla="*/ 97766 h 1282460"/>
              <a:gd name="connsiteX15" fmla="*/ 1104181 w 9149450"/>
              <a:gd name="connsiteY15" fmla="*/ 109268 h 1282460"/>
              <a:gd name="connsiteX16" fmla="*/ 1184694 w 9149450"/>
              <a:gd name="connsiteY16" fmla="*/ 126521 h 1282460"/>
              <a:gd name="connsiteX17" fmla="*/ 1288211 w 9149450"/>
              <a:gd name="connsiteY17" fmla="*/ 143774 h 1282460"/>
              <a:gd name="connsiteX18" fmla="*/ 1351472 w 9149450"/>
              <a:gd name="connsiteY18" fmla="*/ 161026 h 1282460"/>
              <a:gd name="connsiteX19" fmla="*/ 1391728 w 9149450"/>
              <a:gd name="connsiteY19" fmla="*/ 166777 h 1282460"/>
              <a:gd name="connsiteX20" fmla="*/ 1483743 w 9149450"/>
              <a:gd name="connsiteY20" fmla="*/ 189781 h 1282460"/>
              <a:gd name="connsiteX21" fmla="*/ 1529751 w 9149450"/>
              <a:gd name="connsiteY21" fmla="*/ 201283 h 1282460"/>
              <a:gd name="connsiteX22" fmla="*/ 1616015 w 9149450"/>
              <a:gd name="connsiteY22" fmla="*/ 212785 h 1282460"/>
              <a:gd name="connsiteX23" fmla="*/ 1685026 w 9149450"/>
              <a:gd name="connsiteY23" fmla="*/ 230038 h 1282460"/>
              <a:gd name="connsiteX24" fmla="*/ 1708030 w 9149450"/>
              <a:gd name="connsiteY24" fmla="*/ 235789 h 1282460"/>
              <a:gd name="connsiteX25" fmla="*/ 1754038 w 9149450"/>
              <a:gd name="connsiteY25" fmla="*/ 241540 h 1282460"/>
              <a:gd name="connsiteX26" fmla="*/ 1777041 w 9149450"/>
              <a:gd name="connsiteY26" fmla="*/ 247290 h 1282460"/>
              <a:gd name="connsiteX27" fmla="*/ 1863306 w 9149450"/>
              <a:gd name="connsiteY27" fmla="*/ 258792 h 1282460"/>
              <a:gd name="connsiteX28" fmla="*/ 1955321 w 9149450"/>
              <a:gd name="connsiteY28" fmla="*/ 270294 h 1282460"/>
              <a:gd name="connsiteX29" fmla="*/ 2007079 w 9149450"/>
              <a:gd name="connsiteY29" fmla="*/ 276045 h 1282460"/>
              <a:gd name="connsiteX30" fmla="*/ 2041585 w 9149450"/>
              <a:gd name="connsiteY30" fmla="*/ 281796 h 1282460"/>
              <a:gd name="connsiteX31" fmla="*/ 2231366 w 9149450"/>
              <a:gd name="connsiteY31" fmla="*/ 293298 h 1282460"/>
              <a:gd name="connsiteX32" fmla="*/ 2461404 w 9149450"/>
              <a:gd name="connsiteY32" fmla="*/ 287547 h 1282460"/>
              <a:gd name="connsiteX33" fmla="*/ 2490158 w 9149450"/>
              <a:gd name="connsiteY33" fmla="*/ 281796 h 1282460"/>
              <a:gd name="connsiteX34" fmla="*/ 2553419 w 9149450"/>
              <a:gd name="connsiteY34" fmla="*/ 276045 h 1282460"/>
              <a:gd name="connsiteX35" fmla="*/ 2582174 w 9149450"/>
              <a:gd name="connsiteY35" fmla="*/ 270294 h 1282460"/>
              <a:gd name="connsiteX36" fmla="*/ 2628181 w 9149450"/>
              <a:gd name="connsiteY36" fmla="*/ 264543 h 1282460"/>
              <a:gd name="connsiteX37" fmla="*/ 2651185 w 9149450"/>
              <a:gd name="connsiteY37" fmla="*/ 253041 h 1282460"/>
              <a:gd name="connsiteX38" fmla="*/ 2674189 w 9149450"/>
              <a:gd name="connsiteY38" fmla="*/ 247290 h 1282460"/>
              <a:gd name="connsiteX39" fmla="*/ 2691441 w 9149450"/>
              <a:gd name="connsiteY39" fmla="*/ 241540 h 1282460"/>
              <a:gd name="connsiteX40" fmla="*/ 2737449 w 9149450"/>
              <a:gd name="connsiteY40" fmla="*/ 230038 h 1282460"/>
              <a:gd name="connsiteX41" fmla="*/ 2760453 w 9149450"/>
              <a:gd name="connsiteY41" fmla="*/ 224287 h 1282460"/>
              <a:gd name="connsiteX42" fmla="*/ 2789207 w 9149450"/>
              <a:gd name="connsiteY42" fmla="*/ 207034 h 1282460"/>
              <a:gd name="connsiteX43" fmla="*/ 2823713 w 9149450"/>
              <a:gd name="connsiteY43" fmla="*/ 195532 h 1282460"/>
              <a:gd name="connsiteX44" fmla="*/ 2840966 w 9149450"/>
              <a:gd name="connsiteY44" fmla="*/ 189781 h 1282460"/>
              <a:gd name="connsiteX45" fmla="*/ 2904226 w 9149450"/>
              <a:gd name="connsiteY45" fmla="*/ 172528 h 1282460"/>
              <a:gd name="connsiteX46" fmla="*/ 2955985 w 9149450"/>
              <a:gd name="connsiteY46" fmla="*/ 149524 h 1282460"/>
              <a:gd name="connsiteX47" fmla="*/ 2973238 w 9149450"/>
              <a:gd name="connsiteY47" fmla="*/ 143774 h 1282460"/>
              <a:gd name="connsiteX48" fmla="*/ 2996241 w 9149450"/>
              <a:gd name="connsiteY48" fmla="*/ 132272 h 1282460"/>
              <a:gd name="connsiteX49" fmla="*/ 3013494 w 9149450"/>
              <a:gd name="connsiteY49" fmla="*/ 126521 h 1282460"/>
              <a:gd name="connsiteX50" fmla="*/ 3036498 w 9149450"/>
              <a:gd name="connsiteY50" fmla="*/ 115019 h 1282460"/>
              <a:gd name="connsiteX51" fmla="*/ 3071004 w 9149450"/>
              <a:gd name="connsiteY51" fmla="*/ 109268 h 1282460"/>
              <a:gd name="connsiteX52" fmla="*/ 3105509 w 9149450"/>
              <a:gd name="connsiteY52" fmla="*/ 97766 h 1282460"/>
              <a:gd name="connsiteX53" fmla="*/ 3140015 w 9149450"/>
              <a:gd name="connsiteY53" fmla="*/ 92015 h 1282460"/>
              <a:gd name="connsiteX54" fmla="*/ 3163019 w 9149450"/>
              <a:gd name="connsiteY54" fmla="*/ 86264 h 1282460"/>
              <a:gd name="connsiteX55" fmla="*/ 3370053 w 9149450"/>
              <a:gd name="connsiteY55" fmla="*/ 80513 h 1282460"/>
              <a:gd name="connsiteX56" fmla="*/ 3554083 w 9149450"/>
              <a:gd name="connsiteY56" fmla="*/ 86264 h 1282460"/>
              <a:gd name="connsiteX57" fmla="*/ 3588589 w 9149450"/>
              <a:gd name="connsiteY57" fmla="*/ 103517 h 1282460"/>
              <a:gd name="connsiteX58" fmla="*/ 3628845 w 9149450"/>
              <a:gd name="connsiteY58" fmla="*/ 115019 h 1282460"/>
              <a:gd name="connsiteX59" fmla="*/ 3651849 w 9149450"/>
              <a:gd name="connsiteY59" fmla="*/ 126521 h 1282460"/>
              <a:gd name="connsiteX60" fmla="*/ 3674853 w 9149450"/>
              <a:gd name="connsiteY60" fmla="*/ 132272 h 1282460"/>
              <a:gd name="connsiteX61" fmla="*/ 3709358 w 9149450"/>
              <a:gd name="connsiteY61" fmla="*/ 143774 h 1282460"/>
              <a:gd name="connsiteX62" fmla="*/ 3726611 w 9149450"/>
              <a:gd name="connsiteY62" fmla="*/ 149524 h 1282460"/>
              <a:gd name="connsiteX63" fmla="*/ 3778370 w 9149450"/>
              <a:gd name="connsiteY63" fmla="*/ 155275 h 1282460"/>
              <a:gd name="connsiteX64" fmla="*/ 3841630 w 9149450"/>
              <a:gd name="connsiteY64" fmla="*/ 166777 h 1282460"/>
              <a:gd name="connsiteX65" fmla="*/ 3904891 w 9149450"/>
              <a:gd name="connsiteY65" fmla="*/ 172528 h 1282460"/>
              <a:gd name="connsiteX66" fmla="*/ 3973902 w 9149450"/>
              <a:gd name="connsiteY66" fmla="*/ 184030 h 1282460"/>
              <a:gd name="connsiteX67" fmla="*/ 4037162 w 9149450"/>
              <a:gd name="connsiteY67" fmla="*/ 189781 h 1282460"/>
              <a:gd name="connsiteX68" fmla="*/ 4100423 w 9149450"/>
              <a:gd name="connsiteY68" fmla="*/ 207034 h 1282460"/>
              <a:gd name="connsiteX69" fmla="*/ 4140679 w 9149450"/>
              <a:gd name="connsiteY69" fmla="*/ 218536 h 1282460"/>
              <a:gd name="connsiteX70" fmla="*/ 4163683 w 9149450"/>
              <a:gd name="connsiteY70" fmla="*/ 230038 h 1282460"/>
              <a:gd name="connsiteX71" fmla="*/ 4198189 w 9149450"/>
              <a:gd name="connsiteY71" fmla="*/ 235789 h 1282460"/>
              <a:gd name="connsiteX72" fmla="*/ 4226943 w 9149450"/>
              <a:gd name="connsiteY72" fmla="*/ 241540 h 1282460"/>
              <a:gd name="connsiteX73" fmla="*/ 4249947 w 9149450"/>
              <a:gd name="connsiteY73" fmla="*/ 247290 h 1282460"/>
              <a:gd name="connsiteX74" fmla="*/ 4428226 w 9149450"/>
              <a:gd name="connsiteY74" fmla="*/ 253041 h 1282460"/>
              <a:gd name="connsiteX75" fmla="*/ 4497238 w 9149450"/>
              <a:gd name="connsiteY75" fmla="*/ 258792 h 1282460"/>
              <a:gd name="connsiteX76" fmla="*/ 4520241 w 9149450"/>
              <a:gd name="connsiteY76" fmla="*/ 270294 h 1282460"/>
              <a:gd name="connsiteX77" fmla="*/ 4572000 w 9149450"/>
              <a:gd name="connsiteY77" fmla="*/ 293298 h 1282460"/>
              <a:gd name="connsiteX78" fmla="*/ 4623758 w 9149450"/>
              <a:gd name="connsiteY78" fmla="*/ 316302 h 1282460"/>
              <a:gd name="connsiteX79" fmla="*/ 4675517 w 9149450"/>
              <a:gd name="connsiteY79" fmla="*/ 339306 h 1282460"/>
              <a:gd name="connsiteX80" fmla="*/ 4698521 w 9149450"/>
              <a:gd name="connsiteY80" fmla="*/ 350807 h 1282460"/>
              <a:gd name="connsiteX81" fmla="*/ 4750279 w 9149450"/>
              <a:gd name="connsiteY81" fmla="*/ 368060 h 1282460"/>
              <a:gd name="connsiteX82" fmla="*/ 4767532 w 9149450"/>
              <a:gd name="connsiteY82" fmla="*/ 373811 h 1282460"/>
              <a:gd name="connsiteX83" fmla="*/ 4796287 w 9149450"/>
              <a:gd name="connsiteY83" fmla="*/ 391064 h 1282460"/>
              <a:gd name="connsiteX84" fmla="*/ 4836543 w 9149450"/>
              <a:gd name="connsiteY84" fmla="*/ 402566 h 1282460"/>
              <a:gd name="connsiteX85" fmla="*/ 4871049 w 9149450"/>
              <a:gd name="connsiteY85" fmla="*/ 414068 h 1282460"/>
              <a:gd name="connsiteX86" fmla="*/ 4911306 w 9149450"/>
              <a:gd name="connsiteY86" fmla="*/ 419819 h 1282460"/>
              <a:gd name="connsiteX87" fmla="*/ 5066581 w 9149450"/>
              <a:gd name="connsiteY87" fmla="*/ 431321 h 1282460"/>
              <a:gd name="connsiteX88" fmla="*/ 5256362 w 9149450"/>
              <a:gd name="connsiteY88" fmla="*/ 442823 h 1282460"/>
              <a:gd name="connsiteX89" fmla="*/ 5377132 w 9149450"/>
              <a:gd name="connsiteY89" fmla="*/ 454324 h 1282460"/>
              <a:gd name="connsiteX90" fmla="*/ 5515155 w 9149450"/>
              <a:gd name="connsiteY90" fmla="*/ 465826 h 1282460"/>
              <a:gd name="connsiteX91" fmla="*/ 5572664 w 9149450"/>
              <a:gd name="connsiteY91" fmla="*/ 471577 h 1282460"/>
              <a:gd name="connsiteX92" fmla="*/ 5756694 w 9149450"/>
              <a:gd name="connsiteY92" fmla="*/ 483079 h 1282460"/>
              <a:gd name="connsiteX93" fmla="*/ 5998234 w 9149450"/>
              <a:gd name="connsiteY93" fmla="*/ 494581 h 1282460"/>
              <a:gd name="connsiteX94" fmla="*/ 6303034 w 9149450"/>
              <a:gd name="connsiteY94" fmla="*/ 488830 h 1282460"/>
              <a:gd name="connsiteX95" fmla="*/ 6343291 w 9149450"/>
              <a:gd name="connsiteY95" fmla="*/ 477328 h 1282460"/>
              <a:gd name="connsiteX96" fmla="*/ 6395049 w 9149450"/>
              <a:gd name="connsiteY96" fmla="*/ 465826 h 1282460"/>
              <a:gd name="connsiteX97" fmla="*/ 6423804 w 9149450"/>
              <a:gd name="connsiteY97" fmla="*/ 460075 h 1282460"/>
              <a:gd name="connsiteX98" fmla="*/ 6452558 w 9149450"/>
              <a:gd name="connsiteY98" fmla="*/ 448574 h 1282460"/>
              <a:gd name="connsiteX99" fmla="*/ 6515819 w 9149450"/>
              <a:gd name="connsiteY99" fmla="*/ 437072 h 1282460"/>
              <a:gd name="connsiteX100" fmla="*/ 6561826 w 9149450"/>
              <a:gd name="connsiteY100" fmla="*/ 425570 h 1282460"/>
              <a:gd name="connsiteX101" fmla="*/ 6625087 w 9149450"/>
              <a:gd name="connsiteY101" fmla="*/ 408317 h 1282460"/>
              <a:gd name="connsiteX102" fmla="*/ 6642340 w 9149450"/>
              <a:gd name="connsiteY102" fmla="*/ 396815 h 1282460"/>
              <a:gd name="connsiteX103" fmla="*/ 6682596 w 9149450"/>
              <a:gd name="connsiteY103" fmla="*/ 385313 h 1282460"/>
              <a:gd name="connsiteX104" fmla="*/ 6745857 w 9149450"/>
              <a:gd name="connsiteY104" fmla="*/ 362309 h 1282460"/>
              <a:gd name="connsiteX105" fmla="*/ 6780362 w 9149450"/>
              <a:gd name="connsiteY105" fmla="*/ 350807 h 1282460"/>
              <a:gd name="connsiteX106" fmla="*/ 6803366 w 9149450"/>
              <a:gd name="connsiteY106" fmla="*/ 339306 h 1282460"/>
              <a:gd name="connsiteX107" fmla="*/ 6849374 w 9149450"/>
              <a:gd name="connsiteY107" fmla="*/ 333555 h 1282460"/>
              <a:gd name="connsiteX108" fmla="*/ 6901132 w 9149450"/>
              <a:gd name="connsiteY108" fmla="*/ 322053 h 1282460"/>
              <a:gd name="connsiteX109" fmla="*/ 6929887 w 9149450"/>
              <a:gd name="connsiteY109" fmla="*/ 316302 h 1282460"/>
              <a:gd name="connsiteX110" fmla="*/ 6964392 w 9149450"/>
              <a:gd name="connsiteY110" fmla="*/ 310551 h 1282460"/>
              <a:gd name="connsiteX111" fmla="*/ 7119668 w 9149450"/>
              <a:gd name="connsiteY111" fmla="*/ 304800 h 1282460"/>
              <a:gd name="connsiteX112" fmla="*/ 7919049 w 9149450"/>
              <a:gd name="connsiteY112" fmla="*/ 299049 h 1282460"/>
              <a:gd name="connsiteX113" fmla="*/ 7976558 w 9149450"/>
              <a:gd name="connsiteY113" fmla="*/ 293298 h 1282460"/>
              <a:gd name="connsiteX114" fmla="*/ 8114581 w 9149450"/>
              <a:gd name="connsiteY114" fmla="*/ 264543 h 1282460"/>
              <a:gd name="connsiteX115" fmla="*/ 8137585 w 9149450"/>
              <a:gd name="connsiteY115" fmla="*/ 258792 h 1282460"/>
              <a:gd name="connsiteX116" fmla="*/ 8160589 w 9149450"/>
              <a:gd name="connsiteY116" fmla="*/ 247290 h 1282460"/>
              <a:gd name="connsiteX117" fmla="*/ 8183592 w 9149450"/>
              <a:gd name="connsiteY117" fmla="*/ 241540 h 1282460"/>
              <a:gd name="connsiteX118" fmla="*/ 8218098 w 9149450"/>
              <a:gd name="connsiteY118" fmla="*/ 230038 h 1282460"/>
              <a:gd name="connsiteX119" fmla="*/ 8235351 w 9149450"/>
              <a:gd name="connsiteY119" fmla="*/ 224287 h 1282460"/>
              <a:gd name="connsiteX120" fmla="*/ 8258355 w 9149450"/>
              <a:gd name="connsiteY120" fmla="*/ 218536 h 1282460"/>
              <a:gd name="connsiteX121" fmla="*/ 8287109 w 9149450"/>
              <a:gd name="connsiteY121" fmla="*/ 201283 h 1282460"/>
              <a:gd name="connsiteX122" fmla="*/ 8321615 w 9149450"/>
              <a:gd name="connsiteY122" fmla="*/ 189781 h 1282460"/>
              <a:gd name="connsiteX123" fmla="*/ 8361872 w 9149450"/>
              <a:gd name="connsiteY123" fmla="*/ 172528 h 1282460"/>
              <a:gd name="connsiteX124" fmla="*/ 8384875 w 9149450"/>
              <a:gd name="connsiteY124" fmla="*/ 161026 h 1282460"/>
              <a:gd name="connsiteX125" fmla="*/ 8402128 w 9149450"/>
              <a:gd name="connsiteY125" fmla="*/ 155275 h 1282460"/>
              <a:gd name="connsiteX126" fmla="*/ 8430883 w 9149450"/>
              <a:gd name="connsiteY126" fmla="*/ 143774 h 1282460"/>
              <a:gd name="connsiteX127" fmla="*/ 8476891 w 9149450"/>
              <a:gd name="connsiteY127" fmla="*/ 120770 h 1282460"/>
              <a:gd name="connsiteX128" fmla="*/ 8505645 w 9149450"/>
              <a:gd name="connsiteY128" fmla="*/ 115019 h 1282460"/>
              <a:gd name="connsiteX129" fmla="*/ 8522898 w 9149450"/>
              <a:gd name="connsiteY129" fmla="*/ 109268 h 1282460"/>
              <a:gd name="connsiteX130" fmla="*/ 8545902 w 9149450"/>
              <a:gd name="connsiteY130" fmla="*/ 103517 h 1282460"/>
              <a:gd name="connsiteX131" fmla="*/ 8563155 w 9149450"/>
              <a:gd name="connsiteY131" fmla="*/ 92015 h 1282460"/>
              <a:gd name="connsiteX132" fmla="*/ 8591909 w 9149450"/>
              <a:gd name="connsiteY132" fmla="*/ 86264 h 1282460"/>
              <a:gd name="connsiteX133" fmla="*/ 8637917 w 9149450"/>
              <a:gd name="connsiteY133" fmla="*/ 74762 h 1282460"/>
              <a:gd name="connsiteX134" fmla="*/ 8666672 w 9149450"/>
              <a:gd name="connsiteY134" fmla="*/ 69011 h 1282460"/>
              <a:gd name="connsiteX135" fmla="*/ 8729932 w 9149450"/>
              <a:gd name="connsiteY135" fmla="*/ 51758 h 1282460"/>
              <a:gd name="connsiteX136" fmla="*/ 8793192 w 9149450"/>
              <a:gd name="connsiteY136" fmla="*/ 46007 h 1282460"/>
              <a:gd name="connsiteX137" fmla="*/ 8862204 w 9149450"/>
              <a:gd name="connsiteY137" fmla="*/ 51758 h 1282460"/>
              <a:gd name="connsiteX138" fmla="*/ 8959970 w 9149450"/>
              <a:gd name="connsiteY138" fmla="*/ 40257 h 1282460"/>
              <a:gd name="connsiteX139" fmla="*/ 9023230 w 9149450"/>
              <a:gd name="connsiteY139" fmla="*/ 23004 h 1282460"/>
              <a:gd name="connsiteX140" fmla="*/ 9092241 w 9149450"/>
              <a:gd name="connsiteY140" fmla="*/ 17253 h 1282460"/>
              <a:gd name="connsiteX141" fmla="*/ 9138249 w 9149450"/>
              <a:gd name="connsiteY141" fmla="*/ 1282460 h 1282460"/>
              <a:gd name="connsiteX0" fmla="*/ 0 w 9195458"/>
              <a:gd name="connsiteY0" fmla="*/ 46007 h 1282460"/>
              <a:gd name="connsiteX1" fmla="*/ 46007 w 9195458"/>
              <a:gd name="connsiteY1" fmla="*/ 40257 h 1282460"/>
              <a:gd name="connsiteX2" fmla="*/ 74762 w 9195458"/>
              <a:gd name="connsiteY2" fmla="*/ 28755 h 1282460"/>
              <a:gd name="connsiteX3" fmla="*/ 143774 w 9195458"/>
              <a:gd name="connsiteY3" fmla="*/ 17253 h 1282460"/>
              <a:gd name="connsiteX4" fmla="*/ 195532 w 9195458"/>
              <a:gd name="connsiteY4" fmla="*/ 5751 h 1282460"/>
              <a:gd name="connsiteX5" fmla="*/ 276045 w 9195458"/>
              <a:gd name="connsiteY5" fmla="*/ 0 h 1282460"/>
              <a:gd name="connsiteX6" fmla="*/ 557841 w 9195458"/>
              <a:gd name="connsiteY6" fmla="*/ 5751 h 1282460"/>
              <a:gd name="connsiteX7" fmla="*/ 655607 w 9195458"/>
              <a:gd name="connsiteY7" fmla="*/ 23004 h 1282460"/>
              <a:gd name="connsiteX8" fmla="*/ 701615 w 9195458"/>
              <a:gd name="connsiteY8" fmla="*/ 28755 h 1282460"/>
              <a:gd name="connsiteX9" fmla="*/ 730370 w 9195458"/>
              <a:gd name="connsiteY9" fmla="*/ 34506 h 1282460"/>
              <a:gd name="connsiteX10" fmla="*/ 793630 w 9195458"/>
              <a:gd name="connsiteY10" fmla="*/ 46007 h 1282460"/>
              <a:gd name="connsiteX11" fmla="*/ 879894 w 9195458"/>
              <a:gd name="connsiteY11" fmla="*/ 63260 h 1282460"/>
              <a:gd name="connsiteX12" fmla="*/ 966158 w 9195458"/>
              <a:gd name="connsiteY12" fmla="*/ 86264 h 1282460"/>
              <a:gd name="connsiteX13" fmla="*/ 1017917 w 9195458"/>
              <a:gd name="connsiteY13" fmla="*/ 92015 h 1282460"/>
              <a:gd name="connsiteX14" fmla="*/ 1035170 w 9195458"/>
              <a:gd name="connsiteY14" fmla="*/ 97766 h 1282460"/>
              <a:gd name="connsiteX15" fmla="*/ 1104181 w 9195458"/>
              <a:gd name="connsiteY15" fmla="*/ 109268 h 1282460"/>
              <a:gd name="connsiteX16" fmla="*/ 1184694 w 9195458"/>
              <a:gd name="connsiteY16" fmla="*/ 126521 h 1282460"/>
              <a:gd name="connsiteX17" fmla="*/ 1288211 w 9195458"/>
              <a:gd name="connsiteY17" fmla="*/ 143774 h 1282460"/>
              <a:gd name="connsiteX18" fmla="*/ 1351472 w 9195458"/>
              <a:gd name="connsiteY18" fmla="*/ 161026 h 1282460"/>
              <a:gd name="connsiteX19" fmla="*/ 1391728 w 9195458"/>
              <a:gd name="connsiteY19" fmla="*/ 166777 h 1282460"/>
              <a:gd name="connsiteX20" fmla="*/ 1483743 w 9195458"/>
              <a:gd name="connsiteY20" fmla="*/ 189781 h 1282460"/>
              <a:gd name="connsiteX21" fmla="*/ 1529751 w 9195458"/>
              <a:gd name="connsiteY21" fmla="*/ 201283 h 1282460"/>
              <a:gd name="connsiteX22" fmla="*/ 1616015 w 9195458"/>
              <a:gd name="connsiteY22" fmla="*/ 212785 h 1282460"/>
              <a:gd name="connsiteX23" fmla="*/ 1685026 w 9195458"/>
              <a:gd name="connsiteY23" fmla="*/ 230038 h 1282460"/>
              <a:gd name="connsiteX24" fmla="*/ 1708030 w 9195458"/>
              <a:gd name="connsiteY24" fmla="*/ 235789 h 1282460"/>
              <a:gd name="connsiteX25" fmla="*/ 1754038 w 9195458"/>
              <a:gd name="connsiteY25" fmla="*/ 241540 h 1282460"/>
              <a:gd name="connsiteX26" fmla="*/ 1777041 w 9195458"/>
              <a:gd name="connsiteY26" fmla="*/ 247290 h 1282460"/>
              <a:gd name="connsiteX27" fmla="*/ 1863306 w 9195458"/>
              <a:gd name="connsiteY27" fmla="*/ 258792 h 1282460"/>
              <a:gd name="connsiteX28" fmla="*/ 1955321 w 9195458"/>
              <a:gd name="connsiteY28" fmla="*/ 270294 h 1282460"/>
              <a:gd name="connsiteX29" fmla="*/ 2007079 w 9195458"/>
              <a:gd name="connsiteY29" fmla="*/ 276045 h 1282460"/>
              <a:gd name="connsiteX30" fmla="*/ 2041585 w 9195458"/>
              <a:gd name="connsiteY30" fmla="*/ 281796 h 1282460"/>
              <a:gd name="connsiteX31" fmla="*/ 2231366 w 9195458"/>
              <a:gd name="connsiteY31" fmla="*/ 293298 h 1282460"/>
              <a:gd name="connsiteX32" fmla="*/ 2461404 w 9195458"/>
              <a:gd name="connsiteY32" fmla="*/ 287547 h 1282460"/>
              <a:gd name="connsiteX33" fmla="*/ 2490158 w 9195458"/>
              <a:gd name="connsiteY33" fmla="*/ 281796 h 1282460"/>
              <a:gd name="connsiteX34" fmla="*/ 2553419 w 9195458"/>
              <a:gd name="connsiteY34" fmla="*/ 276045 h 1282460"/>
              <a:gd name="connsiteX35" fmla="*/ 2582174 w 9195458"/>
              <a:gd name="connsiteY35" fmla="*/ 270294 h 1282460"/>
              <a:gd name="connsiteX36" fmla="*/ 2628181 w 9195458"/>
              <a:gd name="connsiteY36" fmla="*/ 264543 h 1282460"/>
              <a:gd name="connsiteX37" fmla="*/ 2651185 w 9195458"/>
              <a:gd name="connsiteY37" fmla="*/ 253041 h 1282460"/>
              <a:gd name="connsiteX38" fmla="*/ 2674189 w 9195458"/>
              <a:gd name="connsiteY38" fmla="*/ 247290 h 1282460"/>
              <a:gd name="connsiteX39" fmla="*/ 2691441 w 9195458"/>
              <a:gd name="connsiteY39" fmla="*/ 241540 h 1282460"/>
              <a:gd name="connsiteX40" fmla="*/ 2737449 w 9195458"/>
              <a:gd name="connsiteY40" fmla="*/ 230038 h 1282460"/>
              <a:gd name="connsiteX41" fmla="*/ 2760453 w 9195458"/>
              <a:gd name="connsiteY41" fmla="*/ 224287 h 1282460"/>
              <a:gd name="connsiteX42" fmla="*/ 2789207 w 9195458"/>
              <a:gd name="connsiteY42" fmla="*/ 207034 h 1282460"/>
              <a:gd name="connsiteX43" fmla="*/ 2823713 w 9195458"/>
              <a:gd name="connsiteY43" fmla="*/ 195532 h 1282460"/>
              <a:gd name="connsiteX44" fmla="*/ 2840966 w 9195458"/>
              <a:gd name="connsiteY44" fmla="*/ 189781 h 1282460"/>
              <a:gd name="connsiteX45" fmla="*/ 2904226 w 9195458"/>
              <a:gd name="connsiteY45" fmla="*/ 172528 h 1282460"/>
              <a:gd name="connsiteX46" fmla="*/ 2955985 w 9195458"/>
              <a:gd name="connsiteY46" fmla="*/ 149524 h 1282460"/>
              <a:gd name="connsiteX47" fmla="*/ 2973238 w 9195458"/>
              <a:gd name="connsiteY47" fmla="*/ 143774 h 1282460"/>
              <a:gd name="connsiteX48" fmla="*/ 2996241 w 9195458"/>
              <a:gd name="connsiteY48" fmla="*/ 132272 h 1282460"/>
              <a:gd name="connsiteX49" fmla="*/ 3013494 w 9195458"/>
              <a:gd name="connsiteY49" fmla="*/ 126521 h 1282460"/>
              <a:gd name="connsiteX50" fmla="*/ 3036498 w 9195458"/>
              <a:gd name="connsiteY50" fmla="*/ 115019 h 1282460"/>
              <a:gd name="connsiteX51" fmla="*/ 3071004 w 9195458"/>
              <a:gd name="connsiteY51" fmla="*/ 109268 h 1282460"/>
              <a:gd name="connsiteX52" fmla="*/ 3105509 w 9195458"/>
              <a:gd name="connsiteY52" fmla="*/ 97766 h 1282460"/>
              <a:gd name="connsiteX53" fmla="*/ 3140015 w 9195458"/>
              <a:gd name="connsiteY53" fmla="*/ 92015 h 1282460"/>
              <a:gd name="connsiteX54" fmla="*/ 3163019 w 9195458"/>
              <a:gd name="connsiteY54" fmla="*/ 86264 h 1282460"/>
              <a:gd name="connsiteX55" fmla="*/ 3370053 w 9195458"/>
              <a:gd name="connsiteY55" fmla="*/ 80513 h 1282460"/>
              <a:gd name="connsiteX56" fmla="*/ 3554083 w 9195458"/>
              <a:gd name="connsiteY56" fmla="*/ 86264 h 1282460"/>
              <a:gd name="connsiteX57" fmla="*/ 3588589 w 9195458"/>
              <a:gd name="connsiteY57" fmla="*/ 103517 h 1282460"/>
              <a:gd name="connsiteX58" fmla="*/ 3628845 w 9195458"/>
              <a:gd name="connsiteY58" fmla="*/ 115019 h 1282460"/>
              <a:gd name="connsiteX59" fmla="*/ 3651849 w 9195458"/>
              <a:gd name="connsiteY59" fmla="*/ 126521 h 1282460"/>
              <a:gd name="connsiteX60" fmla="*/ 3674853 w 9195458"/>
              <a:gd name="connsiteY60" fmla="*/ 132272 h 1282460"/>
              <a:gd name="connsiteX61" fmla="*/ 3709358 w 9195458"/>
              <a:gd name="connsiteY61" fmla="*/ 143774 h 1282460"/>
              <a:gd name="connsiteX62" fmla="*/ 3726611 w 9195458"/>
              <a:gd name="connsiteY62" fmla="*/ 149524 h 1282460"/>
              <a:gd name="connsiteX63" fmla="*/ 3778370 w 9195458"/>
              <a:gd name="connsiteY63" fmla="*/ 155275 h 1282460"/>
              <a:gd name="connsiteX64" fmla="*/ 3841630 w 9195458"/>
              <a:gd name="connsiteY64" fmla="*/ 166777 h 1282460"/>
              <a:gd name="connsiteX65" fmla="*/ 3904891 w 9195458"/>
              <a:gd name="connsiteY65" fmla="*/ 172528 h 1282460"/>
              <a:gd name="connsiteX66" fmla="*/ 3973902 w 9195458"/>
              <a:gd name="connsiteY66" fmla="*/ 184030 h 1282460"/>
              <a:gd name="connsiteX67" fmla="*/ 4037162 w 9195458"/>
              <a:gd name="connsiteY67" fmla="*/ 189781 h 1282460"/>
              <a:gd name="connsiteX68" fmla="*/ 4100423 w 9195458"/>
              <a:gd name="connsiteY68" fmla="*/ 207034 h 1282460"/>
              <a:gd name="connsiteX69" fmla="*/ 4140679 w 9195458"/>
              <a:gd name="connsiteY69" fmla="*/ 218536 h 1282460"/>
              <a:gd name="connsiteX70" fmla="*/ 4163683 w 9195458"/>
              <a:gd name="connsiteY70" fmla="*/ 230038 h 1282460"/>
              <a:gd name="connsiteX71" fmla="*/ 4198189 w 9195458"/>
              <a:gd name="connsiteY71" fmla="*/ 235789 h 1282460"/>
              <a:gd name="connsiteX72" fmla="*/ 4226943 w 9195458"/>
              <a:gd name="connsiteY72" fmla="*/ 241540 h 1282460"/>
              <a:gd name="connsiteX73" fmla="*/ 4249947 w 9195458"/>
              <a:gd name="connsiteY73" fmla="*/ 247290 h 1282460"/>
              <a:gd name="connsiteX74" fmla="*/ 4428226 w 9195458"/>
              <a:gd name="connsiteY74" fmla="*/ 253041 h 1282460"/>
              <a:gd name="connsiteX75" fmla="*/ 4497238 w 9195458"/>
              <a:gd name="connsiteY75" fmla="*/ 258792 h 1282460"/>
              <a:gd name="connsiteX76" fmla="*/ 4520241 w 9195458"/>
              <a:gd name="connsiteY76" fmla="*/ 270294 h 1282460"/>
              <a:gd name="connsiteX77" fmla="*/ 4572000 w 9195458"/>
              <a:gd name="connsiteY77" fmla="*/ 293298 h 1282460"/>
              <a:gd name="connsiteX78" fmla="*/ 4623758 w 9195458"/>
              <a:gd name="connsiteY78" fmla="*/ 316302 h 1282460"/>
              <a:gd name="connsiteX79" fmla="*/ 4675517 w 9195458"/>
              <a:gd name="connsiteY79" fmla="*/ 339306 h 1282460"/>
              <a:gd name="connsiteX80" fmla="*/ 4698521 w 9195458"/>
              <a:gd name="connsiteY80" fmla="*/ 350807 h 1282460"/>
              <a:gd name="connsiteX81" fmla="*/ 4750279 w 9195458"/>
              <a:gd name="connsiteY81" fmla="*/ 368060 h 1282460"/>
              <a:gd name="connsiteX82" fmla="*/ 4767532 w 9195458"/>
              <a:gd name="connsiteY82" fmla="*/ 373811 h 1282460"/>
              <a:gd name="connsiteX83" fmla="*/ 4796287 w 9195458"/>
              <a:gd name="connsiteY83" fmla="*/ 391064 h 1282460"/>
              <a:gd name="connsiteX84" fmla="*/ 4836543 w 9195458"/>
              <a:gd name="connsiteY84" fmla="*/ 402566 h 1282460"/>
              <a:gd name="connsiteX85" fmla="*/ 4871049 w 9195458"/>
              <a:gd name="connsiteY85" fmla="*/ 414068 h 1282460"/>
              <a:gd name="connsiteX86" fmla="*/ 4911306 w 9195458"/>
              <a:gd name="connsiteY86" fmla="*/ 419819 h 1282460"/>
              <a:gd name="connsiteX87" fmla="*/ 5066581 w 9195458"/>
              <a:gd name="connsiteY87" fmla="*/ 431321 h 1282460"/>
              <a:gd name="connsiteX88" fmla="*/ 5256362 w 9195458"/>
              <a:gd name="connsiteY88" fmla="*/ 442823 h 1282460"/>
              <a:gd name="connsiteX89" fmla="*/ 5377132 w 9195458"/>
              <a:gd name="connsiteY89" fmla="*/ 454324 h 1282460"/>
              <a:gd name="connsiteX90" fmla="*/ 5515155 w 9195458"/>
              <a:gd name="connsiteY90" fmla="*/ 465826 h 1282460"/>
              <a:gd name="connsiteX91" fmla="*/ 5572664 w 9195458"/>
              <a:gd name="connsiteY91" fmla="*/ 471577 h 1282460"/>
              <a:gd name="connsiteX92" fmla="*/ 5756694 w 9195458"/>
              <a:gd name="connsiteY92" fmla="*/ 483079 h 1282460"/>
              <a:gd name="connsiteX93" fmla="*/ 5998234 w 9195458"/>
              <a:gd name="connsiteY93" fmla="*/ 494581 h 1282460"/>
              <a:gd name="connsiteX94" fmla="*/ 6303034 w 9195458"/>
              <a:gd name="connsiteY94" fmla="*/ 488830 h 1282460"/>
              <a:gd name="connsiteX95" fmla="*/ 6343291 w 9195458"/>
              <a:gd name="connsiteY95" fmla="*/ 477328 h 1282460"/>
              <a:gd name="connsiteX96" fmla="*/ 6395049 w 9195458"/>
              <a:gd name="connsiteY96" fmla="*/ 465826 h 1282460"/>
              <a:gd name="connsiteX97" fmla="*/ 6423804 w 9195458"/>
              <a:gd name="connsiteY97" fmla="*/ 460075 h 1282460"/>
              <a:gd name="connsiteX98" fmla="*/ 6452558 w 9195458"/>
              <a:gd name="connsiteY98" fmla="*/ 448574 h 1282460"/>
              <a:gd name="connsiteX99" fmla="*/ 6515819 w 9195458"/>
              <a:gd name="connsiteY99" fmla="*/ 437072 h 1282460"/>
              <a:gd name="connsiteX100" fmla="*/ 6561826 w 9195458"/>
              <a:gd name="connsiteY100" fmla="*/ 425570 h 1282460"/>
              <a:gd name="connsiteX101" fmla="*/ 6625087 w 9195458"/>
              <a:gd name="connsiteY101" fmla="*/ 408317 h 1282460"/>
              <a:gd name="connsiteX102" fmla="*/ 6642340 w 9195458"/>
              <a:gd name="connsiteY102" fmla="*/ 396815 h 1282460"/>
              <a:gd name="connsiteX103" fmla="*/ 6682596 w 9195458"/>
              <a:gd name="connsiteY103" fmla="*/ 385313 h 1282460"/>
              <a:gd name="connsiteX104" fmla="*/ 6745857 w 9195458"/>
              <a:gd name="connsiteY104" fmla="*/ 362309 h 1282460"/>
              <a:gd name="connsiteX105" fmla="*/ 6780362 w 9195458"/>
              <a:gd name="connsiteY105" fmla="*/ 350807 h 1282460"/>
              <a:gd name="connsiteX106" fmla="*/ 6803366 w 9195458"/>
              <a:gd name="connsiteY106" fmla="*/ 339306 h 1282460"/>
              <a:gd name="connsiteX107" fmla="*/ 6849374 w 9195458"/>
              <a:gd name="connsiteY107" fmla="*/ 333555 h 1282460"/>
              <a:gd name="connsiteX108" fmla="*/ 6901132 w 9195458"/>
              <a:gd name="connsiteY108" fmla="*/ 322053 h 1282460"/>
              <a:gd name="connsiteX109" fmla="*/ 6929887 w 9195458"/>
              <a:gd name="connsiteY109" fmla="*/ 316302 h 1282460"/>
              <a:gd name="connsiteX110" fmla="*/ 6964392 w 9195458"/>
              <a:gd name="connsiteY110" fmla="*/ 310551 h 1282460"/>
              <a:gd name="connsiteX111" fmla="*/ 7119668 w 9195458"/>
              <a:gd name="connsiteY111" fmla="*/ 304800 h 1282460"/>
              <a:gd name="connsiteX112" fmla="*/ 7919049 w 9195458"/>
              <a:gd name="connsiteY112" fmla="*/ 299049 h 1282460"/>
              <a:gd name="connsiteX113" fmla="*/ 7976558 w 9195458"/>
              <a:gd name="connsiteY113" fmla="*/ 293298 h 1282460"/>
              <a:gd name="connsiteX114" fmla="*/ 8114581 w 9195458"/>
              <a:gd name="connsiteY114" fmla="*/ 264543 h 1282460"/>
              <a:gd name="connsiteX115" fmla="*/ 8137585 w 9195458"/>
              <a:gd name="connsiteY115" fmla="*/ 258792 h 1282460"/>
              <a:gd name="connsiteX116" fmla="*/ 8160589 w 9195458"/>
              <a:gd name="connsiteY116" fmla="*/ 247290 h 1282460"/>
              <a:gd name="connsiteX117" fmla="*/ 8183592 w 9195458"/>
              <a:gd name="connsiteY117" fmla="*/ 241540 h 1282460"/>
              <a:gd name="connsiteX118" fmla="*/ 8218098 w 9195458"/>
              <a:gd name="connsiteY118" fmla="*/ 230038 h 1282460"/>
              <a:gd name="connsiteX119" fmla="*/ 8235351 w 9195458"/>
              <a:gd name="connsiteY119" fmla="*/ 224287 h 1282460"/>
              <a:gd name="connsiteX120" fmla="*/ 8258355 w 9195458"/>
              <a:gd name="connsiteY120" fmla="*/ 218536 h 1282460"/>
              <a:gd name="connsiteX121" fmla="*/ 8287109 w 9195458"/>
              <a:gd name="connsiteY121" fmla="*/ 201283 h 1282460"/>
              <a:gd name="connsiteX122" fmla="*/ 8321615 w 9195458"/>
              <a:gd name="connsiteY122" fmla="*/ 189781 h 1282460"/>
              <a:gd name="connsiteX123" fmla="*/ 8361872 w 9195458"/>
              <a:gd name="connsiteY123" fmla="*/ 172528 h 1282460"/>
              <a:gd name="connsiteX124" fmla="*/ 8384875 w 9195458"/>
              <a:gd name="connsiteY124" fmla="*/ 161026 h 1282460"/>
              <a:gd name="connsiteX125" fmla="*/ 8402128 w 9195458"/>
              <a:gd name="connsiteY125" fmla="*/ 155275 h 1282460"/>
              <a:gd name="connsiteX126" fmla="*/ 8430883 w 9195458"/>
              <a:gd name="connsiteY126" fmla="*/ 143774 h 1282460"/>
              <a:gd name="connsiteX127" fmla="*/ 8476891 w 9195458"/>
              <a:gd name="connsiteY127" fmla="*/ 120770 h 1282460"/>
              <a:gd name="connsiteX128" fmla="*/ 8505645 w 9195458"/>
              <a:gd name="connsiteY128" fmla="*/ 115019 h 1282460"/>
              <a:gd name="connsiteX129" fmla="*/ 8522898 w 9195458"/>
              <a:gd name="connsiteY129" fmla="*/ 109268 h 1282460"/>
              <a:gd name="connsiteX130" fmla="*/ 8545902 w 9195458"/>
              <a:gd name="connsiteY130" fmla="*/ 103517 h 1282460"/>
              <a:gd name="connsiteX131" fmla="*/ 8563155 w 9195458"/>
              <a:gd name="connsiteY131" fmla="*/ 92015 h 1282460"/>
              <a:gd name="connsiteX132" fmla="*/ 8591909 w 9195458"/>
              <a:gd name="connsiteY132" fmla="*/ 86264 h 1282460"/>
              <a:gd name="connsiteX133" fmla="*/ 8637917 w 9195458"/>
              <a:gd name="connsiteY133" fmla="*/ 74762 h 1282460"/>
              <a:gd name="connsiteX134" fmla="*/ 8666672 w 9195458"/>
              <a:gd name="connsiteY134" fmla="*/ 69011 h 1282460"/>
              <a:gd name="connsiteX135" fmla="*/ 8729932 w 9195458"/>
              <a:gd name="connsiteY135" fmla="*/ 51758 h 1282460"/>
              <a:gd name="connsiteX136" fmla="*/ 8793192 w 9195458"/>
              <a:gd name="connsiteY136" fmla="*/ 46007 h 1282460"/>
              <a:gd name="connsiteX137" fmla="*/ 8862204 w 9195458"/>
              <a:gd name="connsiteY137" fmla="*/ 51758 h 1282460"/>
              <a:gd name="connsiteX138" fmla="*/ 8959970 w 9195458"/>
              <a:gd name="connsiteY138" fmla="*/ 40257 h 1282460"/>
              <a:gd name="connsiteX139" fmla="*/ 9023230 w 9195458"/>
              <a:gd name="connsiteY139" fmla="*/ 23004 h 1282460"/>
              <a:gd name="connsiteX140" fmla="*/ 9138249 w 9195458"/>
              <a:gd name="connsiteY140" fmla="*/ 17253 h 1282460"/>
              <a:gd name="connsiteX141" fmla="*/ 9138249 w 9195458"/>
              <a:gd name="connsiteY141" fmla="*/ 1282460 h 1282460"/>
              <a:gd name="connsiteX0" fmla="*/ 0 w 9195458"/>
              <a:gd name="connsiteY0" fmla="*/ 46007 h 1282460"/>
              <a:gd name="connsiteX1" fmla="*/ 46007 w 9195458"/>
              <a:gd name="connsiteY1" fmla="*/ 40257 h 1282460"/>
              <a:gd name="connsiteX2" fmla="*/ 74762 w 9195458"/>
              <a:gd name="connsiteY2" fmla="*/ 28755 h 1282460"/>
              <a:gd name="connsiteX3" fmla="*/ 143774 w 9195458"/>
              <a:gd name="connsiteY3" fmla="*/ 17253 h 1282460"/>
              <a:gd name="connsiteX4" fmla="*/ 195532 w 9195458"/>
              <a:gd name="connsiteY4" fmla="*/ 5751 h 1282460"/>
              <a:gd name="connsiteX5" fmla="*/ 276045 w 9195458"/>
              <a:gd name="connsiteY5" fmla="*/ 0 h 1282460"/>
              <a:gd name="connsiteX6" fmla="*/ 557841 w 9195458"/>
              <a:gd name="connsiteY6" fmla="*/ 5751 h 1282460"/>
              <a:gd name="connsiteX7" fmla="*/ 655607 w 9195458"/>
              <a:gd name="connsiteY7" fmla="*/ 23004 h 1282460"/>
              <a:gd name="connsiteX8" fmla="*/ 701615 w 9195458"/>
              <a:gd name="connsiteY8" fmla="*/ 28755 h 1282460"/>
              <a:gd name="connsiteX9" fmla="*/ 730370 w 9195458"/>
              <a:gd name="connsiteY9" fmla="*/ 34506 h 1282460"/>
              <a:gd name="connsiteX10" fmla="*/ 793630 w 9195458"/>
              <a:gd name="connsiteY10" fmla="*/ 46007 h 1282460"/>
              <a:gd name="connsiteX11" fmla="*/ 879894 w 9195458"/>
              <a:gd name="connsiteY11" fmla="*/ 63260 h 1282460"/>
              <a:gd name="connsiteX12" fmla="*/ 966158 w 9195458"/>
              <a:gd name="connsiteY12" fmla="*/ 86264 h 1282460"/>
              <a:gd name="connsiteX13" fmla="*/ 1017917 w 9195458"/>
              <a:gd name="connsiteY13" fmla="*/ 92015 h 1282460"/>
              <a:gd name="connsiteX14" fmla="*/ 1035170 w 9195458"/>
              <a:gd name="connsiteY14" fmla="*/ 97766 h 1282460"/>
              <a:gd name="connsiteX15" fmla="*/ 1104181 w 9195458"/>
              <a:gd name="connsiteY15" fmla="*/ 109268 h 1282460"/>
              <a:gd name="connsiteX16" fmla="*/ 1184694 w 9195458"/>
              <a:gd name="connsiteY16" fmla="*/ 126521 h 1282460"/>
              <a:gd name="connsiteX17" fmla="*/ 1288211 w 9195458"/>
              <a:gd name="connsiteY17" fmla="*/ 143774 h 1282460"/>
              <a:gd name="connsiteX18" fmla="*/ 1351472 w 9195458"/>
              <a:gd name="connsiteY18" fmla="*/ 161026 h 1282460"/>
              <a:gd name="connsiteX19" fmla="*/ 1391728 w 9195458"/>
              <a:gd name="connsiteY19" fmla="*/ 166777 h 1282460"/>
              <a:gd name="connsiteX20" fmla="*/ 1483743 w 9195458"/>
              <a:gd name="connsiteY20" fmla="*/ 189781 h 1282460"/>
              <a:gd name="connsiteX21" fmla="*/ 1529751 w 9195458"/>
              <a:gd name="connsiteY21" fmla="*/ 201283 h 1282460"/>
              <a:gd name="connsiteX22" fmla="*/ 1616015 w 9195458"/>
              <a:gd name="connsiteY22" fmla="*/ 212785 h 1282460"/>
              <a:gd name="connsiteX23" fmla="*/ 1685026 w 9195458"/>
              <a:gd name="connsiteY23" fmla="*/ 230038 h 1282460"/>
              <a:gd name="connsiteX24" fmla="*/ 1708030 w 9195458"/>
              <a:gd name="connsiteY24" fmla="*/ 235789 h 1282460"/>
              <a:gd name="connsiteX25" fmla="*/ 1754038 w 9195458"/>
              <a:gd name="connsiteY25" fmla="*/ 241540 h 1282460"/>
              <a:gd name="connsiteX26" fmla="*/ 1777041 w 9195458"/>
              <a:gd name="connsiteY26" fmla="*/ 247290 h 1282460"/>
              <a:gd name="connsiteX27" fmla="*/ 1863306 w 9195458"/>
              <a:gd name="connsiteY27" fmla="*/ 258792 h 1282460"/>
              <a:gd name="connsiteX28" fmla="*/ 1955321 w 9195458"/>
              <a:gd name="connsiteY28" fmla="*/ 270294 h 1282460"/>
              <a:gd name="connsiteX29" fmla="*/ 2007079 w 9195458"/>
              <a:gd name="connsiteY29" fmla="*/ 276045 h 1282460"/>
              <a:gd name="connsiteX30" fmla="*/ 2041585 w 9195458"/>
              <a:gd name="connsiteY30" fmla="*/ 281796 h 1282460"/>
              <a:gd name="connsiteX31" fmla="*/ 2231366 w 9195458"/>
              <a:gd name="connsiteY31" fmla="*/ 293298 h 1282460"/>
              <a:gd name="connsiteX32" fmla="*/ 2461404 w 9195458"/>
              <a:gd name="connsiteY32" fmla="*/ 287547 h 1282460"/>
              <a:gd name="connsiteX33" fmla="*/ 2490158 w 9195458"/>
              <a:gd name="connsiteY33" fmla="*/ 281796 h 1282460"/>
              <a:gd name="connsiteX34" fmla="*/ 2553419 w 9195458"/>
              <a:gd name="connsiteY34" fmla="*/ 276045 h 1282460"/>
              <a:gd name="connsiteX35" fmla="*/ 2582174 w 9195458"/>
              <a:gd name="connsiteY35" fmla="*/ 270294 h 1282460"/>
              <a:gd name="connsiteX36" fmla="*/ 2628181 w 9195458"/>
              <a:gd name="connsiteY36" fmla="*/ 264543 h 1282460"/>
              <a:gd name="connsiteX37" fmla="*/ 2651185 w 9195458"/>
              <a:gd name="connsiteY37" fmla="*/ 253041 h 1282460"/>
              <a:gd name="connsiteX38" fmla="*/ 2674189 w 9195458"/>
              <a:gd name="connsiteY38" fmla="*/ 247290 h 1282460"/>
              <a:gd name="connsiteX39" fmla="*/ 2691441 w 9195458"/>
              <a:gd name="connsiteY39" fmla="*/ 241540 h 1282460"/>
              <a:gd name="connsiteX40" fmla="*/ 2737449 w 9195458"/>
              <a:gd name="connsiteY40" fmla="*/ 230038 h 1282460"/>
              <a:gd name="connsiteX41" fmla="*/ 2760453 w 9195458"/>
              <a:gd name="connsiteY41" fmla="*/ 224287 h 1282460"/>
              <a:gd name="connsiteX42" fmla="*/ 2789207 w 9195458"/>
              <a:gd name="connsiteY42" fmla="*/ 207034 h 1282460"/>
              <a:gd name="connsiteX43" fmla="*/ 2823713 w 9195458"/>
              <a:gd name="connsiteY43" fmla="*/ 195532 h 1282460"/>
              <a:gd name="connsiteX44" fmla="*/ 2840966 w 9195458"/>
              <a:gd name="connsiteY44" fmla="*/ 189781 h 1282460"/>
              <a:gd name="connsiteX45" fmla="*/ 2904226 w 9195458"/>
              <a:gd name="connsiteY45" fmla="*/ 172528 h 1282460"/>
              <a:gd name="connsiteX46" fmla="*/ 2955985 w 9195458"/>
              <a:gd name="connsiteY46" fmla="*/ 149524 h 1282460"/>
              <a:gd name="connsiteX47" fmla="*/ 2973238 w 9195458"/>
              <a:gd name="connsiteY47" fmla="*/ 143774 h 1282460"/>
              <a:gd name="connsiteX48" fmla="*/ 2996241 w 9195458"/>
              <a:gd name="connsiteY48" fmla="*/ 132272 h 1282460"/>
              <a:gd name="connsiteX49" fmla="*/ 3013494 w 9195458"/>
              <a:gd name="connsiteY49" fmla="*/ 126521 h 1282460"/>
              <a:gd name="connsiteX50" fmla="*/ 3036498 w 9195458"/>
              <a:gd name="connsiteY50" fmla="*/ 115019 h 1282460"/>
              <a:gd name="connsiteX51" fmla="*/ 3071004 w 9195458"/>
              <a:gd name="connsiteY51" fmla="*/ 109268 h 1282460"/>
              <a:gd name="connsiteX52" fmla="*/ 3105509 w 9195458"/>
              <a:gd name="connsiteY52" fmla="*/ 97766 h 1282460"/>
              <a:gd name="connsiteX53" fmla="*/ 3140015 w 9195458"/>
              <a:gd name="connsiteY53" fmla="*/ 92015 h 1282460"/>
              <a:gd name="connsiteX54" fmla="*/ 3163019 w 9195458"/>
              <a:gd name="connsiteY54" fmla="*/ 86264 h 1282460"/>
              <a:gd name="connsiteX55" fmla="*/ 3370053 w 9195458"/>
              <a:gd name="connsiteY55" fmla="*/ 80513 h 1282460"/>
              <a:gd name="connsiteX56" fmla="*/ 3554083 w 9195458"/>
              <a:gd name="connsiteY56" fmla="*/ 86264 h 1282460"/>
              <a:gd name="connsiteX57" fmla="*/ 3588589 w 9195458"/>
              <a:gd name="connsiteY57" fmla="*/ 103517 h 1282460"/>
              <a:gd name="connsiteX58" fmla="*/ 3628845 w 9195458"/>
              <a:gd name="connsiteY58" fmla="*/ 115019 h 1282460"/>
              <a:gd name="connsiteX59" fmla="*/ 3651849 w 9195458"/>
              <a:gd name="connsiteY59" fmla="*/ 126521 h 1282460"/>
              <a:gd name="connsiteX60" fmla="*/ 3674853 w 9195458"/>
              <a:gd name="connsiteY60" fmla="*/ 132272 h 1282460"/>
              <a:gd name="connsiteX61" fmla="*/ 3709358 w 9195458"/>
              <a:gd name="connsiteY61" fmla="*/ 143774 h 1282460"/>
              <a:gd name="connsiteX62" fmla="*/ 3726611 w 9195458"/>
              <a:gd name="connsiteY62" fmla="*/ 149524 h 1282460"/>
              <a:gd name="connsiteX63" fmla="*/ 3778370 w 9195458"/>
              <a:gd name="connsiteY63" fmla="*/ 155275 h 1282460"/>
              <a:gd name="connsiteX64" fmla="*/ 3841630 w 9195458"/>
              <a:gd name="connsiteY64" fmla="*/ 166777 h 1282460"/>
              <a:gd name="connsiteX65" fmla="*/ 3904891 w 9195458"/>
              <a:gd name="connsiteY65" fmla="*/ 172528 h 1282460"/>
              <a:gd name="connsiteX66" fmla="*/ 3973902 w 9195458"/>
              <a:gd name="connsiteY66" fmla="*/ 184030 h 1282460"/>
              <a:gd name="connsiteX67" fmla="*/ 4037162 w 9195458"/>
              <a:gd name="connsiteY67" fmla="*/ 189781 h 1282460"/>
              <a:gd name="connsiteX68" fmla="*/ 4100423 w 9195458"/>
              <a:gd name="connsiteY68" fmla="*/ 207034 h 1282460"/>
              <a:gd name="connsiteX69" fmla="*/ 4140679 w 9195458"/>
              <a:gd name="connsiteY69" fmla="*/ 218536 h 1282460"/>
              <a:gd name="connsiteX70" fmla="*/ 4163683 w 9195458"/>
              <a:gd name="connsiteY70" fmla="*/ 230038 h 1282460"/>
              <a:gd name="connsiteX71" fmla="*/ 4198189 w 9195458"/>
              <a:gd name="connsiteY71" fmla="*/ 235789 h 1282460"/>
              <a:gd name="connsiteX72" fmla="*/ 4226943 w 9195458"/>
              <a:gd name="connsiteY72" fmla="*/ 241540 h 1282460"/>
              <a:gd name="connsiteX73" fmla="*/ 4249947 w 9195458"/>
              <a:gd name="connsiteY73" fmla="*/ 247290 h 1282460"/>
              <a:gd name="connsiteX74" fmla="*/ 4428226 w 9195458"/>
              <a:gd name="connsiteY74" fmla="*/ 253041 h 1282460"/>
              <a:gd name="connsiteX75" fmla="*/ 4497238 w 9195458"/>
              <a:gd name="connsiteY75" fmla="*/ 258792 h 1282460"/>
              <a:gd name="connsiteX76" fmla="*/ 4520241 w 9195458"/>
              <a:gd name="connsiteY76" fmla="*/ 270294 h 1282460"/>
              <a:gd name="connsiteX77" fmla="*/ 4572000 w 9195458"/>
              <a:gd name="connsiteY77" fmla="*/ 293298 h 1282460"/>
              <a:gd name="connsiteX78" fmla="*/ 4623758 w 9195458"/>
              <a:gd name="connsiteY78" fmla="*/ 316302 h 1282460"/>
              <a:gd name="connsiteX79" fmla="*/ 4675517 w 9195458"/>
              <a:gd name="connsiteY79" fmla="*/ 339306 h 1282460"/>
              <a:gd name="connsiteX80" fmla="*/ 4698521 w 9195458"/>
              <a:gd name="connsiteY80" fmla="*/ 350807 h 1282460"/>
              <a:gd name="connsiteX81" fmla="*/ 4750279 w 9195458"/>
              <a:gd name="connsiteY81" fmla="*/ 368060 h 1282460"/>
              <a:gd name="connsiteX82" fmla="*/ 4767532 w 9195458"/>
              <a:gd name="connsiteY82" fmla="*/ 373811 h 1282460"/>
              <a:gd name="connsiteX83" fmla="*/ 4796287 w 9195458"/>
              <a:gd name="connsiteY83" fmla="*/ 391064 h 1282460"/>
              <a:gd name="connsiteX84" fmla="*/ 4836543 w 9195458"/>
              <a:gd name="connsiteY84" fmla="*/ 402566 h 1282460"/>
              <a:gd name="connsiteX85" fmla="*/ 4871049 w 9195458"/>
              <a:gd name="connsiteY85" fmla="*/ 414068 h 1282460"/>
              <a:gd name="connsiteX86" fmla="*/ 4911306 w 9195458"/>
              <a:gd name="connsiteY86" fmla="*/ 419819 h 1282460"/>
              <a:gd name="connsiteX87" fmla="*/ 5066581 w 9195458"/>
              <a:gd name="connsiteY87" fmla="*/ 431321 h 1282460"/>
              <a:gd name="connsiteX88" fmla="*/ 5256362 w 9195458"/>
              <a:gd name="connsiteY88" fmla="*/ 442823 h 1282460"/>
              <a:gd name="connsiteX89" fmla="*/ 5377132 w 9195458"/>
              <a:gd name="connsiteY89" fmla="*/ 454324 h 1282460"/>
              <a:gd name="connsiteX90" fmla="*/ 5515155 w 9195458"/>
              <a:gd name="connsiteY90" fmla="*/ 465826 h 1282460"/>
              <a:gd name="connsiteX91" fmla="*/ 5572664 w 9195458"/>
              <a:gd name="connsiteY91" fmla="*/ 471577 h 1282460"/>
              <a:gd name="connsiteX92" fmla="*/ 5756694 w 9195458"/>
              <a:gd name="connsiteY92" fmla="*/ 483079 h 1282460"/>
              <a:gd name="connsiteX93" fmla="*/ 5998234 w 9195458"/>
              <a:gd name="connsiteY93" fmla="*/ 494581 h 1282460"/>
              <a:gd name="connsiteX94" fmla="*/ 6303034 w 9195458"/>
              <a:gd name="connsiteY94" fmla="*/ 488830 h 1282460"/>
              <a:gd name="connsiteX95" fmla="*/ 6343291 w 9195458"/>
              <a:gd name="connsiteY95" fmla="*/ 477328 h 1282460"/>
              <a:gd name="connsiteX96" fmla="*/ 6395049 w 9195458"/>
              <a:gd name="connsiteY96" fmla="*/ 465826 h 1282460"/>
              <a:gd name="connsiteX97" fmla="*/ 6423804 w 9195458"/>
              <a:gd name="connsiteY97" fmla="*/ 460075 h 1282460"/>
              <a:gd name="connsiteX98" fmla="*/ 6452558 w 9195458"/>
              <a:gd name="connsiteY98" fmla="*/ 448574 h 1282460"/>
              <a:gd name="connsiteX99" fmla="*/ 6515819 w 9195458"/>
              <a:gd name="connsiteY99" fmla="*/ 437072 h 1282460"/>
              <a:gd name="connsiteX100" fmla="*/ 6561826 w 9195458"/>
              <a:gd name="connsiteY100" fmla="*/ 425570 h 1282460"/>
              <a:gd name="connsiteX101" fmla="*/ 6625087 w 9195458"/>
              <a:gd name="connsiteY101" fmla="*/ 408317 h 1282460"/>
              <a:gd name="connsiteX102" fmla="*/ 6642340 w 9195458"/>
              <a:gd name="connsiteY102" fmla="*/ 396815 h 1282460"/>
              <a:gd name="connsiteX103" fmla="*/ 6682596 w 9195458"/>
              <a:gd name="connsiteY103" fmla="*/ 385313 h 1282460"/>
              <a:gd name="connsiteX104" fmla="*/ 6745857 w 9195458"/>
              <a:gd name="connsiteY104" fmla="*/ 362309 h 1282460"/>
              <a:gd name="connsiteX105" fmla="*/ 6780362 w 9195458"/>
              <a:gd name="connsiteY105" fmla="*/ 350807 h 1282460"/>
              <a:gd name="connsiteX106" fmla="*/ 6803366 w 9195458"/>
              <a:gd name="connsiteY106" fmla="*/ 339306 h 1282460"/>
              <a:gd name="connsiteX107" fmla="*/ 6849374 w 9195458"/>
              <a:gd name="connsiteY107" fmla="*/ 333555 h 1282460"/>
              <a:gd name="connsiteX108" fmla="*/ 6901132 w 9195458"/>
              <a:gd name="connsiteY108" fmla="*/ 322053 h 1282460"/>
              <a:gd name="connsiteX109" fmla="*/ 6929887 w 9195458"/>
              <a:gd name="connsiteY109" fmla="*/ 316302 h 1282460"/>
              <a:gd name="connsiteX110" fmla="*/ 6964392 w 9195458"/>
              <a:gd name="connsiteY110" fmla="*/ 310551 h 1282460"/>
              <a:gd name="connsiteX111" fmla="*/ 7119668 w 9195458"/>
              <a:gd name="connsiteY111" fmla="*/ 304800 h 1282460"/>
              <a:gd name="connsiteX112" fmla="*/ 7919049 w 9195458"/>
              <a:gd name="connsiteY112" fmla="*/ 299049 h 1282460"/>
              <a:gd name="connsiteX113" fmla="*/ 7976558 w 9195458"/>
              <a:gd name="connsiteY113" fmla="*/ 293298 h 1282460"/>
              <a:gd name="connsiteX114" fmla="*/ 8114581 w 9195458"/>
              <a:gd name="connsiteY114" fmla="*/ 264543 h 1282460"/>
              <a:gd name="connsiteX115" fmla="*/ 8137585 w 9195458"/>
              <a:gd name="connsiteY115" fmla="*/ 258792 h 1282460"/>
              <a:gd name="connsiteX116" fmla="*/ 8160589 w 9195458"/>
              <a:gd name="connsiteY116" fmla="*/ 247290 h 1282460"/>
              <a:gd name="connsiteX117" fmla="*/ 8183592 w 9195458"/>
              <a:gd name="connsiteY117" fmla="*/ 241540 h 1282460"/>
              <a:gd name="connsiteX118" fmla="*/ 8218098 w 9195458"/>
              <a:gd name="connsiteY118" fmla="*/ 230038 h 1282460"/>
              <a:gd name="connsiteX119" fmla="*/ 8235351 w 9195458"/>
              <a:gd name="connsiteY119" fmla="*/ 224287 h 1282460"/>
              <a:gd name="connsiteX120" fmla="*/ 8258355 w 9195458"/>
              <a:gd name="connsiteY120" fmla="*/ 218536 h 1282460"/>
              <a:gd name="connsiteX121" fmla="*/ 8287109 w 9195458"/>
              <a:gd name="connsiteY121" fmla="*/ 201283 h 1282460"/>
              <a:gd name="connsiteX122" fmla="*/ 8321615 w 9195458"/>
              <a:gd name="connsiteY122" fmla="*/ 189781 h 1282460"/>
              <a:gd name="connsiteX123" fmla="*/ 8361872 w 9195458"/>
              <a:gd name="connsiteY123" fmla="*/ 172528 h 1282460"/>
              <a:gd name="connsiteX124" fmla="*/ 8384875 w 9195458"/>
              <a:gd name="connsiteY124" fmla="*/ 161026 h 1282460"/>
              <a:gd name="connsiteX125" fmla="*/ 8402128 w 9195458"/>
              <a:gd name="connsiteY125" fmla="*/ 155275 h 1282460"/>
              <a:gd name="connsiteX126" fmla="*/ 8430883 w 9195458"/>
              <a:gd name="connsiteY126" fmla="*/ 143774 h 1282460"/>
              <a:gd name="connsiteX127" fmla="*/ 8476891 w 9195458"/>
              <a:gd name="connsiteY127" fmla="*/ 120770 h 1282460"/>
              <a:gd name="connsiteX128" fmla="*/ 8505645 w 9195458"/>
              <a:gd name="connsiteY128" fmla="*/ 115019 h 1282460"/>
              <a:gd name="connsiteX129" fmla="*/ 8522898 w 9195458"/>
              <a:gd name="connsiteY129" fmla="*/ 109268 h 1282460"/>
              <a:gd name="connsiteX130" fmla="*/ 8545902 w 9195458"/>
              <a:gd name="connsiteY130" fmla="*/ 103517 h 1282460"/>
              <a:gd name="connsiteX131" fmla="*/ 8563155 w 9195458"/>
              <a:gd name="connsiteY131" fmla="*/ 92015 h 1282460"/>
              <a:gd name="connsiteX132" fmla="*/ 8591909 w 9195458"/>
              <a:gd name="connsiteY132" fmla="*/ 86264 h 1282460"/>
              <a:gd name="connsiteX133" fmla="*/ 8637917 w 9195458"/>
              <a:gd name="connsiteY133" fmla="*/ 74762 h 1282460"/>
              <a:gd name="connsiteX134" fmla="*/ 8666672 w 9195458"/>
              <a:gd name="connsiteY134" fmla="*/ 69011 h 1282460"/>
              <a:gd name="connsiteX135" fmla="*/ 8729932 w 9195458"/>
              <a:gd name="connsiteY135" fmla="*/ 51758 h 1282460"/>
              <a:gd name="connsiteX136" fmla="*/ 8793192 w 9195458"/>
              <a:gd name="connsiteY136" fmla="*/ 46007 h 1282460"/>
              <a:gd name="connsiteX137" fmla="*/ 8862204 w 9195458"/>
              <a:gd name="connsiteY137" fmla="*/ 51758 h 1282460"/>
              <a:gd name="connsiteX138" fmla="*/ 8959970 w 9195458"/>
              <a:gd name="connsiteY138" fmla="*/ 40257 h 1282460"/>
              <a:gd name="connsiteX139" fmla="*/ 9023230 w 9195458"/>
              <a:gd name="connsiteY139" fmla="*/ 23004 h 1282460"/>
              <a:gd name="connsiteX140" fmla="*/ 9138249 w 9195458"/>
              <a:gd name="connsiteY140" fmla="*/ 17253 h 1282460"/>
              <a:gd name="connsiteX141" fmla="*/ 9138249 w 9195458"/>
              <a:gd name="connsiteY141" fmla="*/ 1282460 h 1282460"/>
              <a:gd name="connsiteX0" fmla="*/ 0 w 9143700"/>
              <a:gd name="connsiteY0" fmla="*/ 46007 h 1282460"/>
              <a:gd name="connsiteX1" fmla="*/ 46007 w 9143700"/>
              <a:gd name="connsiteY1" fmla="*/ 40257 h 1282460"/>
              <a:gd name="connsiteX2" fmla="*/ 74762 w 9143700"/>
              <a:gd name="connsiteY2" fmla="*/ 28755 h 1282460"/>
              <a:gd name="connsiteX3" fmla="*/ 143774 w 9143700"/>
              <a:gd name="connsiteY3" fmla="*/ 17253 h 1282460"/>
              <a:gd name="connsiteX4" fmla="*/ 195532 w 9143700"/>
              <a:gd name="connsiteY4" fmla="*/ 5751 h 1282460"/>
              <a:gd name="connsiteX5" fmla="*/ 276045 w 9143700"/>
              <a:gd name="connsiteY5" fmla="*/ 0 h 1282460"/>
              <a:gd name="connsiteX6" fmla="*/ 557841 w 9143700"/>
              <a:gd name="connsiteY6" fmla="*/ 5751 h 1282460"/>
              <a:gd name="connsiteX7" fmla="*/ 655607 w 9143700"/>
              <a:gd name="connsiteY7" fmla="*/ 23004 h 1282460"/>
              <a:gd name="connsiteX8" fmla="*/ 701615 w 9143700"/>
              <a:gd name="connsiteY8" fmla="*/ 28755 h 1282460"/>
              <a:gd name="connsiteX9" fmla="*/ 730370 w 9143700"/>
              <a:gd name="connsiteY9" fmla="*/ 34506 h 1282460"/>
              <a:gd name="connsiteX10" fmla="*/ 793630 w 9143700"/>
              <a:gd name="connsiteY10" fmla="*/ 46007 h 1282460"/>
              <a:gd name="connsiteX11" fmla="*/ 879894 w 9143700"/>
              <a:gd name="connsiteY11" fmla="*/ 63260 h 1282460"/>
              <a:gd name="connsiteX12" fmla="*/ 966158 w 9143700"/>
              <a:gd name="connsiteY12" fmla="*/ 86264 h 1282460"/>
              <a:gd name="connsiteX13" fmla="*/ 1017917 w 9143700"/>
              <a:gd name="connsiteY13" fmla="*/ 92015 h 1282460"/>
              <a:gd name="connsiteX14" fmla="*/ 1035170 w 9143700"/>
              <a:gd name="connsiteY14" fmla="*/ 97766 h 1282460"/>
              <a:gd name="connsiteX15" fmla="*/ 1104181 w 9143700"/>
              <a:gd name="connsiteY15" fmla="*/ 109268 h 1282460"/>
              <a:gd name="connsiteX16" fmla="*/ 1184694 w 9143700"/>
              <a:gd name="connsiteY16" fmla="*/ 126521 h 1282460"/>
              <a:gd name="connsiteX17" fmla="*/ 1288211 w 9143700"/>
              <a:gd name="connsiteY17" fmla="*/ 143774 h 1282460"/>
              <a:gd name="connsiteX18" fmla="*/ 1351472 w 9143700"/>
              <a:gd name="connsiteY18" fmla="*/ 161026 h 1282460"/>
              <a:gd name="connsiteX19" fmla="*/ 1391728 w 9143700"/>
              <a:gd name="connsiteY19" fmla="*/ 166777 h 1282460"/>
              <a:gd name="connsiteX20" fmla="*/ 1483743 w 9143700"/>
              <a:gd name="connsiteY20" fmla="*/ 189781 h 1282460"/>
              <a:gd name="connsiteX21" fmla="*/ 1529751 w 9143700"/>
              <a:gd name="connsiteY21" fmla="*/ 201283 h 1282460"/>
              <a:gd name="connsiteX22" fmla="*/ 1616015 w 9143700"/>
              <a:gd name="connsiteY22" fmla="*/ 212785 h 1282460"/>
              <a:gd name="connsiteX23" fmla="*/ 1685026 w 9143700"/>
              <a:gd name="connsiteY23" fmla="*/ 230038 h 1282460"/>
              <a:gd name="connsiteX24" fmla="*/ 1708030 w 9143700"/>
              <a:gd name="connsiteY24" fmla="*/ 235789 h 1282460"/>
              <a:gd name="connsiteX25" fmla="*/ 1754038 w 9143700"/>
              <a:gd name="connsiteY25" fmla="*/ 241540 h 1282460"/>
              <a:gd name="connsiteX26" fmla="*/ 1777041 w 9143700"/>
              <a:gd name="connsiteY26" fmla="*/ 247290 h 1282460"/>
              <a:gd name="connsiteX27" fmla="*/ 1863306 w 9143700"/>
              <a:gd name="connsiteY27" fmla="*/ 258792 h 1282460"/>
              <a:gd name="connsiteX28" fmla="*/ 1955321 w 9143700"/>
              <a:gd name="connsiteY28" fmla="*/ 270294 h 1282460"/>
              <a:gd name="connsiteX29" fmla="*/ 2007079 w 9143700"/>
              <a:gd name="connsiteY29" fmla="*/ 276045 h 1282460"/>
              <a:gd name="connsiteX30" fmla="*/ 2041585 w 9143700"/>
              <a:gd name="connsiteY30" fmla="*/ 281796 h 1282460"/>
              <a:gd name="connsiteX31" fmla="*/ 2231366 w 9143700"/>
              <a:gd name="connsiteY31" fmla="*/ 293298 h 1282460"/>
              <a:gd name="connsiteX32" fmla="*/ 2461404 w 9143700"/>
              <a:gd name="connsiteY32" fmla="*/ 287547 h 1282460"/>
              <a:gd name="connsiteX33" fmla="*/ 2490158 w 9143700"/>
              <a:gd name="connsiteY33" fmla="*/ 281796 h 1282460"/>
              <a:gd name="connsiteX34" fmla="*/ 2553419 w 9143700"/>
              <a:gd name="connsiteY34" fmla="*/ 276045 h 1282460"/>
              <a:gd name="connsiteX35" fmla="*/ 2582174 w 9143700"/>
              <a:gd name="connsiteY35" fmla="*/ 270294 h 1282460"/>
              <a:gd name="connsiteX36" fmla="*/ 2628181 w 9143700"/>
              <a:gd name="connsiteY36" fmla="*/ 264543 h 1282460"/>
              <a:gd name="connsiteX37" fmla="*/ 2651185 w 9143700"/>
              <a:gd name="connsiteY37" fmla="*/ 253041 h 1282460"/>
              <a:gd name="connsiteX38" fmla="*/ 2674189 w 9143700"/>
              <a:gd name="connsiteY38" fmla="*/ 247290 h 1282460"/>
              <a:gd name="connsiteX39" fmla="*/ 2691441 w 9143700"/>
              <a:gd name="connsiteY39" fmla="*/ 241540 h 1282460"/>
              <a:gd name="connsiteX40" fmla="*/ 2737449 w 9143700"/>
              <a:gd name="connsiteY40" fmla="*/ 230038 h 1282460"/>
              <a:gd name="connsiteX41" fmla="*/ 2760453 w 9143700"/>
              <a:gd name="connsiteY41" fmla="*/ 224287 h 1282460"/>
              <a:gd name="connsiteX42" fmla="*/ 2789207 w 9143700"/>
              <a:gd name="connsiteY42" fmla="*/ 207034 h 1282460"/>
              <a:gd name="connsiteX43" fmla="*/ 2823713 w 9143700"/>
              <a:gd name="connsiteY43" fmla="*/ 195532 h 1282460"/>
              <a:gd name="connsiteX44" fmla="*/ 2840966 w 9143700"/>
              <a:gd name="connsiteY44" fmla="*/ 189781 h 1282460"/>
              <a:gd name="connsiteX45" fmla="*/ 2904226 w 9143700"/>
              <a:gd name="connsiteY45" fmla="*/ 172528 h 1282460"/>
              <a:gd name="connsiteX46" fmla="*/ 2955985 w 9143700"/>
              <a:gd name="connsiteY46" fmla="*/ 149524 h 1282460"/>
              <a:gd name="connsiteX47" fmla="*/ 2973238 w 9143700"/>
              <a:gd name="connsiteY47" fmla="*/ 143774 h 1282460"/>
              <a:gd name="connsiteX48" fmla="*/ 2996241 w 9143700"/>
              <a:gd name="connsiteY48" fmla="*/ 132272 h 1282460"/>
              <a:gd name="connsiteX49" fmla="*/ 3013494 w 9143700"/>
              <a:gd name="connsiteY49" fmla="*/ 126521 h 1282460"/>
              <a:gd name="connsiteX50" fmla="*/ 3036498 w 9143700"/>
              <a:gd name="connsiteY50" fmla="*/ 115019 h 1282460"/>
              <a:gd name="connsiteX51" fmla="*/ 3071004 w 9143700"/>
              <a:gd name="connsiteY51" fmla="*/ 109268 h 1282460"/>
              <a:gd name="connsiteX52" fmla="*/ 3105509 w 9143700"/>
              <a:gd name="connsiteY52" fmla="*/ 97766 h 1282460"/>
              <a:gd name="connsiteX53" fmla="*/ 3140015 w 9143700"/>
              <a:gd name="connsiteY53" fmla="*/ 92015 h 1282460"/>
              <a:gd name="connsiteX54" fmla="*/ 3163019 w 9143700"/>
              <a:gd name="connsiteY54" fmla="*/ 86264 h 1282460"/>
              <a:gd name="connsiteX55" fmla="*/ 3370053 w 9143700"/>
              <a:gd name="connsiteY55" fmla="*/ 80513 h 1282460"/>
              <a:gd name="connsiteX56" fmla="*/ 3554083 w 9143700"/>
              <a:gd name="connsiteY56" fmla="*/ 86264 h 1282460"/>
              <a:gd name="connsiteX57" fmla="*/ 3588589 w 9143700"/>
              <a:gd name="connsiteY57" fmla="*/ 103517 h 1282460"/>
              <a:gd name="connsiteX58" fmla="*/ 3628845 w 9143700"/>
              <a:gd name="connsiteY58" fmla="*/ 115019 h 1282460"/>
              <a:gd name="connsiteX59" fmla="*/ 3651849 w 9143700"/>
              <a:gd name="connsiteY59" fmla="*/ 126521 h 1282460"/>
              <a:gd name="connsiteX60" fmla="*/ 3674853 w 9143700"/>
              <a:gd name="connsiteY60" fmla="*/ 132272 h 1282460"/>
              <a:gd name="connsiteX61" fmla="*/ 3709358 w 9143700"/>
              <a:gd name="connsiteY61" fmla="*/ 143774 h 1282460"/>
              <a:gd name="connsiteX62" fmla="*/ 3726611 w 9143700"/>
              <a:gd name="connsiteY62" fmla="*/ 149524 h 1282460"/>
              <a:gd name="connsiteX63" fmla="*/ 3778370 w 9143700"/>
              <a:gd name="connsiteY63" fmla="*/ 155275 h 1282460"/>
              <a:gd name="connsiteX64" fmla="*/ 3841630 w 9143700"/>
              <a:gd name="connsiteY64" fmla="*/ 166777 h 1282460"/>
              <a:gd name="connsiteX65" fmla="*/ 3904891 w 9143700"/>
              <a:gd name="connsiteY65" fmla="*/ 172528 h 1282460"/>
              <a:gd name="connsiteX66" fmla="*/ 3973902 w 9143700"/>
              <a:gd name="connsiteY66" fmla="*/ 184030 h 1282460"/>
              <a:gd name="connsiteX67" fmla="*/ 4037162 w 9143700"/>
              <a:gd name="connsiteY67" fmla="*/ 189781 h 1282460"/>
              <a:gd name="connsiteX68" fmla="*/ 4100423 w 9143700"/>
              <a:gd name="connsiteY68" fmla="*/ 207034 h 1282460"/>
              <a:gd name="connsiteX69" fmla="*/ 4140679 w 9143700"/>
              <a:gd name="connsiteY69" fmla="*/ 218536 h 1282460"/>
              <a:gd name="connsiteX70" fmla="*/ 4163683 w 9143700"/>
              <a:gd name="connsiteY70" fmla="*/ 230038 h 1282460"/>
              <a:gd name="connsiteX71" fmla="*/ 4198189 w 9143700"/>
              <a:gd name="connsiteY71" fmla="*/ 235789 h 1282460"/>
              <a:gd name="connsiteX72" fmla="*/ 4226943 w 9143700"/>
              <a:gd name="connsiteY72" fmla="*/ 241540 h 1282460"/>
              <a:gd name="connsiteX73" fmla="*/ 4249947 w 9143700"/>
              <a:gd name="connsiteY73" fmla="*/ 247290 h 1282460"/>
              <a:gd name="connsiteX74" fmla="*/ 4428226 w 9143700"/>
              <a:gd name="connsiteY74" fmla="*/ 253041 h 1282460"/>
              <a:gd name="connsiteX75" fmla="*/ 4497238 w 9143700"/>
              <a:gd name="connsiteY75" fmla="*/ 258792 h 1282460"/>
              <a:gd name="connsiteX76" fmla="*/ 4520241 w 9143700"/>
              <a:gd name="connsiteY76" fmla="*/ 270294 h 1282460"/>
              <a:gd name="connsiteX77" fmla="*/ 4572000 w 9143700"/>
              <a:gd name="connsiteY77" fmla="*/ 293298 h 1282460"/>
              <a:gd name="connsiteX78" fmla="*/ 4623758 w 9143700"/>
              <a:gd name="connsiteY78" fmla="*/ 316302 h 1282460"/>
              <a:gd name="connsiteX79" fmla="*/ 4675517 w 9143700"/>
              <a:gd name="connsiteY79" fmla="*/ 339306 h 1282460"/>
              <a:gd name="connsiteX80" fmla="*/ 4698521 w 9143700"/>
              <a:gd name="connsiteY80" fmla="*/ 350807 h 1282460"/>
              <a:gd name="connsiteX81" fmla="*/ 4750279 w 9143700"/>
              <a:gd name="connsiteY81" fmla="*/ 368060 h 1282460"/>
              <a:gd name="connsiteX82" fmla="*/ 4767532 w 9143700"/>
              <a:gd name="connsiteY82" fmla="*/ 373811 h 1282460"/>
              <a:gd name="connsiteX83" fmla="*/ 4796287 w 9143700"/>
              <a:gd name="connsiteY83" fmla="*/ 391064 h 1282460"/>
              <a:gd name="connsiteX84" fmla="*/ 4836543 w 9143700"/>
              <a:gd name="connsiteY84" fmla="*/ 402566 h 1282460"/>
              <a:gd name="connsiteX85" fmla="*/ 4871049 w 9143700"/>
              <a:gd name="connsiteY85" fmla="*/ 414068 h 1282460"/>
              <a:gd name="connsiteX86" fmla="*/ 4911306 w 9143700"/>
              <a:gd name="connsiteY86" fmla="*/ 419819 h 1282460"/>
              <a:gd name="connsiteX87" fmla="*/ 5066581 w 9143700"/>
              <a:gd name="connsiteY87" fmla="*/ 431321 h 1282460"/>
              <a:gd name="connsiteX88" fmla="*/ 5256362 w 9143700"/>
              <a:gd name="connsiteY88" fmla="*/ 442823 h 1282460"/>
              <a:gd name="connsiteX89" fmla="*/ 5377132 w 9143700"/>
              <a:gd name="connsiteY89" fmla="*/ 454324 h 1282460"/>
              <a:gd name="connsiteX90" fmla="*/ 5515155 w 9143700"/>
              <a:gd name="connsiteY90" fmla="*/ 465826 h 1282460"/>
              <a:gd name="connsiteX91" fmla="*/ 5572664 w 9143700"/>
              <a:gd name="connsiteY91" fmla="*/ 471577 h 1282460"/>
              <a:gd name="connsiteX92" fmla="*/ 5756694 w 9143700"/>
              <a:gd name="connsiteY92" fmla="*/ 483079 h 1282460"/>
              <a:gd name="connsiteX93" fmla="*/ 5998234 w 9143700"/>
              <a:gd name="connsiteY93" fmla="*/ 494581 h 1282460"/>
              <a:gd name="connsiteX94" fmla="*/ 6303034 w 9143700"/>
              <a:gd name="connsiteY94" fmla="*/ 488830 h 1282460"/>
              <a:gd name="connsiteX95" fmla="*/ 6343291 w 9143700"/>
              <a:gd name="connsiteY95" fmla="*/ 477328 h 1282460"/>
              <a:gd name="connsiteX96" fmla="*/ 6395049 w 9143700"/>
              <a:gd name="connsiteY96" fmla="*/ 465826 h 1282460"/>
              <a:gd name="connsiteX97" fmla="*/ 6423804 w 9143700"/>
              <a:gd name="connsiteY97" fmla="*/ 460075 h 1282460"/>
              <a:gd name="connsiteX98" fmla="*/ 6452558 w 9143700"/>
              <a:gd name="connsiteY98" fmla="*/ 448574 h 1282460"/>
              <a:gd name="connsiteX99" fmla="*/ 6515819 w 9143700"/>
              <a:gd name="connsiteY99" fmla="*/ 437072 h 1282460"/>
              <a:gd name="connsiteX100" fmla="*/ 6561826 w 9143700"/>
              <a:gd name="connsiteY100" fmla="*/ 425570 h 1282460"/>
              <a:gd name="connsiteX101" fmla="*/ 6625087 w 9143700"/>
              <a:gd name="connsiteY101" fmla="*/ 408317 h 1282460"/>
              <a:gd name="connsiteX102" fmla="*/ 6642340 w 9143700"/>
              <a:gd name="connsiteY102" fmla="*/ 396815 h 1282460"/>
              <a:gd name="connsiteX103" fmla="*/ 6682596 w 9143700"/>
              <a:gd name="connsiteY103" fmla="*/ 385313 h 1282460"/>
              <a:gd name="connsiteX104" fmla="*/ 6745857 w 9143700"/>
              <a:gd name="connsiteY104" fmla="*/ 362309 h 1282460"/>
              <a:gd name="connsiteX105" fmla="*/ 6780362 w 9143700"/>
              <a:gd name="connsiteY105" fmla="*/ 350807 h 1282460"/>
              <a:gd name="connsiteX106" fmla="*/ 6803366 w 9143700"/>
              <a:gd name="connsiteY106" fmla="*/ 339306 h 1282460"/>
              <a:gd name="connsiteX107" fmla="*/ 6849374 w 9143700"/>
              <a:gd name="connsiteY107" fmla="*/ 333555 h 1282460"/>
              <a:gd name="connsiteX108" fmla="*/ 6901132 w 9143700"/>
              <a:gd name="connsiteY108" fmla="*/ 322053 h 1282460"/>
              <a:gd name="connsiteX109" fmla="*/ 6929887 w 9143700"/>
              <a:gd name="connsiteY109" fmla="*/ 316302 h 1282460"/>
              <a:gd name="connsiteX110" fmla="*/ 6964392 w 9143700"/>
              <a:gd name="connsiteY110" fmla="*/ 310551 h 1282460"/>
              <a:gd name="connsiteX111" fmla="*/ 7119668 w 9143700"/>
              <a:gd name="connsiteY111" fmla="*/ 304800 h 1282460"/>
              <a:gd name="connsiteX112" fmla="*/ 7919049 w 9143700"/>
              <a:gd name="connsiteY112" fmla="*/ 299049 h 1282460"/>
              <a:gd name="connsiteX113" fmla="*/ 7976558 w 9143700"/>
              <a:gd name="connsiteY113" fmla="*/ 293298 h 1282460"/>
              <a:gd name="connsiteX114" fmla="*/ 8114581 w 9143700"/>
              <a:gd name="connsiteY114" fmla="*/ 264543 h 1282460"/>
              <a:gd name="connsiteX115" fmla="*/ 8137585 w 9143700"/>
              <a:gd name="connsiteY115" fmla="*/ 258792 h 1282460"/>
              <a:gd name="connsiteX116" fmla="*/ 8160589 w 9143700"/>
              <a:gd name="connsiteY116" fmla="*/ 247290 h 1282460"/>
              <a:gd name="connsiteX117" fmla="*/ 8183592 w 9143700"/>
              <a:gd name="connsiteY117" fmla="*/ 241540 h 1282460"/>
              <a:gd name="connsiteX118" fmla="*/ 8218098 w 9143700"/>
              <a:gd name="connsiteY118" fmla="*/ 230038 h 1282460"/>
              <a:gd name="connsiteX119" fmla="*/ 8235351 w 9143700"/>
              <a:gd name="connsiteY119" fmla="*/ 224287 h 1282460"/>
              <a:gd name="connsiteX120" fmla="*/ 8258355 w 9143700"/>
              <a:gd name="connsiteY120" fmla="*/ 218536 h 1282460"/>
              <a:gd name="connsiteX121" fmla="*/ 8287109 w 9143700"/>
              <a:gd name="connsiteY121" fmla="*/ 201283 h 1282460"/>
              <a:gd name="connsiteX122" fmla="*/ 8321615 w 9143700"/>
              <a:gd name="connsiteY122" fmla="*/ 189781 h 1282460"/>
              <a:gd name="connsiteX123" fmla="*/ 8361872 w 9143700"/>
              <a:gd name="connsiteY123" fmla="*/ 172528 h 1282460"/>
              <a:gd name="connsiteX124" fmla="*/ 8384875 w 9143700"/>
              <a:gd name="connsiteY124" fmla="*/ 161026 h 1282460"/>
              <a:gd name="connsiteX125" fmla="*/ 8402128 w 9143700"/>
              <a:gd name="connsiteY125" fmla="*/ 155275 h 1282460"/>
              <a:gd name="connsiteX126" fmla="*/ 8430883 w 9143700"/>
              <a:gd name="connsiteY126" fmla="*/ 143774 h 1282460"/>
              <a:gd name="connsiteX127" fmla="*/ 8476891 w 9143700"/>
              <a:gd name="connsiteY127" fmla="*/ 120770 h 1282460"/>
              <a:gd name="connsiteX128" fmla="*/ 8505645 w 9143700"/>
              <a:gd name="connsiteY128" fmla="*/ 115019 h 1282460"/>
              <a:gd name="connsiteX129" fmla="*/ 8522898 w 9143700"/>
              <a:gd name="connsiteY129" fmla="*/ 109268 h 1282460"/>
              <a:gd name="connsiteX130" fmla="*/ 8545902 w 9143700"/>
              <a:gd name="connsiteY130" fmla="*/ 103517 h 1282460"/>
              <a:gd name="connsiteX131" fmla="*/ 8563155 w 9143700"/>
              <a:gd name="connsiteY131" fmla="*/ 92015 h 1282460"/>
              <a:gd name="connsiteX132" fmla="*/ 8591909 w 9143700"/>
              <a:gd name="connsiteY132" fmla="*/ 86264 h 1282460"/>
              <a:gd name="connsiteX133" fmla="*/ 8637917 w 9143700"/>
              <a:gd name="connsiteY133" fmla="*/ 74762 h 1282460"/>
              <a:gd name="connsiteX134" fmla="*/ 8666672 w 9143700"/>
              <a:gd name="connsiteY134" fmla="*/ 69011 h 1282460"/>
              <a:gd name="connsiteX135" fmla="*/ 8729932 w 9143700"/>
              <a:gd name="connsiteY135" fmla="*/ 51758 h 1282460"/>
              <a:gd name="connsiteX136" fmla="*/ 8793192 w 9143700"/>
              <a:gd name="connsiteY136" fmla="*/ 46007 h 1282460"/>
              <a:gd name="connsiteX137" fmla="*/ 8862204 w 9143700"/>
              <a:gd name="connsiteY137" fmla="*/ 51758 h 1282460"/>
              <a:gd name="connsiteX138" fmla="*/ 8959970 w 9143700"/>
              <a:gd name="connsiteY138" fmla="*/ 40257 h 1282460"/>
              <a:gd name="connsiteX139" fmla="*/ 9023230 w 9143700"/>
              <a:gd name="connsiteY139" fmla="*/ 23004 h 1282460"/>
              <a:gd name="connsiteX140" fmla="*/ 9138249 w 9143700"/>
              <a:gd name="connsiteY140" fmla="*/ 17253 h 1282460"/>
              <a:gd name="connsiteX141" fmla="*/ 9138249 w 9143700"/>
              <a:gd name="connsiteY141" fmla="*/ 1282460 h 1282460"/>
              <a:gd name="connsiteX0" fmla="*/ 0 w 9149451"/>
              <a:gd name="connsiteY0" fmla="*/ 1236453 h 1282460"/>
              <a:gd name="connsiteX1" fmla="*/ 51758 w 9149451"/>
              <a:gd name="connsiteY1" fmla="*/ 40257 h 1282460"/>
              <a:gd name="connsiteX2" fmla="*/ 80513 w 9149451"/>
              <a:gd name="connsiteY2" fmla="*/ 28755 h 1282460"/>
              <a:gd name="connsiteX3" fmla="*/ 149525 w 9149451"/>
              <a:gd name="connsiteY3" fmla="*/ 17253 h 1282460"/>
              <a:gd name="connsiteX4" fmla="*/ 201283 w 9149451"/>
              <a:gd name="connsiteY4" fmla="*/ 5751 h 1282460"/>
              <a:gd name="connsiteX5" fmla="*/ 281796 w 9149451"/>
              <a:gd name="connsiteY5" fmla="*/ 0 h 1282460"/>
              <a:gd name="connsiteX6" fmla="*/ 563592 w 9149451"/>
              <a:gd name="connsiteY6" fmla="*/ 5751 h 1282460"/>
              <a:gd name="connsiteX7" fmla="*/ 661358 w 9149451"/>
              <a:gd name="connsiteY7" fmla="*/ 23004 h 1282460"/>
              <a:gd name="connsiteX8" fmla="*/ 707366 w 9149451"/>
              <a:gd name="connsiteY8" fmla="*/ 28755 h 1282460"/>
              <a:gd name="connsiteX9" fmla="*/ 736121 w 9149451"/>
              <a:gd name="connsiteY9" fmla="*/ 34506 h 1282460"/>
              <a:gd name="connsiteX10" fmla="*/ 799381 w 9149451"/>
              <a:gd name="connsiteY10" fmla="*/ 46007 h 1282460"/>
              <a:gd name="connsiteX11" fmla="*/ 885645 w 9149451"/>
              <a:gd name="connsiteY11" fmla="*/ 63260 h 1282460"/>
              <a:gd name="connsiteX12" fmla="*/ 971909 w 9149451"/>
              <a:gd name="connsiteY12" fmla="*/ 86264 h 1282460"/>
              <a:gd name="connsiteX13" fmla="*/ 1023668 w 9149451"/>
              <a:gd name="connsiteY13" fmla="*/ 92015 h 1282460"/>
              <a:gd name="connsiteX14" fmla="*/ 1040921 w 9149451"/>
              <a:gd name="connsiteY14" fmla="*/ 97766 h 1282460"/>
              <a:gd name="connsiteX15" fmla="*/ 1109932 w 9149451"/>
              <a:gd name="connsiteY15" fmla="*/ 109268 h 1282460"/>
              <a:gd name="connsiteX16" fmla="*/ 1190445 w 9149451"/>
              <a:gd name="connsiteY16" fmla="*/ 126521 h 1282460"/>
              <a:gd name="connsiteX17" fmla="*/ 1293962 w 9149451"/>
              <a:gd name="connsiteY17" fmla="*/ 143774 h 1282460"/>
              <a:gd name="connsiteX18" fmla="*/ 1357223 w 9149451"/>
              <a:gd name="connsiteY18" fmla="*/ 161026 h 1282460"/>
              <a:gd name="connsiteX19" fmla="*/ 1397479 w 9149451"/>
              <a:gd name="connsiteY19" fmla="*/ 166777 h 1282460"/>
              <a:gd name="connsiteX20" fmla="*/ 1489494 w 9149451"/>
              <a:gd name="connsiteY20" fmla="*/ 189781 h 1282460"/>
              <a:gd name="connsiteX21" fmla="*/ 1535502 w 9149451"/>
              <a:gd name="connsiteY21" fmla="*/ 201283 h 1282460"/>
              <a:gd name="connsiteX22" fmla="*/ 1621766 w 9149451"/>
              <a:gd name="connsiteY22" fmla="*/ 212785 h 1282460"/>
              <a:gd name="connsiteX23" fmla="*/ 1690777 w 9149451"/>
              <a:gd name="connsiteY23" fmla="*/ 230038 h 1282460"/>
              <a:gd name="connsiteX24" fmla="*/ 1713781 w 9149451"/>
              <a:gd name="connsiteY24" fmla="*/ 235789 h 1282460"/>
              <a:gd name="connsiteX25" fmla="*/ 1759789 w 9149451"/>
              <a:gd name="connsiteY25" fmla="*/ 241540 h 1282460"/>
              <a:gd name="connsiteX26" fmla="*/ 1782792 w 9149451"/>
              <a:gd name="connsiteY26" fmla="*/ 247290 h 1282460"/>
              <a:gd name="connsiteX27" fmla="*/ 1869057 w 9149451"/>
              <a:gd name="connsiteY27" fmla="*/ 258792 h 1282460"/>
              <a:gd name="connsiteX28" fmla="*/ 1961072 w 9149451"/>
              <a:gd name="connsiteY28" fmla="*/ 270294 h 1282460"/>
              <a:gd name="connsiteX29" fmla="*/ 2012830 w 9149451"/>
              <a:gd name="connsiteY29" fmla="*/ 276045 h 1282460"/>
              <a:gd name="connsiteX30" fmla="*/ 2047336 w 9149451"/>
              <a:gd name="connsiteY30" fmla="*/ 281796 h 1282460"/>
              <a:gd name="connsiteX31" fmla="*/ 2237117 w 9149451"/>
              <a:gd name="connsiteY31" fmla="*/ 293298 h 1282460"/>
              <a:gd name="connsiteX32" fmla="*/ 2467155 w 9149451"/>
              <a:gd name="connsiteY32" fmla="*/ 287547 h 1282460"/>
              <a:gd name="connsiteX33" fmla="*/ 2495909 w 9149451"/>
              <a:gd name="connsiteY33" fmla="*/ 281796 h 1282460"/>
              <a:gd name="connsiteX34" fmla="*/ 2559170 w 9149451"/>
              <a:gd name="connsiteY34" fmla="*/ 276045 h 1282460"/>
              <a:gd name="connsiteX35" fmla="*/ 2587925 w 9149451"/>
              <a:gd name="connsiteY35" fmla="*/ 270294 h 1282460"/>
              <a:gd name="connsiteX36" fmla="*/ 2633932 w 9149451"/>
              <a:gd name="connsiteY36" fmla="*/ 264543 h 1282460"/>
              <a:gd name="connsiteX37" fmla="*/ 2656936 w 9149451"/>
              <a:gd name="connsiteY37" fmla="*/ 253041 h 1282460"/>
              <a:gd name="connsiteX38" fmla="*/ 2679940 w 9149451"/>
              <a:gd name="connsiteY38" fmla="*/ 247290 h 1282460"/>
              <a:gd name="connsiteX39" fmla="*/ 2697192 w 9149451"/>
              <a:gd name="connsiteY39" fmla="*/ 241540 h 1282460"/>
              <a:gd name="connsiteX40" fmla="*/ 2743200 w 9149451"/>
              <a:gd name="connsiteY40" fmla="*/ 230038 h 1282460"/>
              <a:gd name="connsiteX41" fmla="*/ 2766204 w 9149451"/>
              <a:gd name="connsiteY41" fmla="*/ 224287 h 1282460"/>
              <a:gd name="connsiteX42" fmla="*/ 2794958 w 9149451"/>
              <a:gd name="connsiteY42" fmla="*/ 207034 h 1282460"/>
              <a:gd name="connsiteX43" fmla="*/ 2829464 w 9149451"/>
              <a:gd name="connsiteY43" fmla="*/ 195532 h 1282460"/>
              <a:gd name="connsiteX44" fmla="*/ 2846717 w 9149451"/>
              <a:gd name="connsiteY44" fmla="*/ 189781 h 1282460"/>
              <a:gd name="connsiteX45" fmla="*/ 2909977 w 9149451"/>
              <a:gd name="connsiteY45" fmla="*/ 172528 h 1282460"/>
              <a:gd name="connsiteX46" fmla="*/ 2961736 w 9149451"/>
              <a:gd name="connsiteY46" fmla="*/ 149524 h 1282460"/>
              <a:gd name="connsiteX47" fmla="*/ 2978989 w 9149451"/>
              <a:gd name="connsiteY47" fmla="*/ 143774 h 1282460"/>
              <a:gd name="connsiteX48" fmla="*/ 3001992 w 9149451"/>
              <a:gd name="connsiteY48" fmla="*/ 132272 h 1282460"/>
              <a:gd name="connsiteX49" fmla="*/ 3019245 w 9149451"/>
              <a:gd name="connsiteY49" fmla="*/ 126521 h 1282460"/>
              <a:gd name="connsiteX50" fmla="*/ 3042249 w 9149451"/>
              <a:gd name="connsiteY50" fmla="*/ 115019 h 1282460"/>
              <a:gd name="connsiteX51" fmla="*/ 3076755 w 9149451"/>
              <a:gd name="connsiteY51" fmla="*/ 109268 h 1282460"/>
              <a:gd name="connsiteX52" fmla="*/ 3111260 w 9149451"/>
              <a:gd name="connsiteY52" fmla="*/ 97766 h 1282460"/>
              <a:gd name="connsiteX53" fmla="*/ 3145766 w 9149451"/>
              <a:gd name="connsiteY53" fmla="*/ 92015 h 1282460"/>
              <a:gd name="connsiteX54" fmla="*/ 3168770 w 9149451"/>
              <a:gd name="connsiteY54" fmla="*/ 86264 h 1282460"/>
              <a:gd name="connsiteX55" fmla="*/ 3375804 w 9149451"/>
              <a:gd name="connsiteY55" fmla="*/ 80513 h 1282460"/>
              <a:gd name="connsiteX56" fmla="*/ 3559834 w 9149451"/>
              <a:gd name="connsiteY56" fmla="*/ 86264 h 1282460"/>
              <a:gd name="connsiteX57" fmla="*/ 3594340 w 9149451"/>
              <a:gd name="connsiteY57" fmla="*/ 103517 h 1282460"/>
              <a:gd name="connsiteX58" fmla="*/ 3634596 w 9149451"/>
              <a:gd name="connsiteY58" fmla="*/ 115019 h 1282460"/>
              <a:gd name="connsiteX59" fmla="*/ 3657600 w 9149451"/>
              <a:gd name="connsiteY59" fmla="*/ 126521 h 1282460"/>
              <a:gd name="connsiteX60" fmla="*/ 3680604 w 9149451"/>
              <a:gd name="connsiteY60" fmla="*/ 132272 h 1282460"/>
              <a:gd name="connsiteX61" fmla="*/ 3715109 w 9149451"/>
              <a:gd name="connsiteY61" fmla="*/ 143774 h 1282460"/>
              <a:gd name="connsiteX62" fmla="*/ 3732362 w 9149451"/>
              <a:gd name="connsiteY62" fmla="*/ 149524 h 1282460"/>
              <a:gd name="connsiteX63" fmla="*/ 3784121 w 9149451"/>
              <a:gd name="connsiteY63" fmla="*/ 155275 h 1282460"/>
              <a:gd name="connsiteX64" fmla="*/ 3847381 w 9149451"/>
              <a:gd name="connsiteY64" fmla="*/ 166777 h 1282460"/>
              <a:gd name="connsiteX65" fmla="*/ 3910642 w 9149451"/>
              <a:gd name="connsiteY65" fmla="*/ 172528 h 1282460"/>
              <a:gd name="connsiteX66" fmla="*/ 3979653 w 9149451"/>
              <a:gd name="connsiteY66" fmla="*/ 184030 h 1282460"/>
              <a:gd name="connsiteX67" fmla="*/ 4042913 w 9149451"/>
              <a:gd name="connsiteY67" fmla="*/ 189781 h 1282460"/>
              <a:gd name="connsiteX68" fmla="*/ 4106174 w 9149451"/>
              <a:gd name="connsiteY68" fmla="*/ 207034 h 1282460"/>
              <a:gd name="connsiteX69" fmla="*/ 4146430 w 9149451"/>
              <a:gd name="connsiteY69" fmla="*/ 218536 h 1282460"/>
              <a:gd name="connsiteX70" fmla="*/ 4169434 w 9149451"/>
              <a:gd name="connsiteY70" fmla="*/ 230038 h 1282460"/>
              <a:gd name="connsiteX71" fmla="*/ 4203940 w 9149451"/>
              <a:gd name="connsiteY71" fmla="*/ 235789 h 1282460"/>
              <a:gd name="connsiteX72" fmla="*/ 4232694 w 9149451"/>
              <a:gd name="connsiteY72" fmla="*/ 241540 h 1282460"/>
              <a:gd name="connsiteX73" fmla="*/ 4255698 w 9149451"/>
              <a:gd name="connsiteY73" fmla="*/ 247290 h 1282460"/>
              <a:gd name="connsiteX74" fmla="*/ 4433977 w 9149451"/>
              <a:gd name="connsiteY74" fmla="*/ 253041 h 1282460"/>
              <a:gd name="connsiteX75" fmla="*/ 4502989 w 9149451"/>
              <a:gd name="connsiteY75" fmla="*/ 258792 h 1282460"/>
              <a:gd name="connsiteX76" fmla="*/ 4525992 w 9149451"/>
              <a:gd name="connsiteY76" fmla="*/ 270294 h 1282460"/>
              <a:gd name="connsiteX77" fmla="*/ 4577751 w 9149451"/>
              <a:gd name="connsiteY77" fmla="*/ 293298 h 1282460"/>
              <a:gd name="connsiteX78" fmla="*/ 4629509 w 9149451"/>
              <a:gd name="connsiteY78" fmla="*/ 316302 h 1282460"/>
              <a:gd name="connsiteX79" fmla="*/ 4681268 w 9149451"/>
              <a:gd name="connsiteY79" fmla="*/ 339306 h 1282460"/>
              <a:gd name="connsiteX80" fmla="*/ 4704272 w 9149451"/>
              <a:gd name="connsiteY80" fmla="*/ 350807 h 1282460"/>
              <a:gd name="connsiteX81" fmla="*/ 4756030 w 9149451"/>
              <a:gd name="connsiteY81" fmla="*/ 368060 h 1282460"/>
              <a:gd name="connsiteX82" fmla="*/ 4773283 w 9149451"/>
              <a:gd name="connsiteY82" fmla="*/ 373811 h 1282460"/>
              <a:gd name="connsiteX83" fmla="*/ 4802038 w 9149451"/>
              <a:gd name="connsiteY83" fmla="*/ 391064 h 1282460"/>
              <a:gd name="connsiteX84" fmla="*/ 4842294 w 9149451"/>
              <a:gd name="connsiteY84" fmla="*/ 402566 h 1282460"/>
              <a:gd name="connsiteX85" fmla="*/ 4876800 w 9149451"/>
              <a:gd name="connsiteY85" fmla="*/ 414068 h 1282460"/>
              <a:gd name="connsiteX86" fmla="*/ 4917057 w 9149451"/>
              <a:gd name="connsiteY86" fmla="*/ 419819 h 1282460"/>
              <a:gd name="connsiteX87" fmla="*/ 5072332 w 9149451"/>
              <a:gd name="connsiteY87" fmla="*/ 431321 h 1282460"/>
              <a:gd name="connsiteX88" fmla="*/ 5262113 w 9149451"/>
              <a:gd name="connsiteY88" fmla="*/ 442823 h 1282460"/>
              <a:gd name="connsiteX89" fmla="*/ 5382883 w 9149451"/>
              <a:gd name="connsiteY89" fmla="*/ 454324 h 1282460"/>
              <a:gd name="connsiteX90" fmla="*/ 5520906 w 9149451"/>
              <a:gd name="connsiteY90" fmla="*/ 465826 h 1282460"/>
              <a:gd name="connsiteX91" fmla="*/ 5578415 w 9149451"/>
              <a:gd name="connsiteY91" fmla="*/ 471577 h 1282460"/>
              <a:gd name="connsiteX92" fmla="*/ 5762445 w 9149451"/>
              <a:gd name="connsiteY92" fmla="*/ 483079 h 1282460"/>
              <a:gd name="connsiteX93" fmla="*/ 6003985 w 9149451"/>
              <a:gd name="connsiteY93" fmla="*/ 494581 h 1282460"/>
              <a:gd name="connsiteX94" fmla="*/ 6308785 w 9149451"/>
              <a:gd name="connsiteY94" fmla="*/ 488830 h 1282460"/>
              <a:gd name="connsiteX95" fmla="*/ 6349042 w 9149451"/>
              <a:gd name="connsiteY95" fmla="*/ 477328 h 1282460"/>
              <a:gd name="connsiteX96" fmla="*/ 6400800 w 9149451"/>
              <a:gd name="connsiteY96" fmla="*/ 465826 h 1282460"/>
              <a:gd name="connsiteX97" fmla="*/ 6429555 w 9149451"/>
              <a:gd name="connsiteY97" fmla="*/ 460075 h 1282460"/>
              <a:gd name="connsiteX98" fmla="*/ 6458309 w 9149451"/>
              <a:gd name="connsiteY98" fmla="*/ 448574 h 1282460"/>
              <a:gd name="connsiteX99" fmla="*/ 6521570 w 9149451"/>
              <a:gd name="connsiteY99" fmla="*/ 437072 h 1282460"/>
              <a:gd name="connsiteX100" fmla="*/ 6567577 w 9149451"/>
              <a:gd name="connsiteY100" fmla="*/ 425570 h 1282460"/>
              <a:gd name="connsiteX101" fmla="*/ 6630838 w 9149451"/>
              <a:gd name="connsiteY101" fmla="*/ 408317 h 1282460"/>
              <a:gd name="connsiteX102" fmla="*/ 6648091 w 9149451"/>
              <a:gd name="connsiteY102" fmla="*/ 396815 h 1282460"/>
              <a:gd name="connsiteX103" fmla="*/ 6688347 w 9149451"/>
              <a:gd name="connsiteY103" fmla="*/ 385313 h 1282460"/>
              <a:gd name="connsiteX104" fmla="*/ 6751608 w 9149451"/>
              <a:gd name="connsiteY104" fmla="*/ 362309 h 1282460"/>
              <a:gd name="connsiteX105" fmla="*/ 6786113 w 9149451"/>
              <a:gd name="connsiteY105" fmla="*/ 350807 h 1282460"/>
              <a:gd name="connsiteX106" fmla="*/ 6809117 w 9149451"/>
              <a:gd name="connsiteY106" fmla="*/ 339306 h 1282460"/>
              <a:gd name="connsiteX107" fmla="*/ 6855125 w 9149451"/>
              <a:gd name="connsiteY107" fmla="*/ 333555 h 1282460"/>
              <a:gd name="connsiteX108" fmla="*/ 6906883 w 9149451"/>
              <a:gd name="connsiteY108" fmla="*/ 322053 h 1282460"/>
              <a:gd name="connsiteX109" fmla="*/ 6935638 w 9149451"/>
              <a:gd name="connsiteY109" fmla="*/ 316302 h 1282460"/>
              <a:gd name="connsiteX110" fmla="*/ 6970143 w 9149451"/>
              <a:gd name="connsiteY110" fmla="*/ 310551 h 1282460"/>
              <a:gd name="connsiteX111" fmla="*/ 7125419 w 9149451"/>
              <a:gd name="connsiteY111" fmla="*/ 304800 h 1282460"/>
              <a:gd name="connsiteX112" fmla="*/ 7924800 w 9149451"/>
              <a:gd name="connsiteY112" fmla="*/ 299049 h 1282460"/>
              <a:gd name="connsiteX113" fmla="*/ 7982309 w 9149451"/>
              <a:gd name="connsiteY113" fmla="*/ 293298 h 1282460"/>
              <a:gd name="connsiteX114" fmla="*/ 8120332 w 9149451"/>
              <a:gd name="connsiteY114" fmla="*/ 264543 h 1282460"/>
              <a:gd name="connsiteX115" fmla="*/ 8143336 w 9149451"/>
              <a:gd name="connsiteY115" fmla="*/ 258792 h 1282460"/>
              <a:gd name="connsiteX116" fmla="*/ 8166340 w 9149451"/>
              <a:gd name="connsiteY116" fmla="*/ 247290 h 1282460"/>
              <a:gd name="connsiteX117" fmla="*/ 8189343 w 9149451"/>
              <a:gd name="connsiteY117" fmla="*/ 241540 h 1282460"/>
              <a:gd name="connsiteX118" fmla="*/ 8223849 w 9149451"/>
              <a:gd name="connsiteY118" fmla="*/ 230038 h 1282460"/>
              <a:gd name="connsiteX119" fmla="*/ 8241102 w 9149451"/>
              <a:gd name="connsiteY119" fmla="*/ 224287 h 1282460"/>
              <a:gd name="connsiteX120" fmla="*/ 8264106 w 9149451"/>
              <a:gd name="connsiteY120" fmla="*/ 218536 h 1282460"/>
              <a:gd name="connsiteX121" fmla="*/ 8292860 w 9149451"/>
              <a:gd name="connsiteY121" fmla="*/ 201283 h 1282460"/>
              <a:gd name="connsiteX122" fmla="*/ 8327366 w 9149451"/>
              <a:gd name="connsiteY122" fmla="*/ 189781 h 1282460"/>
              <a:gd name="connsiteX123" fmla="*/ 8367623 w 9149451"/>
              <a:gd name="connsiteY123" fmla="*/ 172528 h 1282460"/>
              <a:gd name="connsiteX124" fmla="*/ 8390626 w 9149451"/>
              <a:gd name="connsiteY124" fmla="*/ 161026 h 1282460"/>
              <a:gd name="connsiteX125" fmla="*/ 8407879 w 9149451"/>
              <a:gd name="connsiteY125" fmla="*/ 155275 h 1282460"/>
              <a:gd name="connsiteX126" fmla="*/ 8436634 w 9149451"/>
              <a:gd name="connsiteY126" fmla="*/ 143774 h 1282460"/>
              <a:gd name="connsiteX127" fmla="*/ 8482642 w 9149451"/>
              <a:gd name="connsiteY127" fmla="*/ 120770 h 1282460"/>
              <a:gd name="connsiteX128" fmla="*/ 8511396 w 9149451"/>
              <a:gd name="connsiteY128" fmla="*/ 115019 h 1282460"/>
              <a:gd name="connsiteX129" fmla="*/ 8528649 w 9149451"/>
              <a:gd name="connsiteY129" fmla="*/ 109268 h 1282460"/>
              <a:gd name="connsiteX130" fmla="*/ 8551653 w 9149451"/>
              <a:gd name="connsiteY130" fmla="*/ 103517 h 1282460"/>
              <a:gd name="connsiteX131" fmla="*/ 8568906 w 9149451"/>
              <a:gd name="connsiteY131" fmla="*/ 92015 h 1282460"/>
              <a:gd name="connsiteX132" fmla="*/ 8597660 w 9149451"/>
              <a:gd name="connsiteY132" fmla="*/ 86264 h 1282460"/>
              <a:gd name="connsiteX133" fmla="*/ 8643668 w 9149451"/>
              <a:gd name="connsiteY133" fmla="*/ 74762 h 1282460"/>
              <a:gd name="connsiteX134" fmla="*/ 8672423 w 9149451"/>
              <a:gd name="connsiteY134" fmla="*/ 69011 h 1282460"/>
              <a:gd name="connsiteX135" fmla="*/ 8735683 w 9149451"/>
              <a:gd name="connsiteY135" fmla="*/ 51758 h 1282460"/>
              <a:gd name="connsiteX136" fmla="*/ 8798943 w 9149451"/>
              <a:gd name="connsiteY136" fmla="*/ 46007 h 1282460"/>
              <a:gd name="connsiteX137" fmla="*/ 8867955 w 9149451"/>
              <a:gd name="connsiteY137" fmla="*/ 51758 h 1282460"/>
              <a:gd name="connsiteX138" fmla="*/ 8965721 w 9149451"/>
              <a:gd name="connsiteY138" fmla="*/ 40257 h 1282460"/>
              <a:gd name="connsiteX139" fmla="*/ 9028981 w 9149451"/>
              <a:gd name="connsiteY139" fmla="*/ 23004 h 1282460"/>
              <a:gd name="connsiteX140" fmla="*/ 9144000 w 9149451"/>
              <a:gd name="connsiteY140" fmla="*/ 17253 h 1282460"/>
              <a:gd name="connsiteX141" fmla="*/ 9144000 w 9149451"/>
              <a:gd name="connsiteY141" fmla="*/ 1282460 h 1282460"/>
              <a:gd name="connsiteX0" fmla="*/ 15058 w 9164509"/>
              <a:gd name="connsiteY0" fmla="*/ 1236453 h 1282460"/>
              <a:gd name="connsiteX1" fmla="*/ 15059 w 9164509"/>
              <a:gd name="connsiteY1" fmla="*/ 46008 h 1282460"/>
              <a:gd name="connsiteX2" fmla="*/ 95571 w 9164509"/>
              <a:gd name="connsiteY2" fmla="*/ 28755 h 1282460"/>
              <a:gd name="connsiteX3" fmla="*/ 164583 w 9164509"/>
              <a:gd name="connsiteY3" fmla="*/ 17253 h 1282460"/>
              <a:gd name="connsiteX4" fmla="*/ 216341 w 9164509"/>
              <a:gd name="connsiteY4" fmla="*/ 5751 h 1282460"/>
              <a:gd name="connsiteX5" fmla="*/ 296854 w 9164509"/>
              <a:gd name="connsiteY5" fmla="*/ 0 h 1282460"/>
              <a:gd name="connsiteX6" fmla="*/ 578650 w 9164509"/>
              <a:gd name="connsiteY6" fmla="*/ 5751 h 1282460"/>
              <a:gd name="connsiteX7" fmla="*/ 676416 w 9164509"/>
              <a:gd name="connsiteY7" fmla="*/ 23004 h 1282460"/>
              <a:gd name="connsiteX8" fmla="*/ 722424 w 9164509"/>
              <a:gd name="connsiteY8" fmla="*/ 28755 h 1282460"/>
              <a:gd name="connsiteX9" fmla="*/ 751179 w 9164509"/>
              <a:gd name="connsiteY9" fmla="*/ 34506 h 1282460"/>
              <a:gd name="connsiteX10" fmla="*/ 814439 w 9164509"/>
              <a:gd name="connsiteY10" fmla="*/ 46007 h 1282460"/>
              <a:gd name="connsiteX11" fmla="*/ 900703 w 9164509"/>
              <a:gd name="connsiteY11" fmla="*/ 63260 h 1282460"/>
              <a:gd name="connsiteX12" fmla="*/ 986967 w 9164509"/>
              <a:gd name="connsiteY12" fmla="*/ 86264 h 1282460"/>
              <a:gd name="connsiteX13" fmla="*/ 1038726 w 9164509"/>
              <a:gd name="connsiteY13" fmla="*/ 92015 h 1282460"/>
              <a:gd name="connsiteX14" fmla="*/ 1055979 w 9164509"/>
              <a:gd name="connsiteY14" fmla="*/ 97766 h 1282460"/>
              <a:gd name="connsiteX15" fmla="*/ 1124990 w 9164509"/>
              <a:gd name="connsiteY15" fmla="*/ 109268 h 1282460"/>
              <a:gd name="connsiteX16" fmla="*/ 1205503 w 9164509"/>
              <a:gd name="connsiteY16" fmla="*/ 126521 h 1282460"/>
              <a:gd name="connsiteX17" fmla="*/ 1309020 w 9164509"/>
              <a:gd name="connsiteY17" fmla="*/ 143774 h 1282460"/>
              <a:gd name="connsiteX18" fmla="*/ 1372281 w 9164509"/>
              <a:gd name="connsiteY18" fmla="*/ 161026 h 1282460"/>
              <a:gd name="connsiteX19" fmla="*/ 1412537 w 9164509"/>
              <a:gd name="connsiteY19" fmla="*/ 166777 h 1282460"/>
              <a:gd name="connsiteX20" fmla="*/ 1504552 w 9164509"/>
              <a:gd name="connsiteY20" fmla="*/ 189781 h 1282460"/>
              <a:gd name="connsiteX21" fmla="*/ 1550560 w 9164509"/>
              <a:gd name="connsiteY21" fmla="*/ 201283 h 1282460"/>
              <a:gd name="connsiteX22" fmla="*/ 1636824 w 9164509"/>
              <a:gd name="connsiteY22" fmla="*/ 212785 h 1282460"/>
              <a:gd name="connsiteX23" fmla="*/ 1705835 w 9164509"/>
              <a:gd name="connsiteY23" fmla="*/ 230038 h 1282460"/>
              <a:gd name="connsiteX24" fmla="*/ 1728839 w 9164509"/>
              <a:gd name="connsiteY24" fmla="*/ 235789 h 1282460"/>
              <a:gd name="connsiteX25" fmla="*/ 1774847 w 9164509"/>
              <a:gd name="connsiteY25" fmla="*/ 241540 h 1282460"/>
              <a:gd name="connsiteX26" fmla="*/ 1797850 w 9164509"/>
              <a:gd name="connsiteY26" fmla="*/ 247290 h 1282460"/>
              <a:gd name="connsiteX27" fmla="*/ 1884115 w 9164509"/>
              <a:gd name="connsiteY27" fmla="*/ 258792 h 1282460"/>
              <a:gd name="connsiteX28" fmla="*/ 1976130 w 9164509"/>
              <a:gd name="connsiteY28" fmla="*/ 270294 h 1282460"/>
              <a:gd name="connsiteX29" fmla="*/ 2027888 w 9164509"/>
              <a:gd name="connsiteY29" fmla="*/ 276045 h 1282460"/>
              <a:gd name="connsiteX30" fmla="*/ 2062394 w 9164509"/>
              <a:gd name="connsiteY30" fmla="*/ 281796 h 1282460"/>
              <a:gd name="connsiteX31" fmla="*/ 2252175 w 9164509"/>
              <a:gd name="connsiteY31" fmla="*/ 293298 h 1282460"/>
              <a:gd name="connsiteX32" fmla="*/ 2482213 w 9164509"/>
              <a:gd name="connsiteY32" fmla="*/ 287547 h 1282460"/>
              <a:gd name="connsiteX33" fmla="*/ 2510967 w 9164509"/>
              <a:gd name="connsiteY33" fmla="*/ 281796 h 1282460"/>
              <a:gd name="connsiteX34" fmla="*/ 2574228 w 9164509"/>
              <a:gd name="connsiteY34" fmla="*/ 276045 h 1282460"/>
              <a:gd name="connsiteX35" fmla="*/ 2602983 w 9164509"/>
              <a:gd name="connsiteY35" fmla="*/ 270294 h 1282460"/>
              <a:gd name="connsiteX36" fmla="*/ 2648990 w 9164509"/>
              <a:gd name="connsiteY36" fmla="*/ 264543 h 1282460"/>
              <a:gd name="connsiteX37" fmla="*/ 2671994 w 9164509"/>
              <a:gd name="connsiteY37" fmla="*/ 253041 h 1282460"/>
              <a:gd name="connsiteX38" fmla="*/ 2694998 w 9164509"/>
              <a:gd name="connsiteY38" fmla="*/ 247290 h 1282460"/>
              <a:gd name="connsiteX39" fmla="*/ 2712250 w 9164509"/>
              <a:gd name="connsiteY39" fmla="*/ 241540 h 1282460"/>
              <a:gd name="connsiteX40" fmla="*/ 2758258 w 9164509"/>
              <a:gd name="connsiteY40" fmla="*/ 230038 h 1282460"/>
              <a:gd name="connsiteX41" fmla="*/ 2781262 w 9164509"/>
              <a:gd name="connsiteY41" fmla="*/ 224287 h 1282460"/>
              <a:gd name="connsiteX42" fmla="*/ 2810016 w 9164509"/>
              <a:gd name="connsiteY42" fmla="*/ 207034 h 1282460"/>
              <a:gd name="connsiteX43" fmla="*/ 2844522 w 9164509"/>
              <a:gd name="connsiteY43" fmla="*/ 195532 h 1282460"/>
              <a:gd name="connsiteX44" fmla="*/ 2861775 w 9164509"/>
              <a:gd name="connsiteY44" fmla="*/ 189781 h 1282460"/>
              <a:gd name="connsiteX45" fmla="*/ 2925035 w 9164509"/>
              <a:gd name="connsiteY45" fmla="*/ 172528 h 1282460"/>
              <a:gd name="connsiteX46" fmla="*/ 2976794 w 9164509"/>
              <a:gd name="connsiteY46" fmla="*/ 149524 h 1282460"/>
              <a:gd name="connsiteX47" fmla="*/ 2994047 w 9164509"/>
              <a:gd name="connsiteY47" fmla="*/ 143774 h 1282460"/>
              <a:gd name="connsiteX48" fmla="*/ 3017050 w 9164509"/>
              <a:gd name="connsiteY48" fmla="*/ 132272 h 1282460"/>
              <a:gd name="connsiteX49" fmla="*/ 3034303 w 9164509"/>
              <a:gd name="connsiteY49" fmla="*/ 126521 h 1282460"/>
              <a:gd name="connsiteX50" fmla="*/ 3057307 w 9164509"/>
              <a:gd name="connsiteY50" fmla="*/ 115019 h 1282460"/>
              <a:gd name="connsiteX51" fmla="*/ 3091813 w 9164509"/>
              <a:gd name="connsiteY51" fmla="*/ 109268 h 1282460"/>
              <a:gd name="connsiteX52" fmla="*/ 3126318 w 9164509"/>
              <a:gd name="connsiteY52" fmla="*/ 97766 h 1282460"/>
              <a:gd name="connsiteX53" fmla="*/ 3160824 w 9164509"/>
              <a:gd name="connsiteY53" fmla="*/ 92015 h 1282460"/>
              <a:gd name="connsiteX54" fmla="*/ 3183828 w 9164509"/>
              <a:gd name="connsiteY54" fmla="*/ 86264 h 1282460"/>
              <a:gd name="connsiteX55" fmla="*/ 3390862 w 9164509"/>
              <a:gd name="connsiteY55" fmla="*/ 80513 h 1282460"/>
              <a:gd name="connsiteX56" fmla="*/ 3574892 w 9164509"/>
              <a:gd name="connsiteY56" fmla="*/ 86264 h 1282460"/>
              <a:gd name="connsiteX57" fmla="*/ 3609398 w 9164509"/>
              <a:gd name="connsiteY57" fmla="*/ 103517 h 1282460"/>
              <a:gd name="connsiteX58" fmla="*/ 3649654 w 9164509"/>
              <a:gd name="connsiteY58" fmla="*/ 115019 h 1282460"/>
              <a:gd name="connsiteX59" fmla="*/ 3672658 w 9164509"/>
              <a:gd name="connsiteY59" fmla="*/ 126521 h 1282460"/>
              <a:gd name="connsiteX60" fmla="*/ 3695662 w 9164509"/>
              <a:gd name="connsiteY60" fmla="*/ 132272 h 1282460"/>
              <a:gd name="connsiteX61" fmla="*/ 3730167 w 9164509"/>
              <a:gd name="connsiteY61" fmla="*/ 143774 h 1282460"/>
              <a:gd name="connsiteX62" fmla="*/ 3747420 w 9164509"/>
              <a:gd name="connsiteY62" fmla="*/ 149524 h 1282460"/>
              <a:gd name="connsiteX63" fmla="*/ 3799179 w 9164509"/>
              <a:gd name="connsiteY63" fmla="*/ 155275 h 1282460"/>
              <a:gd name="connsiteX64" fmla="*/ 3862439 w 9164509"/>
              <a:gd name="connsiteY64" fmla="*/ 166777 h 1282460"/>
              <a:gd name="connsiteX65" fmla="*/ 3925700 w 9164509"/>
              <a:gd name="connsiteY65" fmla="*/ 172528 h 1282460"/>
              <a:gd name="connsiteX66" fmla="*/ 3994711 w 9164509"/>
              <a:gd name="connsiteY66" fmla="*/ 184030 h 1282460"/>
              <a:gd name="connsiteX67" fmla="*/ 4057971 w 9164509"/>
              <a:gd name="connsiteY67" fmla="*/ 189781 h 1282460"/>
              <a:gd name="connsiteX68" fmla="*/ 4121232 w 9164509"/>
              <a:gd name="connsiteY68" fmla="*/ 207034 h 1282460"/>
              <a:gd name="connsiteX69" fmla="*/ 4161488 w 9164509"/>
              <a:gd name="connsiteY69" fmla="*/ 218536 h 1282460"/>
              <a:gd name="connsiteX70" fmla="*/ 4184492 w 9164509"/>
              <a:gd name="connsiteY70" fmla="*/ 230038 h 1282460"/>
              <a:gd name="connsiteX71" fmla="*/ 4218998 w 9164509"/>
              <a:gd name="connsiteY71" fmla="*/ 235789 h 1282460"/>
              <a:gd name="connsiteX72" fmla="*/ 4247752 w 9164509"/>
              <a:gd name="connsiteY72" fmla="*/ 241540 h 1282460"/>
              <a:gd name="connsiteX73" fmla="*/ 4270756 w 9164509"/>
              <a:gd name="connsiteY73" fmla="*/ 247290 h 1282460"/>
              <a:gd name="connsiteX74" fmla="*/ 4449035 w 9164509"/>
              <a:gd name="connsiteY74" fmla="*/ 253041 h 1282460"/>
              <a:gd name="connsiteX75" fmla="*/ 4518047 w 9164509"/>
              <a:gd name="connsiteY75" fmla="*/ 258792 h 1282460"/>
              <a:gd name="connsiteX76" fmla="*/ 4541050 w 9164509"/>
              <a:gd name="connsiteY76" fmla="*/ 270294 h 1282460"/>
              <a:gd name="connsiteX77" fmla="*/ 4592809 w 9164509"/>
              <a:gd name="connsiteY77" fmla="*/ 293298 h 1282460"/>
              <a:gd name="connsiteX78" fmla="*/ 4644567 w 9164509"/>
              <a:gd name="connsiteY78" fmla="*/ 316302 h 1282460"/>
              <a:gd name="connsiteX79" fmla="*/ 4696326 w 9164509"/>
              <a:gd name="connsiteY79" fmla="*/ 339306 h 1282460"/>
              <a:gd name="connsiteX80" fmla="*/ 4719330 w 9164509"/>
              <a:gd name="connsiteY80" fmla="*/ 350807 h 1282460"/>
              <a:gd name="connsiteX81" fmla="*/ 4771088 w 9164509"/>
              <a:gd name="connsiteY81" fmla="*/ 368060 h 1282460"/>
              <a:gd name="connsiteX82" fmla="*/ 4788341 w 9164509"/>
              <a:gd name="connsiteY82" fmla="*/ 373811 h 1282460"/>
              <a:gd name="connsiteX83" fmla="*/ 4817096 w 9164509"/>
              <a:gd name="connsiteY83" fmla="*/ 391064 h 1282460"/>
              <a:gd name="connsiteX84" fmla="*/ 4857352 w 9164509"/>
              <a:gd name="connsiteY84" fmla="*/ 402566 h 1282460"/>
              <a:gd name="connsiteX85" fmla="*/ 4891858 w 9164509"/>
              <a:gd name="connsiteY85" fmla="*/ 414068 h 1282460"/>
              <a:gd name="connsiteX86" fmla="*/ 4932115 w 9164509"/>
              <a:gd name="connsiteY86" fmla="*/ 419819 h 1282460"/>
              <a:gd name="connsiteX87" fmla="*/ 5087390 w 9164509"/>
              <a:gd name="connsiteY87" fmla="*/ 431321 h 1282460"/>
              <a:gd name="connsiteX88" fmla="*/ 5277171 w 9164509"/>
              <a:gd name="connsiteY88" fmla="*/ 442823 h 1282460"/>
              <a:gd name="connsiteX89" fmla="*/ 5397941 w 9164509"/>
              <a:gd name="connsiteY89" fmla="*/ 454324 h 1282460"/>
              <a:gd name="connsiteX90" fmla="*/ 5535964 w 9164509"/>
              <a:gd name="connsiteY90" fmla="*/ 465826 h 1282460"/>
              <a:gd name="connsiteX91" fmla="*/ 5593473 w 9164509"/>
              <a:gd name="connsiteY91" fmla="*/ 471577 h 1282460"/>
              <a:gd name="connsiteX92" fmla="*/ 5777503 w 9164509"/>
              <a:gd name="connsiteY92" fmla="*/ 483079 h 1282460"/>
              <a:gd name="connsiteX93" fmla="*/ 6019043 w 9164509"/>
              <a:gd name="connsiteY93" fmla="*/ 494581 h 1282460"/>
              <a:gd name="connsiteX94" fmla="*/ 6323843 w 9164509"/>
              <a:gd name="connsiteY94" fmla="*/ 488830 h 1282460"/>
              <a:gd name="connsiteX95" fmla="*/ 6364100 w 9164509"/>
              <a:gd name="connsiteY95" fmla="*/ 477328 h 1282460"/>
              <a:gd name="connsiteX96" fmla="*/ 6415858 w 9164509"/>
              <a:gd name="connsiteY96" fmla="*/ 465826 h 1282460"/>
              <a:gd name="connsiteX97" fmla="*/ 6444613 w 9164509"/>
              <a:gd name="connsiteY97" fmla="*/ 460075 h 1282460"/>
              <a:gd name="connsiteX98" fmla="*/ 6473367 w 9164509"/>
              <a:gd name="connsiteY98" fmla="*/ 448574 h 1282460"/>
              <a:gd name="connsiteX99" fmla="*/ 6536628 w 9164509"/>
              <a:gd name="connsiteY99" fmla="*/ 437072 h 1282460"/>
              <a:gd name="connsiteX100" fmla="*/ 6582635 w 9164509"/>
              <a:gd name="connsiteY100" fmla="*/ 425570 h 1282460"/>
              <a:gd name="connsiteX101" fmla="*/ 6645896 w 9164509"/>
              <a:gd name="connsiteY101" fmla="*/ 408317 h 1282460"/>
              <a:gd name="connsiteX102" fmla="*/ 6663149 w 9164509"/>
              <a:gd name="connsiteY102" fmla="*/ 396815 h 1282460"/>
              <a:gd name="connsiteX103" fmla="*/ 6703405 w 9164509"/>
              <a:gd name="connsiteY103" fmla="*/ 385313 h 1282460"/>
              <a:gd name="connsiteX104" fmla="*/ 6766666 w 9164509"/>
              <a:gd name="connsiteY104" fmla="*/ 362309 h 1282460"/>
              <a:gd name="connsiteX105" fmla="*/ 6801171 w 9164509"/>
              <a:gd name="connsiteY105" fmla="*/ 350807 h 1282460"/>
              <a:gd name="connsiteX106" fmla="*/ 6824175 w 9164509"/>
              <a:gd name="connsiteY106" fmla="*/ 339306 h 1282460"/>
              <a:gd name="connsiteX107" fmla="*/ 6870183 w 9164509"/>
              <a:gd name="connsiteY107" fmla="*/ 333555 h 1282460"/>
              <a:gd name="connsiteX108" fmla="*/ 6921941 w 9164509"/>
              <a:gd name="connsiteY108" fmla="*/ 322053 h 1282460"/>
              <a:gd name="connsiteX109" fmla="*/ 6950696 w 9164509"/>
              <a:gd name="connsiteY109" fmla="*/ 316302 h 1282460"/>
              <a:gd name="connsiteX110" fmla="*/ 6985201 w 9164509"/>
              <a:gd name="connsiteY110" fmla="*/ 310551 h 1282460"/>
              <a:gd name="connsiteX111" fmla="*/ 7140477 w 9164509"/>
              <a:gd name="connsiteY111" fmla="*/ 304800 h 1282460"/>
              <a:gd name="connsiteX112" fmla="*/ 7939858 w 9164509"/>
              <a:gd name="connsiteY112" fmla="*/ 299049 h 1282460"/>
              <a:gd name="connsiteX113" fmla="*/ 7997367 w 9164509"/>
              <a:gd name="connsiteY113" fmla="*/ 293298 h 1282460"/>
              <a:gd name="connsiteX114" fmla="*/ 8135390 w 9164509"/>
              <a:gd name="connsiteY114" fmla="*/ 264543 h 1282460"/>
              <a:gd name="connsiteX115" fmla="*/ 8158394 w 9164509"/>
              <a:gd name="connsiteY115" fmla="*/ 258792 h 1282460"/>
              <a:gd name="connsiteX116" fmla="*/ 8181398 w 9164509"/>
              <a:gd name="connsiteY116" fmla="*/ 247290 h 1282460"/>
              <a:gd name="connsiteX117" fmla="*/ 8204401 w 9164509"/>
              <a:gd name="connsiteY117" fmla="*/ 241540 h 1282460"/>
              <a:gd name="connsiteX118" fmla="*/ 8238907 w 9164509"/>
              <a:gd name="connsiteY118" fmla="*/ 230038 h 1282460"/>
              <a:gd name="connsiteX119" fmla="*/ 8256160 w 9164509"/>
              <a:gd name="connsiteY119" fmla="*/ 224287 h 1282460"/>
              <a:gd name="connsiteX120" fmla="*/ 8279164 w 9164509"/>
              <a:gd name="connsiteY120" fmla="*/ 218536 h 1282460"/>
              <a:gd name="connsiteX121" fmla="*/ 8307918 w 9164509"/>
              <a:gd name="connsiteY121" fmla="*/ 201283 h 1282460"/>
              <a:gd name="connsiteX122" fmla="*/ 8342424 w 9164509"/>
              <a:gd name="connsiteY122" fmla="*/ 189781 h 1282460"/>
              <a:gd name="connsiteX123" fmla="*/ 8382681 w 9164509"/>
              <a:gd name="connsiteY123" fmla="*/ 172528 h 1282460"/>
              <a:gd name="connsiteX124" fmla="*/ 8405684 w 9164509"/>
              <a:gd name="connsiteY124" fmla="*/ 161026 h 1282460"/>
              <a:gd name="connsiteX125" fmla="*/ 8422937 w 9164509"/>
              <a:gd name="connsiteY125" fmla="*/ 155275 h 1282460"/>
              <a:gd name="connsiteX126" fmla="*/ 8451692 w 9164509"/>
              <a:gd name="connsiteY126" fmla="*/ 143774 h 1282460"/>
              <a:gd name="connsiteX127" fmla="*/ 8497700 w 9164509"/>
              <a:gd name="connsiteY127" fmla="*/ 120770 h 1282460"/>
              <a:gd name="connsiteX128" fmla="*/ 8526454 w 9164509"/>
              <a:gd name="connsiteY128" fmla="*/ 115019 h 1282460"/>
              <a:gd name="connsiteX129" fmla="*/ 8543707 w 9164509"/>
              <a:gd name="connsiteY129" fmla="*/ 109268 h 1282460"/>
              <a:gd name="connsiteX130" fmla="*/ 8566711 w 9164509"/>
              <a:gd name="connsiteY130" fmla="*/ 103517 h 1282460"/>
              <a:gd name="connsiteX131" fmla="*/ 8583964 w 9164509"/>
              <a:gd name="connsiteY131" fmla="*/ 92015 h 1282460"/>
              <a:gd name="connsiteX132" fmla="*/ 8612718 w 9164509"/>
              <a:gd name="connsiteY132" fmla="*/ 86264 h 1282460"/>
              <a:gd name="connsiteX133" fmla="*/ 8658726 w 9164509"/>
              <a:gd name="connsiteY133" fmla="*/ 74762 h 1282460"/>
              <a:gd name="connsiteX134" fmla="*/ 8687481 w 9164509"/>
              <a:gd name="connsiteY134" fmla="*/ 69011 h 1282460"/>
              <a:gd name="connsiteX135" fmla="*/ 8750741 w 9164509"/>
              <a:gd name="connsiteY135" fmla="*/ 51758 h 1282460"/>
              <a:gd name="connsiteX136" fmla="*/ 8814001 w 9164509"/>
              <a:gd name="connsiteY136" fmla="*/ 46007 h 1282460"/>
              <a:gd name="connsiteX137" fmla="*/ 8883013 w 9164509"/>
              <a:gd name="connsiteY137" fmla="*/ 51758 h 1282460"/>
              <a:gd name="connsiteX138" fmla="*/ 8980779 w 9164509"/>
              <a:gd name="connsiteY138" fmla="*/ 40257 h 1282460"/>
              <a:gd name="connsiteX139" fmla="*/ 9044039 w 9164509"/>
              <a:gd name="connsiteY139" fmla="*/ 23004 h 1282460"/>
              <a:gd name="connsiteX140" fmla="*/ 9159058 w 9164509"/>
              <a:gd name="connsiteY140" fmla="*/ 17253 h 1282460"/>
              <a:gd name="connsiteX141" fmla="*/ 9159058 w 9164509"/>
              <a:gd name="connsiteY141" fmla="*/ 1282460 h 1282460"/>
              <a:gd name="connsiteX0" fmla="*/ 15058 w 9164509"/>
              <a:gd name="connsiteY0" fmla="*/ 1236453 h 1282460"/>
              <a:gd name="connsiteX1" fmla="*/ 15059 w 9164509"/>
              <a:gd name="connsiteY1" fmla="*/ 46008 h 1282460"/>
              <a:gd name="connsiteX2" fmla="*/ 95571 w 9164509"/>
              <a:gd name="connsiteY2" fmla="*/ 28755 h 1282460"/>
              <a:gd name="connsiteX3" fmla="*/ 164583 w 9164509"/>
              <a:gd name="connsiteY3" fmla="*/ 17253 h 1282460"/>
              <a:gd name="connsiteX4" fmla="*/ 216341 w 9164509"/>
              <a:gd name="connsiteY4" fmla="*/ 5751 h 1282460"/>
              <a:gd name="connsiteX5" fmla="*/ 296854 w 9164509"/>
              <a:gd name="connsiteY5" fmla="*/ 0 h 1282460"/>
              <a:gd name="connsiteX6" fmla="*/ 578650 w 9164509"/>
              <a:gd name="connsiteY6" fmla="*/ 5751 h 1282460"/>
              <a:gd name="connsiteX7" fmla="*/ 676416 w 9164509"/>
              <a:gd name="connsiteY7" fmla="*/ 23004 h 1282460"/>
              <a:gd name="connsiteX8" fmla="*/ 722424 w 9164509"/>
              <a:gd name="connsiteY8" fmla="*/ 28755 h 1282460"/>
              <a:gd name="connsiteX9" fmla="*/ 751179 w 9164509"/>
              <a:gd name="connsiteY9" fmla="*/ 34506 h 1282460"/>
              <a:gd name="connsiteX10" fmla="*/ 814439 w 9164509"/>
              <a:gd name="connsiteY10" fmla="*/ 46007 h 1282460"/>
              <a:gd name="connsiteX11" fmla="*/ 900703 w 9164509"/>
              <a:gd name="connsiteY11" fmla="*/ 63260 h 1282460"/>
              <a:gd name="connsiteX12" fmla="*/ 986967 w 9164509"/>
              <a:gd name="connsiteY12" fmla="*/ 86264 h 1282460"/>
              <a:gd name="connsiteX13" fmla="*/ 1038726 w 9164509"/>
              <a:gd name="connsiteY13" fmla="*/ 92015 h 1282460"/>
              <a:gd name="connsiteX14" fmla="*/ 1055979 w 9164509"/>
              <a:gd name="connsiteY14" fmla="*/ 97766 h 1282460"/>
              <a:gd name="connsiteX15" fmla="*/ 1124990 w 9164509"/>
              <a:gd name="connsiteY15" fmla="*/ 109268 h 1282460"/>
              <a:gd name="connsiteX16" fmla="*/ 1205503 w 9164509"/>
              <a:gd name="connsiteY16" fmla="*/ 126521 h 1282460"/>
              <a:gd name="connsiteX17" fmla="*/ 1309020 w 9164509"/>
              <a:gd name="connsiteY17" fmla="*/ 143774 h 1282460"/>
              <a:gd name="connsiteX18" fmla="*/ 1372281 w 9164509"/>
              <a:gd name="connsiteY18" fmla="*/ 161026 h 1282460"/>
              <a:gd name="connsiteX19" fmla="*/ 1412537 w 9164509"/>
              <a:gd name="connsiteY19" fmla="*/ 166777 h 1282460"/>
              <a:gd name="connsiteX20" fmla="*/ 1504552 w 9164509"/>
              <a:gd name="connsiteY20" fmla="*/ 189781 h 1282460"/>
              <a:gd name="connsiteX21" fmla="*/ 1550560 w 9164509"/>
              <a:gd name="connsiteY21" fmla="*/ 201283 h 1282460"/>
              <a:gd name="connsiteX22" fmla="*/ 1636824 w 9164509"/>
              <a:gd name="connsiteY22" fmla="*/ 212785 h 1282460"/>
              <a:gd name="connsiteX23" fmla="*/ 1705835 w 9164509"/>
              <a:gd name="connsiteY23" fmla="*/ 230038 h 1282460"/>
              <a:gd name="connsiteX24" fmla="*/ 1728839 w 9164509"/>
              <a:gd name="connsiteY24" fmla="*/ 235789 h 1282460"/>
              <a:gd name="connsiteX25" fmla="*/ 1774847 w 9164509"/>
              <a:gd name="connsiteY25" fmla="*/ 241540 h 1282460"/>
              <a:gd name="connsiteX26" fmla="*/ 1797850 w 9164509"/>
              <a:gd name="connsiteY26" fmla="*/ 247290 h 1282460"/>
              <a:gd name="connsiteX27" fmla="*/ 1884115 w 9164509"/>
              <a:gd name="connsiteY27" fmla="*/ 258792 h 1282460"/>
              <a:gd name="connsiteX28" fmla="*/ 1976130 w 9164509"/>
              <a:gd name="connsiteY28" fmla="*/ 270294 h 1282460"/>
              <a:gd name="connsiteX29" fmla="*/ 2027888 w 9164509"/>
              <a:gd name="connsiteY29" fmla="*/ 276045 h 1282460"/>
              <a:gd name="connsiteX30" fmla="*/ 2062394 w 9164509"/>
              <a:gd name="connsiteY30" fmla="*/ 281796 h 1282460"/>
              <a:gd name="connsiteX31" fmla="*/ 2252175 w 9164509"/>
              <a:gd name="connsiteY31" fmla="*/ 293298 h 1282460"/>
              <a:gd name="connsiteX32" fmla="*/ 2482213 w 9164509"/>
              <a:gd name="connsiteY32" fmla="*/ 287547 h 1282460"/>
              <a:gd name="connsiteX33" fmla="*/ 2510967 w 9164509"/>
              <a:gd name="connsiteY33" fmla="*/ 281796 h 1282460"/>
              <a:gd name="connsiteX34" fmla="*/ 2574228 w 9164509"/>
              <a:gd name="connsiteY34" fmla="*/ 276045 h 1282460"/>
              <a:gd name="connsiteX35" fmla="*/ 2602983 w 9164509"/>
              <a:gd name="connsiteY35" fmla="*/ 270294 h 1282460"/>
              <a:gd name="connsiteX36" fmla="*/ 2648990 w 9164509"/>
              <a:gd name="connsiteY36" fmla="*/ 264543 h 1282460"/>
              <a:gd name="connsiteX37" fmla="*/ 2671994 w 9164509"/>
              <a:gd name="connsiteY37" fmla="*/ 253041 h 1282460"/>
              <a:gd name="connsiteX38" fmla="*/ 2694998 w 9164509"/>
              <a:gd name="connsiteY38" fmla="*/ 247290 h 1282460"/>
              <a:gd name="connsiteX39" fmla="*/ 2712250 w 9164509"/>
              <a:gd name="connsiteY39" fmla="*/ 241540 h 1282460"/>
              <a:gd name="connsiteX40" fmla="*/ 2758258 w 9164509"/>
              <a:gd name="connsiteY40" fmla="*/ 230038 h 1282460"/>
              <a:gd name="connsiteX41" fmla="*/ 2781262 w 9164509"/>
              <a:gd name="connsiteY41" fmla="*/ 224287 h 1282460"/>
              <a:gd name="connsiteX42" fmla="*/ 2810016 w 9164509"/>
              <a:gd name="connsiteY42" fmla="*/ 207034 h 1282460"/>
              <a:gd name="connsiteX43" fmla="*/ 2844522 w 9164509"/>
              <a:gd name="connsiteY43" fmla="*/ 195532 h 1282460"/>
              <a:gd name="connsiteX44" fmla="*/ 2861775 w 9164509"/>
              <a:gd name="connsiteY44" fmla="*/ 189781 h 1282460"/>
              <a:gd name="connsiteX45" fmla="*/ 2925035 w 9164509"/>
              <a:gd name="connsiteY45" fmla="*/ 172528 h 1282460"/>
              <a:gd name="connsiteX46" fmla="*/ 2976794 w 9164509"/>
              <a:gd name="connsiteY46" fmla="*/ 149524 h 1282460"/>
              <a:gd name="connsiteX47" fmla="*/ 2994047 w 9164509"/>
              <a:gd name="connsiteY47" fmla="*/ 143774 h 1282460"/>
              <a:gd name="connsiteX48" fmla="*/ 3017050 w 9164509"/>
              <a:gd name="connsiteY48" fmla="*/ 132272 h 1282460"/>
              <a:gd name="connsiteX49" fmla="*/ 3034303 w 9164509"/>
              <a:gd name="connsiteY49" fmla="*/ 126521 h 1282460"/>
              <a:gd name="connsiteX50" fmla="*/ 3057307 w 9164509"/>
              <a:gd name="connsiteY50" fmla="*/ 115019 h 1282460"/>
              <a:gd name="connsiteX51" fmla="*/ 3091813 w 9164509"/>
              <a:gd name="connsiteY51" fmla="*/ 109268 h 1282460"/>
              <a:gd name="connsiteX52" fmla="*/ 3126318 w 9164509"/>
              <a:gd name="connsiteY52" fmla="*/ 97766 h 1282460"/>
              <a:gd name="connsiteX53" fmla="*/ 3160824 w 9164509"/>
              <a:gd name="connsiteY53" fmla="*/ 92015 h 1282460"/>
              <a:gd name="connsiteX54" fmla="*/ 3183828 w 9164509"/>
              <a:gd name="connsiteY54" fmla="*/ 86264 h 1282460"/>
              <a:gd name="connsiteX55" fmla="*/ 3390862 w 9164509"/>
              <a:gd name="connsiteY55" fmla="*/ 80513 h 1282460"/>
              <a:gd name="connsiteX56" fmla="*/ 3574892 w 9164509"/>
              <a:gd name="connsiteY56" fmla="*/ 86264 h 1282460"/>
              <a:gd name="connsiteX57" fmla="*/ 3609398 w 9164509"/>
              <a:gd name="connsiteY57" fmla="*/ 103517 h 1282460"/>
              <a:gd name="connsiteX58" fmla="*/ 3649654 w 9164509"/>
              <a:gd name="connsiteY58" fmla="*/ 115019 h 1282460"/>
              <a:gd name="connsiteX59" fmla="*/ 3672658 w 9164509"/>
              <a:gd name="connsiteY59" fmla="*/ 126521 h 1282460"/>
              <a:gd name="connsiteX60" fmla="*/ 3695662 w 9164509"/>
              <a:gd name="connsiteY60" fmla="*/ 132272 h 1282460"/>
              <a:gd name="connsiteX61" fmla="*/ 3730167 w 9164509"/>
              <a:gd name="connsiteY61" fmla="*/ 143774 h 1282460"/>
              <a:gd name="connsiteX62" fmla="*/ 3747420 w 9164509"/>
              <a:gd name="connsiteY62" fmla="*/ 149524 h 1282460"/>
              <a:gd name="connsiteX63" fmla="*/ 3799179 w 9164509"/>
              <a:gd name="connsiteY63" fmla="*/ 155275 h 1282460"/>
              <a:gd name="connsiteX64" fmla="*/ 3862439 w 9164509"/>
              <a:gd name="connsiteY64" fmla="*/ 166777 h 1282460"/>
              <a:gd name="connsiteX65" fmla="*/ 3925700 w 9164509"/>
              <a:gd name="connsiteY65" fmla="*/ 172528 h 1282460"/>
              <a:gd name="connsiteX66" fmla="*/ 3994711 w 9164509"/>
              <a:gd name="connsiteY66" fmla="*/ 184030 h 1282460"/>
              <a:gd name="connsiteX67" fmla="*/ 4057971 w 9164509"/>
              <a:gd name="connsiteY67" fmla="*/ 189781 h 1282460"/>
              <a:gd name="connsiteX68" fmla="*/ 4121232 w 9164509"/>
              <a:gd name="connsiteY68" fmla="*/ 207034 h 1282460"/>
              <a:gd name="connsiteX69" fmla="*/ 4161488 w 9164509"/>
              <a:gd name="connsiteY69" fmla="*/ 218536 h 1282460"/>
              <a:gd name="connsiteX70" fmla="*/ 4184492 w 9164509"/>
              <a:gd name="connsiteY70" fmla="*/ 230038 h 1282460"/>
              <a:gd name="connsiteX71" fmla="*/ 4218998 w 9164509"/>
              <a:gd name="connsiteY71" fmla="*/ 235789 h 1282460"/>
              <a:gd name="connsiteX72" fmla="*/ 4247752 w 9164509"/>
              <a:gd name="connsiteY72" fmla="*/ 241540 h 1282460"/>
              <a:gd name="connsiteX73" fmla="*/ 4270756 w 9164509"/>
              <a:gd name="connsiteY73" fmla="*/ 247290 h 1282460"/>
              <a:gd name="connsiteX74" fmla="*/ 4449035 w 9164509"/>
              <a:gd name="connsiteY74" fmla="*/ 253041 h 1282460"/>
              <a:gd name="connsiteX75" fmla="*/ 4518047 w 9164509"/>
              <a:gd name="connsiteY75" fmla="*/ 258792 h 1282460"/>
              <a:gd name="connsiteX76" fmla="*/ 4541050 w 9164509"/>
              <a:gd name="connsiteY76" fmla="*/ 270294 h 1282460"/>
              <a:gd name="connsiteX77" fmla="*/ 4592809 w 9164509"/>
              <a:gd name="connsiteY77" fmla="*/ 293298 h 1282460"/>
              <a:gd name="connsiteX78" fmla="*/ 4644567 w 9164509"/>
              <a:gd name="connsiteY78" fmla="*/ 316302 h 1282460"/>
              <a:gd name="connsiteX79" fmla="*/ 4696326 w 9164509"/>
              <a:gd name="connsiteY79" fmla="*/ 339306 h 1282460"/>
              <a:gd name="connsiteX80" fmla="*/ 4719330 w 9164509"/>
              <a:gd name="connsiteY80" fmla="*/ 350807 h 1282460"/>
              <a:gd name="connsiteX81" fmla="*/ 4771088 w 9164509"/>
              <a:gd name="connsiteY81" fmla="*/ 368060 h 1282460"/>
              <a:gd name="connsiteX82" fmla="*/ 4788341 w 9164509"/>
              <a:gd name="connsiteY82" fmla="*/ 373811 h 1282460"/>
              <a:gd name="connsiteX83" fmla="*/ 4817096 w 9164509"/>
              <a:gd name="connsiteY83" fmla="*/ 391064 h 1282460"/>
              <a:gd name="connsiteX84" fmla="*/ 4857352 w 9164509"/>
              <a:gd name="connsiteY84" fmla="*/ 402566 h 1282460"/>
              <a:gd name="connsiteX85" fmla="*/ 4891858 w 9164509"/>
              <a:gd name="connsiteY85" fmla="*/ 414068 h 1282460"/>
              <a:gd name="connsiteX86" fmla="*/ 4932115 w 9164509"/>
              <a:gd name="connsiteY86" fmla="*/ 419819 h 1282460"/>
              <a:gd name="connsiteX87" fmla="*/ 5087390 w 9164509"/>
              <a:gd name="connsiteY87" fmla="*/ 431321 h 1282460"/>
              <a:gd name="connsiteX88" fmla="*/ 5277171 w 9164509"/>
              <a:gd name="connsiteY88" fmla="*/ 442823 h 1282460"/>
              <a:gd name="connsiteX89" fmla="*/ 5397941 w 9164509"/>
              <a:gd name="connsiteY89" fmla="*/ 454324 h 1282460"/>
              <a:gd name="connsiteX90" fmla="*/ 5535964 w 9164509"/>
              <a:gd name="connsiteY90" fmla="*/ 465826 h 1282460"/>
              <a:gd name="connsiteX91" fmla="*/ 5593473 w 9164509"/>
              <a:gd name="connsiteY91" fmla="*/ 471577 h 1282460"/>
              <a:gd name="connsiteX92" fmla="*/ 5777503 w 9164509"/>
              <a:gd name="connsiteY92" fmla="*/ 483079 h 1282460"/>
              <a:gd name="connsiteX93" fmla="*/ 6019043 w 9164509"/>
              <a:gd name="connsiteY93" fmla="*/ 494581 h 1282460"/>
              <a:gd name="connsiteX94" fmla="*/ 6323843 w 9164509"/>
              <a:gd name="connsiteY94" fmla="*/ 488830 h 1282460"/>
              <a:gd name="connsiteX95" fmla="*/ 6364100 w 9164509"/>
              <a:gd name="connsiteY95" fmla="*/ 477328 h 1282460"/>
              <a:gd name="connsiteX96" fmla="*/ 6415858 w 9164509"/>
              <a:gd name="connsiteY96" fmla="*/ 465826 h 1282460"/>
              <a:gd name="connsiteX97" fmla="*/ 6444613 w 9164509"/>
              <a:gd name="connsiteY97" fmla="*/ 460075 h 1282460"/>
              <a:gd name="connsiteX98" fmla="*/ 6473367 w 9164509"/>
              <a:gd name="connsiteY98" fmla="*/ 448574 h 1282460"/>
              <a:gd name="connsiteX99" fmla="*/ 6536628 w 9164509"/>
              <a:gd name="connsiteY99" fmla="*/ 437072 h 1282460"/>
              <a:gd name="connsiteX100" fmla="*/ 6582635 w 9164509"/>
              <a:gd name="connsiteY100" fmla="*/ 425570 h 1282460"/>
              <a:gd name="connsiteX101" fmla="*/ 6645896 w 9164509"/>
              <a:gd name="connsiteY101" fmla="*/ 408317 h 1282460"/>
              <a:gd name="connsiteX102" fmla="*/ 6663149 w 9164509"/>
              <a:gd name="connsiteY102" fmla="*/ 396815 h 1282460"/>
              <a:gd name="connsiteX103" fmla="*/ 6703405 w 9164509"/>
              <a:gd name="connsiteY103" fmla="*/ 385313 h 1282460"/>
              <a:gd name="connsiteX104" fmla="*/ 6766666 w 9164509"/>
              <a:gd name="connsiteY104" fmla="*/ 362309 h 1282460"/>
              <a:gd name="connsiteX105" fmla="*/ 6801171 w 9164509"/>
              <a:gd name="connsiteY105" fmla="*/ 350807 h 1282460"/>
              <a:gd name="connsiteX106" fmla="*/ 6824175 w 9164509"/>
              <a:gd name="connsiteY106" fmla="*/ 339306 h 1282460"/>
              <a:gd name="connsiteX107" fmla="*/ 6870183 w 9164509"/>
              <a:gd name="connsiteY107" fmla="*/ 333555 h 1282460"/>
              <a:gd name="connsiteX108" fmla="*/ 6921941 w 9164509"/>
              <a:gd name="connsiteY108" fmla="*/ 322053 h 1282460"/>
              <a:gd name="connsiteX109" fmla="*/ 6950696 w 9164509"/>
              <a:gd name="connsiteY109" fmla="*/ 316302 h 1282460"/>
              <a:gd name="connsiteX110" fmla="*/ 6985201 w 9164509"/>
              <a:gd name="connsiteY110" fmla="*/ 310551 h 1282460"/>
              <a:gd name="connsiteX111" fmla="*/ 7140477 w 9164509"/>
              <a:gd name="connsiteY111" fmla="*/ 304800 h 1282460"/>
              <a:gd name="connsiteX112" fmla="*/ 7939858 w 9164509"/>
              <a:gd name="connsiteY112" fmla="*/ 299049 h 1282460"/>
              <a:gd name="connsiteX113" fmla="*/ 7997367 w 9164509"/>
              <a:gd name="connsiteY113" fmla="*/ 293298 h 1282460"/>
              <a:gd name="connsiteX114" fmla="*/ 8135390 w 9164509"/>
              <a:gd name="connsiteY114" fmla="*/ 264543 h 1282460"/>
              <a:gd name="connsiteX115" fmla="*/ 8158394 w 9164509"/>
              <a:gd name="connsiteY115" fmla="*/ 258792 h 1282460"/>
              <a:gd name="connsiteX116" fmla="*/ 8181398 w 9164509"/>
              <a:gd name="connsiteY116" fmla="*/ 247290 h 1282460"/>
              <a:gd name="connsiteX117" fmla="*/ 8204401 w 9164509"/>
              <a:gd name="connsiteY117" fmla="*/ 241540 h 1282460"/>
              <a:gd name="connsiteX118" fmla="*/ 8238907 w 9164509"/>
              <a:gd name="connsiteY118" fmla="*/ 230038 h 1282460"/>
              <a:gd name="connsiteX119" fmla="*/ 8256160 w 9164509"/>
              <a:gd name="connsiteY119" fmla="*/ 224287 h 1282460"/>
              <a:gd name="connsiteX120" fmla="*/ 8279164 w 9164509"/>
              <a:gd name="connsiteY120" fmla="*/ 218536 h 1282460"/>
              <a:gd name="connsiteX121" fmla="*/ 8307918 w 9164509"/>
              <a:gd name="connsiteY121" fmla="*/ 201283 h 1282460"/>
              <a:gd name="connsiteX122" fmla="*/ 8342424 w 9164509"/>
              <a:gd name="connsiteY122" fmla="*/ 189781 h 1282460"/>
              <a:gd name="connsiteX123" fmla="*/ 8382681 w 9164509"/>
              <a:gd name="connsiteY123" fmla="*/ 172528 h 1282460"/>
              <a:gd name="connsiteX124" fmla="*/ 8405684 w 9164509"/>
              <a:gd name="connsiteY124" fmla="*/ 161026 h 1282460"/>
              <a:gd name="connsiteX125" fmla="*/ 8422937 w 9164509"/>
              <a:gd name="connsiteY125" fmla="*/ 155275 h 1282460"/>
              <a:gd name="connsiteX126" fmla="*/ 8451692 w 9164509"/>
              <a:gd name="connsiteY126" fmla="*/ 143774 h 1282460"/>
              <a:gd name="connsiteX127" fmla="*/ 8497700 w 9164509"/>
              <a:gd name="connsiteY127" fmla="*/ 120770 h 1282460"/>
              <a:gd name="connsiteX128" fmla="*/ 8526454 w 9164509"/>
              <a:gd name="connsiteY128" fmla="*/ 115019 h 1282460"/>
              <a:gd name="connsiteX129" fmla="*/ 8543707 w 9164509"/>
              <a:gd name="connsiteY129" fmla="*/ 109268 h 1282460"/>
              <a:gd name="connsiteX130" fmla="*/ 8566711 w 9164509"/>
              <a:gd name="connsiteY130" fmla="*/ 103517 h 1282460"/>
              <a:gd name="connsiteX131" fmla="*/ 8583964 w 9164509"/>
              <a:gd name="connsiteY131" fmla="*/ 92015 h 1282460"/>
              <a:gd name="connsiteX132" fmla="*/ 8612718 w 9164509"/>
              <a:gd name="connsiteY132" fmla="*/ 86264 h 1282460"/>
              <a:gd name="connsiteX133" fmla="*/ 8658726 w 9164509"/>
              <a:gd name="connsiteY133" fmla="*/ 74762 h 1282460"/>
              <a:gd name="connsiteX134" fmla="*/ 8687481 w 9164509"/>
              <a:gd name="connsiteY134" fmla="*/ 69011 h 1282460"/>
              <a:gd name="connsiteX135" fmla="*/ 8750741 w 9164509"/>
              <a:gd name="connsiteY135" fmla="*/ 51758 h 1282460"/>
              <a:gd name="connsiteX136" fmla="*/ 8814001 w 9164509"/>
              <a:gd name="connsiteY136" fmla="*/ 46007 h 1282460"/>
              <a:gd name="connsiteX137" fmla="*/ 8883013 w 9164509"/>
              <a:gd name="connsiteY137" fmla="*/ 51758 h 1282460"/>
              <a:gd name="connsiteX138" fmla="*/ 8980779 w 9164509"/>
              <a:gd name="connsiteY138" fmla="*/ 40257 h 1282460"/>
              <a:gd name="connsiteX139" fmla="*/ 9044039 w 9164509"/>
              <a:gd name="connsiteY139" fmla="*/ 23004 h 1282460"/>
              <a:gd name="connsiteX140" fmla="*/ 9159058 w 9164509"/>
              <a:gd name="connsiteY140" fmla="*/ 17253 h 1282460"/>
              <a:gd name="connsiteX141" fmla="*/ 9159058 w 9164509"/>
              <a:gd name="connsiteY141" fmla="*/ 1282460 h 1282460"/>
              <a:gd name="connsiteX0" fmla="*/ 0 w 9149451"/>
              <a:gd name="connsiteY0" fmla="*/ 1236453 h 1282460"/>
              <a:gd name="connsiteX1" fmla="*/ 80513 w 9149451"/>
              <a:gd name="connsiteY1" fmla="*/ 28755 h 1282460"/>
              <a:gd name="connsiteX2" fmla="*/ 149525 w 9149451"/>
              <a:gd name="connsiteY2" fmla="*/ 17253 h 1282460"/>
              <a:gd name="connsiteX3" fmla="*/ 201283 w 9149451"/>
              <a:gd name="connsiteY3" fmla="*/ 5751 h 1282460"/>
              <a:gd name="connsiteX4" fmla="*/ 281796 w 9149451"/>
              <a:gd name="connsiteY4" fmla="*/ 0 h 1282460"/>
              <a:gd name="connsiteX5" fmla="*/ 563592 w 9149451"/>
              <a:gd name="connsiteY5" fmla="*/ 5751 h 1282460"/>
              <a:gd name="connsiteX6" fmla="*/ 661358 w 9149451"/>
              <a:gd name="connsiteY6" fmla="*/ 23004 h 1282460"/>
              <a:gd name="connsiteX7" fmla="*/ 707366 w 9149451"/>
              <a:gd name="connsiteY7" fmla="*/ 28755 h 1282460"/>
              <a:gd name="connsiteX8" fmla="*/ 736121 w 9149451"/>
              <a:gd name="connsiteY8" fmla="*/ 34506 h 1282460"/>
              <a:gd name="connsiteX9" fmla="*/ 799381 w 9149451"/>
              <a:gd name="connsiteY9" fmla="*/ 46007 h 1282460"/>
              <a:gd name="connsiteX10" fmla="*/ 885645 w 9149451"/>
              <a:gd name="connsiteY10" fmla="*/ 63260 h 1282460"/>
              <a:gd name="connsiteX11" fmla="*/ 971909 w 9149451"/>
              <a:gd name="connsiteY11" fmla="*/ 86264 h 1282460"/>
              <a:gd name="connsiteX12" fmla="*/ 1023668 w 9149451"/>
              <a:gd name="connsiteY12" fmla="*/ 92015 h 1282460"/>
              <a:gd name="connsiteX13" fmla="*/ 1040921 w 9149451"/>
              <a:gd name="connsiteY13" fmla="*/ 97766 h 1282460"/>
              <a:gd name="connsiteX14" fmla="*/ 1109932 w 9149451"/>
              <a:gd name="connsiteY14" fmla="*/ 109268 h 1282460"/>
              <a:gd name="connsiteX15" fmla="*/ 1190445 w 9149451"/>
              <a:gd name="connsiteY15" fmla="*/ 126521 h 1282460"/>
              <a:gd name="connsiteX16" fmla="*/ 1293962 w 9149451"/>
              <a:gd name="connsiteY16" fmla="*/ 143774 h 1282460"/>
              <a:gd name="connsiteX17" fmla="*/ 1357223 w 9149451"/>
              <a:gd name="connsiteY17" fmla="*/ 161026 h 1282460"/>
              <a:gd name="connsiteX18" fmla="*/ 1397479 w 9149451"/>
              <a:gd name="connsiteY18" fmla="*/ 166777 h 1282460"/>
              <a:gd name="connsiteX19" fmla="*/ 1489494 w 9149451"/>
              <a:gd name="connsiteY19" fmla="*/ 189781 h 1282460"/>
              <a:gd name="connsiteX20" fmla="*/ 1535502 w 9149451"/>
              <a:gd name="connsiteY20" fmla="*/ 201283 h 1282460"/>
              <a:gd name="connsiteX21" fmla="*/ 1621766 w 9149451"/>
              <a:gd name="connsiteY21" fmla="*/ 212785 h 1282460"/>
              <a:gd name="connsiteX22" fmla="*/ 1690777 w 9149451"/>
              <a:gd name="connsiteY22" fmla="*/ 230038 h 1282460"/>
              <a:gd name="connsiteX23" fmla="*/ 1713781 w 9149451"/>
              <a:gd name="connsiteY23" fmla="*/ 235789 h 1282460"/>
              <a:gd name="connsiteX24" fmla="*/ 1759789 w 9149451"/>
              <a:gd name="connsiteY24" fmla="*/ 241540 h 1282460"/>
              <a:gd name="connsiteX25" fmla="*/ 1782792 w 9149451"/>
              <a:gd name="connsiteY25" fmla="*/ 247290 h 1282460"/>
              <a:gd name="connsiteX26" fmla="*/ 1869057 w 9149451"/>
              <a:gd name="connsiteY26" fmla="*/ 258792 h 1282460"/>
              <a:gd name="connsiteX27" fmla="*/ 1961072 w 9149451"/>
              <a:gd name="connsiteY27" fmla="*/ 270294 h 1282460"/>
              <a:gd name="connsiteX28" fmla="*/ 2012830 w 9149451"/>
              <a:gd name="connsiteY28" fmla="*/ 276045 h 1282460"/>
              <a:gd name="connsiteX29" fmla="*/ 2047336 w 9149451"/>
              <a:gd name="connsiteY29" fmla="*/ 281796 h 1282460"/>
              <a:gd name="connsiteX30" fmla="*/ 2237117 w 9149451"/>
              <a:gd name="connsiteY30" fmla="*/ 293298 h 1282460"/>
              <a:gd name="connsiteX31" fmla="*/ 2467155 w 9149451"/>
              <a:gd name="connsiteY31" fmla="*/ 287547 h 1282460"/>
              <a:gd name="connsiteX32" fmla="*/ 2495909 w 9149451"/>
              <a:gd name="connsiteY32" fmla="*/ 281796 h 1282460"/>
              <a:gd name="connsiteX33" fmla="*/ 2559170 w 9149451"/>
              <a:gd name="connsiteY33" fmla="*/ 276045 h 1282460"/>
              <a:gd name="connsiteX34" fmla="*/ 2587925 w 9149451"/>
              <a:gd name="connsiteY34" fmla="*/ 270294 h 1282460"/>
              <a:gd name="connsiteX35" fmla="*/ 2633932 w 9149451"/>
              <a:gd name="connsiteY35" fmla="*/ 264543 h 1282460"/>
              <a:gd name="connsiteX36" fmla="*/ 2656936 w 9149451"/>
              <a:gd name="connsiteY36" fmla="*/ 253041 h 1282460"/>
              <a:gd name="connsiteX37" fmla="*/ 2679940 w 9149451"/>
              <a:gd name="connsiteY37" fmla="*/ 247290 h 1282460"/>
              <a:gd name="connsiteX38" fmla="*/ 2697192 w 9149451"/>
              <a:gd name="connsiteY38" fmla="*/ 241540 h 1282460"/>
              <a:gd name="connsiteX39" fmla="*/ 2743200 w 9149451"/>
              <a:gd name="connsiteY39" fmla="*/ 230038 h 1282460"/>
              <a:gd name="connsiteX40" fmla="*/ 2766204 w 9149451"/>
              <a:gd name="connsiteY40" fmla="*/ 224287 h 1282460"/>
              <a:gd name="connsiteX41" fmla="*/ 2794958 w 9149451"/>
              <a:gd name="connsiteY41" fmla="*/ 207034 h 1282460"/>
              <a:gd name="connsiteX42" fmla="*/ 2829464 w 9149451"/>
              <a:gd name="connsiteY42" fmla="*/ 195532 h 1282460"/>
              <a:gd name="connsiteX43" fmla="*/ 2846717 w 9149451"/>
              <a:gd name="connsiteY43" fmla="*/ 189781 h 1282460"/>
              <a:gd name="connsiteX44" fmla="*/ 2909977 w 9149451"/>
              <a:gd name="connsiteY44" fmla="*/ 172528 h 1282460"/>
              <a:gd name="connsiteX45" fmla="*/ 2961736 w 9149451"/>
              <a:gd name="connsiteY45" fmla="*/ 149524 h 1282460"/>
              <a:gd name="connsiteX46" fmla="*/ 2978989 w 9149451"/>
              <a:gd name="connsiteY46" fmla="*/ 143774 h 1282460"/>
              <a:gd name="connsiteX47" fmla="*/ 3001992 w 9149451"/>
              <a:gd name="connsiteY47" fmla="*/ 132272 h 1282460"/>
              <a:gd name="connsiteX48" fmla="*/ 3019245 w 9149451"/>
              <a:gd name="connsiteY48" fmla="*/ 126521 h 1282460"/>
              <a:gd name="connsiteX49" fmla="*/ 3042249 w 9149451"/>
              <a:gd name="connsiteY49" fmla="*/ 115019 h 1282460"/>
              <a:gd name="connsiteX50" fmla="*/ 3076755 w 9149451"/>
              <a:gd name="connsiteY50" fmla="*/ 109268 h 1282460"/>
              <a:gd name="connsiteX51" fmla="*/ 3111260 w 9149451"/>
              <a:gd name="connsiteY51" fmla="*/ 97766 h 1282460"/>
              <a:gd name="connsiteX52" fmla="*/ 3145766 w 9149451"/>
              <a:gd name="connsiteY52" fmla="*/ 92015 h 1282460"/>
              <a:gd name="connsiteX53" fmla="*/ 3168770 w 9149451"/>
              <a:gd name="connsiteY53" fmla="*/ 86264 h 1282460"/>
              <a:gd name="connsiteX54" fmla="*/ 3375804 w 9149451"/>
              <a:gd name="connsiteY54" fmla="*/ 80513 h 1282460"/>
              <a:gd name="connsiteX55" fmla="*/ 3559834 w 9149451"/>
              <a:gd name="connsiteY55" fmla="*/ 86264 h 1282460"/>
              <a:gd name="connsiteX56" fmla="*/ 3594340 w 9149451"/>
              <a:gd name="connsiteY56" fmla="*/ 103517 h 1282460"/>
              <a:gd name="connsiteX57" fmla="*/ 3634596 w 9149451"/>
              <a:gd name="connsiteY57" fmla="*/ 115019 h 1282460"/>
              <a:gd name="connsiteX58" fmla="*/ 3657600 w 9149451"/>
              <a:gd name="connsiteY58" fmla="*/ 126521 h 1282460"/>
              <a:gd name="connsiteX59" fmla="*/ 3680604 w 9149451"/>
              <a:gd name="connsiteY59" fmla="*/ 132272 h 1282460"/>
              <a:gd name="connsiteX60" fmla="*/ 3715109 w 9149451"/>
              <a:gd name="connsiteY60" fmla="*/ 143774 h 1282460"/>
              <a:gd name="connsiteX61" fmla="*/ 3732362 w 9149451"/>
              <a:gd name="connsiteY61" fmla="*/ 149524 h 1282460"/>
              <a:gd name="connsiteX62" fmla="*/ 3784121 w 9149451"/>
              <a:gd name="connsiteY62" fmla="*/ 155275 h 1282460"/>
              <a:gd name="connsiteX63" fmla="*/ 3847381 w 9149451"/>
              <a:gd name="connsiteY63" fmla="*/ 166777 h 1282460"/>
              <a:gd name="connsiteX64" fmla="*/ 3910642 w 9149451"/>
              <a:gd name="connsiteY64" fmla="*/ 172528 h 1282460"/>
              <a:gd name="connsiteX65" fmla="*/ 3979653 w 9149451"/>
              <a:gd name="connsiteY65" fmla="*/ 184030 h 1282460"/>
              <a:gd name="connsiteX66" fmla="*/ 4042913 w 9149451"/>
              <a:gd name="connsiteY66" fmla="*/ 189781 h 1282460"/>
              <a:gd name="connsiteX67" fmla="*/ 4106174 w 9149451"/>
              <a:gd name="connsiteY67" fmla="*/ 207034 h 1282460"/>
              <a:gd name="connsiteX68" fmla="*/ 4146430 w 9149451"/>
              <a:gd name="connsiteY68" fmla="*/ 218536 h 1282460"/>
              <a:gd name="connsiteX69" fmla="*/ 4169434 w 9149451"/>
              <a:gd name="connsiteY69" fmla="*/ 230038 h 1282460"/>
              <a:gd name="connsiteX70" fmla="*/ 4203940 w 9149451"/>
              <a:gd name="connsiteY70" fmla="*/ 235789 h 1282460"/>
              <a:gd name="connsiteX71" fmla="*/ 4232694 w 9149451"/>
              <a:gd name="connsiteY71" fmla="*/ 241540 h 1282460"/>
              <a:gd name="connsiteX72" fmla="*/ 4255698 w 9149451"/>
              <a:gd name="connsiteY72" fmla="*/ 247290 h 1282460"/>
              <a:gd name="connsiteX73" fmla="*/ 4433977 w 9149451"/>
              <a:gd name="connsiteY73" fmla="*/ 253041 h 1282460"/>
              <a:gd name="connsiteX74" fmla="*/ 4502989 w 9149451"/>
              <a:gd name="connsiteY74" fmla="*/ 258792 h 1282460"/>
              <a:gd name="connsiteX75" fmla="*/ 4525992 w 9149451"/>
              <a:gd name="connsiteY75" fmla="*/ 270294 h 1282460"/>
              <a:gd name="connsiteX76" fmla="*/ 4577751 w 9149451"/>
              <a:gd name="connsiteY76" fmla="*/ 293298 h 1282460"/>
              <a:gd name="connsiteX77" fmla="*/ 4629509 w 9149451"/>
              <a:gd name="connsiteY77" fmla="*/ 316302 h 1282460"/>
              <a:gd name="connsiteX78" fmla="*/ 4681268 w 9149451"/>
              <a:gd name="connsiteY78" fmla="*/ 339306 h 1282460"/>
              <a:gd name="connsiteX79" fmla="*/ 4704272 w 9149451"/>
              <a:gd name="connsiteY79" fmla="*/ 350807 h 1282460"/>
              <a:gd name="connsiteX80" fmla="*/ 4756030 w 9149451"/>
              <a:gd name="connsiteY80" fmla="*/ 368060 h 1282460"/>
              <a:gd name="connsiteX81" fmla="*/ 4773283 w 9149451"/>
              <a:gd name="connsiteY81" fmla="*/ 373811 h 1282460"/>
              <a:gd name="connsiteX82" fmla="*/ 4802038 w 9149451"/>
              <a:gd name="connsiteY82" fmla="*/ 391064 h 1282460"/>
              <a:gd name="connsiteX83" fmla="*/ 4842294 w 9149451"/>
              <a:gd name="connsiteY83" fmla="*/ 402566 h 1282460"/>
              <a:gd name="connsiteX84" fmla="*/ 4876800 w 9149451"/>
              <a:gd name="connsiteY84" fmla="*/ 414068 h 1282460"/>
              <a:gd name="connsiteX85" fmla="*/ 4917057 w 9149451"/>
              <a:gd name="connsiteY85" fmla="*/ 419819 h 1282460"/>
              <a:gd name="connsiteX86" fmla="*/ 5072332 w 9149451"/>
              <a:gd name="connsiteY86" fmla="*/ 431321 h 1282460"/>
              <a:gd name="connsiteX87" fmla="*/ 5262113 w 9149451"/>
              <a:gd name="connsiteY87" fmla="*/ 442823 h 1282460"/>
              <a:gd name="connsiteX88" fmla="*/ 5382883 w 9149451"/>
              <a:gd name="connsiteY88" fmla="*/ 454324 h 1282460"/>
              <a:gd name="connsiteX89" fmla="*/ 5520906 w 9149451"/>
              <a:gd name="connsiteY89" fmla="*/ 465826 h 1282460"/>
              <a:gd name="connsiteX90" fmla="*/ 5578415 w 9149451"/>
              <a:gd name="connsiteY90" fmla="*/ 471577 h 1282460"/>
              <a:gd name="connsiteX91" fmla="*/ 5762445 w 9149451"/>
              <a:gd name="connsiteY91" fmla="*/ 483079 h 1282460"/>
              <a:gd name="connsiteX92" fmla="*/ 6003985 w 9149451"/>
              <a:gd name="connsiteY92" fmla="*/ 494581 h 1282460"/>
              <a:gd name="connsiteX93" fmla="*/ 6308785 w 9149451"/>
              <a:gd name="connsiteY93" fmla="*/ 488830 h 1282460"/>
              <a:gd name="connsiteX94" fmla="*/ 6349042 w 9149451"/>
              <a:gd name="connsiteY94" fmla="*/ 477328 h 1282460"/>
              <a:gd name="connsiteX95" fmla="*/ 6400800 w 9149451"/>
              <a:gd name="connsiteY95" fmla="*/ 465826 h 1282460"/>
              <a:gd name="connsiteX96" fmla="*/ 6429555 w 9149451"/>
              <a:gd name="connsiteY96" fmla="*/ 460075 h 1282460"/>
              <a:gd name="connsiteX97" fmla="*/ 6458309 w 9149451"/>
              <a:gd name="connsiteY97" fmla="*/ 448574 h 1282460"/>
              <a:gd name="connsiteX98" fmla="*/ 6521570 w 9149451"/>
              <a:gd name="connsiteY98" fmla="*/ 437072 h 1282460"/>
              <a:gd name="connsiteX99" fmla="*/ 6567577 w 9149451"/>
              <a:gd name="connsiteY99" fmla="*/ 425570 h 1282460"/>
              <a:gd name="connsiteX100" fmla="*/ 6630838 w 9149451"/>
              <a:gd name="connsiteY100" fmla="*/ 408317 h 1282460"/>
              <a:gd name="connsiteX101" fmla="*/ 6648091 w 9149451"/>
              <a:gd name="connsiteY101" fmla="*/ 396815 h 1282460"/>
              <a:gd name="connsiteX102" fmla="*/ 6688347 w 9149451"/>
              <a:gd name="connsiteY102" fmla="*/ 385313 h 1282460"/>
              <a:gd name="connsiteX103" fmla="*/ 6751608 w 9149451"/>
              <a:gd name="connsiteY103" fmla="*/ 362309 h 1282460"/>
              <a:gd name="connsiteX104" fmla="*/ 6786113 w 9149451"/>
              <a:gd name="connsiteY104" fmla="*/ 350807 h 1282460"/>
              <a:gd name="connsiteX105" fmla="*/ 6809117 w 9149451"/>
              <a:gd name="connsiteY105" fmla="*/ 339306 h 1282460"/>
              <a:gd name="connsiteX106" fmla="*/ 6855125 w 9149451"/>
              <a:gd name="connsiteY106" fmla="*/ 333555 h 1282460"/>
              <a:gd name="connsiteX107" fmla="*/ 6906883 w 9149451"/>
              <a:gd name="connsiteY107" fmla="*/ 322053 h 1282460"/>
              <a:gd name="connsiteX108" fmla="*/ 6935638 w 9149451"/>
              <a:gd name="connsiteY108" fmla="*/ 316302 h 1282460"/>
              <a:gd name="connsiteX109" fmla="*/ 6970143 w 9149451"/>
              <a:gd name="connsiteY109" fmla="*/ 310551 h 1282460"/>
              <a:gd name="connsiteX110" fmla="*/ 7125419 w 9149451"/>
              <a:gd name="connsiteY110" fmla="*/ 304800 h 1282460"/>
              <a:gd name="connsiteX111" fmla="*/ 7924800 w 9149451"/>
              <a:gd name="connsiteY111" fmla="*/ 299049 h 1282460"/>
              <a:gd name="connsiteX112" fmla="*/ 7982309 w 9149451"/>
              <a:gd name="connsiteY112" fmla="*/ 293298 h 1282460"/>
              <a:gd name="connsiteX113" fmla="*/ 8120332 w 9149451"/>
              <a:gd name="connsiteY113" fmla="*/ 264543 h 1282460"/>
              <a:gd name="connsiteX114" fmla="*/ 8143336 w 9149451"/>
              <a:gd name="connsiteY114" fmla="*/ 258792 h 1282460"/>
              <a:gd name="connsiteX115" fmla="*/ 8166340 w 9149451"/>
              <a:gd name="connsiteY115" fmla="*/ 247290 h 1282460"/>
              <a:gd name="connsiteX116" fmla="*/ 8189343 w 9149451"/>
              <a:gd name="connsiteY116" fmla="*/ 241540 h 1282460"/>
              <a:gd name="connsiteX117" fmla="*/ 8223849 w 9149451"/>
              <a:gd name="connsiteY117" fmla="*/ 230038 h 1282460"/>
              <a:gd name="connsiteX118" fmla="*/ 8241102 w 9149451"/>
              <a:gd name="connsiteY118" fmla="*/ 224287 h 1282460"/>
              <a:gd name="connsiteX119" fmla="*/ 8264106 w 9149451"/>
              <a:gd name="connsiteY119" fmla="*/ 218536 h 1282460"/>
              <a:gd name="connsiteX120" fmla="*/ 8292860 w 9149451"/>
              <a:gd name="connsiteY120" fmla="*/ 201283 h 1282460"/>
              <a:gd name="connsiteX121" fmla="*/ 8327366 w 9149451"/>
              <a:gd name="connsiteY121" fmla="*/ 189781 h 1282460"/>
              <a:gd name="connsiteX122" fmla="*/ 8367623 w 9149451"/>
              <a:gd name="connsiteY122" fmla="*/ 172528 h 1282460"/>
              <a:gd name="connsiteX123" fmla="*/ 8390626 w 9149451"/>
              <a:gd name="connsiteY123" fmla="*/ 161026 h 1282460"/>
              <a:gd name="connsiteX124" fmla="*/ 8407879 w 9149451"/>
              <a:gd name="connsiteY124" fmla="*/ 155275 h 1282460"/>
              <a:gd name="connsiteX125" fmla="*/ 8436634 w 9149451"/>
              <a:gd name="connsiteY125" fmla="*/ 143774 h 1282460"/>
              <a:gd name="connsiteX126" fmla="*/ 8482642 w 9149451"/>
              <a:gd name="connsiteY126" fmla="*/ 120770 h 1282460"/>
              <a:gd name="connsiteX127" fmla="*/ 8511396 w 9149451"/>
              <a:gd name="connsiteY127" fmla="*/ 115019 h 1282460"/>
              <a:gd name="connsiteX128" fmla="*/ 8528649 w 9149451"/>
              <a:gd name="connsiteY128" fmla="*/ 109268 h 1282460"/>
              <a:gd name="connsiteX129" fmla="*/ 8551653 w 9149451"/>
              <a:gd name="connsiteY129" fmla="*/ 103517 h 1282460"/>
              <a:gd name="connsiteX130" fmla="*/ 8568906 w 9149451"/>
              <a:gd name="connsiteY130" fmla="*/ 92015 h 1282460"/>
              <a:gd name="connsiteX131" fmla="*/ 8597660 w 9149451"/>
              <a:gd name="connsiteY131" fmla="*/ 86264 h 1282460"/>
              <a:gd name="connsiteX132" fmla="*/ 8643668 w 9149451"/>
              <a:gd name="connsiteY132" fmla="*/ 74762 h 1282460"/>
              <a:gd name="connsiteX133" fmla="*/ 8672423 w 9149451"/>
              <a:gd name="connsiteY133" fmla="*/ 69011 h 1282460"/>
              <a:gd name="connsiteX134" fmla="*/ 8735683 w 9149451"/>
              <a:gd name="connsiteY134" fmla="*/ 51758 h 1282460"/>
              <a:gd name="connsiteX135" fmla="*/ 8798943 w 9149451"/>
              <a:gd name="connsiteY135" fmla="*/ 46007 h 1282460"/>
              <a:gd name="connsiteX136" fmla="*/ 8867955 w 9149451"/>
              <a:gd name="connsiteY136" fmla="*/ 51758 h 1282460"/>
              <a:gd name="connsiteX137" fmla="*/ 8965721 w 9149451"/>
              <a:gd name="connsiteY137" fmla="*/ 40257 h 1282460"/>
              <a:gd name="connsiteX138" fmla="*/ 9028981 w 9149451"/>
              <a:gd name="connsiteY138" fmla="*/ 23004 h 1282460"/>
              <a:gd name="connsiteX139" fmla="*/ 9144000 w 9149451"/>
              <a:gd name="connsiteY139" fmla="*/ 17253 h 1282460"/>
              <a:gd name="connsiteX140" fmla="*/ 9144000 w 9149451"/>
              <a:gd name="connsiteY140" fmla="*/ 1282460 h 1282460"/>
              <a:gd name="connsiteX0" fmla="*/ 0 w 9149451"/>
              <a:gd name="connsiteY0" fmla="*/ 1236453 h 1282460"/>
              <a:gd name="connsiteX1" fmla="*/ 149525 w 9149451"/>
              <a:gd name="connsiteY1" fmla="*/ 17253 h 1282460"/>
              <a:gd name="connsiteX2" fmla="*/ 201283 w 9149451"/>
              <a:gd name="connsiteY2" fmla="*/ 5751 h 1282460"/>
              <a:gd name="connsiteX3" fmla="*/ 281796 w 9149451"/>
              <a:gd name="connsiteY3" fmla="*/ 0 h 1282460"/>
              <a:gd name="connsiteX4" fmla="*/ 563592 w 9149451"/>
              <a:gd name="connsiteY4" fmla="*/ 5751 h 1282460"/>
              <a:gd name="connsiteX5" fmla="*/ 661358 w 9149451"/>
              <a:gd name="connsiteY5" fmla="*/ 23004 h 1282460"/>
              <a:gd name="connsiteX6" fmla="*/ 707366 w 9149451"/>
              <a:gd name="connsiteY6" fmla="*/ 28755 h 1282460"/>
              <a:gd name="connsiteX7" fmla="*/ 736121 w 9149451"/>
              <a:gd name="connsiteY7" fmla="*/ 34506 h 1282460"/>
              <a:gd name="connsiteX8" fmla="*/ 799381 w 9149451"/>
              <a:gd name="connsiteY8" fmla="*/ 46007 h 1282460"/>
              <a:gd name="connsiteX9" fmla="*/ 885645 w 9149451"/>
              <a:gd name="connsiteY9" fmla="*/ 63260 h 1282460"/>
              <a:gd name="connsiteX10" fmla="*/ 971909 w 9149451"/>
              <a:gd name="connsiteY10" fmla="*/ 86264 h 1282460"/>
              <a:gd name="connsiteX11" fmla="*/ 1023668 w 9149451"/>
              <a:gd name="connsiteY11" fmla="*/ 92015 h 1282460"/>
              <a:gd name="connsiteX12" fmla="*/ 1040921 w 9149451"/>
              <a:gd name="connsiteY12" fmla="*/ 97766 h 1282460"/>
              <a:gd name="connsiteX13" fmla="*/ 1109932 w 9149451"/>
              <a:gd name="connsiteY13" fmla="*/ 109268 h 1282460"/>
              <a:gd name="connsiteX14" fmla="*/ 1190445 w 9149451"/>
              <a:gd name="connsiteY14" fmla="*/ 126521 h 1282460"/>
              <a:gd name="connsiteX15" fmla="*/ 1293962 w 9149451"/>
              <a:gd name="connsiteY15" fmla="*/ 143774 h 1282460"/>
              <a:gd name="connsiteX16" fmla="*/ 1357223 w 9149451"/>
              <a:gd name="connsiteY16" fmla="*/ 161026 h 1282460"/>
              <a:gd name="connsiteX17" fmla="*/ 1397479 w 9149451"/>
              <a:gd name="connsiteY17" fmla="*/ 166777 h 1282460"/>
              <a:gd name="connsiteX18" fmla="*/ 1489494 w 9149451"/>
              <a:gd name="connsiteY18" fmla="*/ 189781 h 1282460"/>
              <a:gd name="connsiteX19" fmla="*/ 1535502 w 9149451"/>
              <a:gd name="connsiteY19" fmla="*/ 201283 h 1282460"/>
              <a:gd name="connsiteX20" fmla="*/ 1621766 w 9149451"/>
              <a:gd name="connsiteY20" fmla="*/ 212785 h 1282460"/>
              <a:gd name="connsiteX21" fmla="*/ 1690777 w 9149451"/>
              <a:gd name="connsiteY21" fmla="*/ 230038 h 1282460"/>
              <a:gd name="connsiteX22" fmla="*/ 1713781 w 9149451"/>
              <a:gd name="connsiteY22" fmla="*/ 235789 h 1282460"/>
              <a:gd name="connsiteX23" fmla="*/ 1759789 w 9149451"/>
              <a:gd name="connsiteY23" fmla="*/ 241540 h 1282460"/>
              <a:gd name="connsiteX24" fmla="*/ 1782792 w 9149451"/>
              <a:gd name="connsiteY24" fmla="*/ 247290 h 1282460"/>
              <a:gd name="connsiteX25" fmla="*/ 1869057 w 9149451"/>
              <a:gd name="connsiteY25" fmla="*/ 258792 h 1282460"/>
              <a:gd name="connsiteX26" fmla="*/ 1961072 w 9149451"/>
              <a:gd name="connsiteY26" fmla="*/ 270294 h 1282460"/>
              <a:gd name="connsiteX27" fmla="*/ 2012830 w 9149451"/>
              <a:gd name="connsiteY27" fmla="*/ 276045 h 1282460"/>
              <a:gd name="connsiteX28" fmla="*/ 2047336 w 9149451"/>
              <a:gd name="connsiteY28" fmla="*/ 281796 h 1282460"/>
              <a:gd name="connsiteX29" fmla="*/ 2237117 w 9149451"/>
              <a:gd name="connsiteY29" fmla="*/ 293298 h 1282460"/>
              <a:gd name="connsiteX30" fmla="*/ 2467155 w 9149451"/>
              <a:gd name="connsiteY30" fmla="*/ 287547 h 1282460"/>
              <a:gd name="connsiteX31" fmla="*/ 2495909 w 9149451"/>
              <a:gd name="connsiteY31" fmla="*/ 281796 h 1282460"/>
              <a:gd name="connsiteX32" fmla="*/ 2559170 w 9149451"/>
              <a:gd name="connsiteY32" fmla="*/ 276045 h 1282460"/>
              <a:gd name="connsiteX33" fmla="*/ 2587925 w 9149451"/>
              <a:gd name="connsiteY33" fmla="*/ 270294 h 1282460"/>
              <a:gd name="connsiteX34" fmla="*/ 2633932 w 9149451"/>
              <a:gd name="connsiteY34" fmla="*/ 264543 h 1282460"/>
              <a:gd name="connsiteX35" fmla="*/ 2656936 w 9149451"/>
              <a:gd name="connsiteY35" fmla="*/ 253041 h 1282460"/>
              <a:gd name="connsiteX36" fmla="*/ 2679940 w 9149451"/>
              <a:gd name="connsiteY36" fmla="*/ 247290 h 1282460"/>
              <a:gd name="connsiteX37" fmla="*/ 2697192 w 9149451"/>
              <a:gd name="connsiteY37" fmla="*/ 241540 h 1282460"/>
              <a:gd name="connsiteX38" fmla="*/ 2743200 w 9149451"/>
              <a:gd name="connsiteY38" fmla="*/ 230038 h 1282460"/>
              <a:gd name="connsiteX39" fmla="*/ 2766204 w 9149451"/>
              <a:gd name="connsiteY39" fmla="*/ 224287 h 1282460"/>
              <a:gd name="connsiteX40" fmla="*/ 2794958 w 9149451"/>
              <a:gd name="connsiteY40" fmla="*/ 207034 h 1282460"/>
              <a:gd name="connsiteX41" fmla="*/ 2829464 w 9149451"/>
              <a:gd name="connsiteY41" fmla="*/ 195532 h 1282460"/>
              <a:gd name="connsiteX42" fmla="*/ 2846717 w 9149451"/>
              <a:gd name="connsiteY42" fmla="*/ 189781 h 1282460"/>
              <a:gd name="connsiteX43" fmla="*/ 2909977 w 9149451"/>
              <a:gd name="connsiteY43" fmla="*/ 172528 h 1282460"/>
              <a:gd name="connsiteX44" fmla="*/ 2961736 w 9149451"/>
              <a:gd name="connsiteY44" fmla="*/ 149524 h 1282460"/>
              <a:gd name="connsiteX45" fmla="*/ 2978989 w 9149451"/>
              <a:gd name="connsiteY45" fmla="*/ 143774 h 1282460"/>
              <a:gd name="connsiteX46" fmla="*/ 3001992 w 9149451"/>
              <a:gd name="connsiteY46" fmla="*/ 132272 h 1282460"/>
              <a:gd name="connsiteX47" fmla="*/ 3019245 w 9149451"/>
              <a:gd name="connsiteY47" fmla="*/ 126521 h 1282460"/>
              <a:gd name="connsiteX48" fmla="*/ 3042249 w 9149451"/>
              <a:gd name="connsiteY48" fmla="*/ 115019 h 1282460"/>
              <a:gd name="connsiteX49" fmla="*/ 3076755 w 9149451"/>
              <a:gd name="connsiteY49" fmla="*/ 109268 h 1282460"/>
              <a:gd name="connsiteX50" fmla="*/ 3111260 w 9149451"/>
              <a:gd name="connsiteY50" fmla="*/ 97766 h 1282460"/>
              <a:gd name="connsiteX51" fmla="*/ 3145766 w 9149451"/>
              <a:gd name="connsiteY51" fmla="*/ 92015 h 1282460"/>
              <a:gd name="connsiteX52" fmla="*/ 3168770 w 9149451"/>
              <a:gd name="connsiteY52" fmla="*/ 86264 h 1282460"/>
              <a:gd name="connsiteX53" fmla="*/ 3375804 w 9149451"/>
              <a:gd name="connsiteY53" fmla="*/ 80513 h 1282460"/>
              <a:gd name="connsiteX54" fmla="*/ 3559834 w 9149451"/>
              <a:gd name="connsiteY54" fmla="*/ 86264 h 1282460"/>
              <a:gd name="connsiteX55" fmla="*/ 3594340 w 9149451"/>
              <a:gd name="connsiteY55" fmla="*/ 103517 h 1282460"/>
              <a:gd name="connsiteX56" fmla="*/ 3634596 w 9149451"/>
              <a:gd name="connsiteY56" fmla="*/ 115019 h 1282460"/>
              <a:gd name="connsiteX57" fmla="*/ 3657600 w 9149451"/>
              <a:gd name="connsiteY57" fmla="*/ 126521 h 1282460"/>
              <a:gd name="connsiteX58" fmla="*/ 3680604 w 9149451"/>
              <a:gd name="connsiteY58" fmla="*/ 132272 h 1282460"/>
              <a:gd name="connsiteX59" fmla="*/ 3715109 w 9149451"/>
              <a:gd name="connsiteY59" fmla="*/ 143774 h 1282460"/>
              <a:gd name="connsiteX60" fmla="*/ 3732362 w 9149451"/>
              <a:gd name="connsiteY60" fmla="*/ 149524 h 1282460"/>
              <a:gd name="connsiteX61" fmla="*/ 3784121 w 9149451"/>
              <a:gd name="connsiteY61" fmla="*/ 155275 h 1282460"/>
              <a:gd name="connsiteX62" fmla="*/ 3847381 w 9149451"/>
              <a:gd name="connsiteY62" fmla="*/ 166777 h 1282460"/>
              <a:gd name="connsiteX63" fmla="*/ 3910642 w 9149451"/>
              <a:gd name="connsiteY63" fmla="*/ 172528 h 1282460"/>
              <a:gd name="connsiteX64" fmla="*/ 3979653 w 9149451"/>
              <a:gd name="connsiteY64" fmla="*/ 184030 h 1282460"/>
              <a:gd name="connsiteX65" fmla="*/ 4042913 w 9149451"/>
              <a:gd name="connsiteY65" fmla="*/ 189781 h 1282460"/>
              <a:gd name="connsiteX66" fmla="*/ 4106174 w 9149451"/>
              <a:gd name="connsiteY66" fmla="*/ 207034 h 1282460"/>
              <a:gd name="connsiteX67" fmla="*/ 4146430 w 9149451"/>
              <a:gd name="connsiteY67" fmla="*/ 218536 h 1282460"/>
              <a:gd name="connsiteX68" fmla="*/ 4169434 w 9149451"/>
              <a:gd name="connsiteY68" fmla="*/ 230038 h 1282460"/>
              <a:gd name="connsiteX69" fmla="*/ 4203940 w 9149451"/>
              <a:gd name="connsiteY69" fmla="*/ 235789 h 1282460"/>
              <a:gd name="connsiteX70" fmla="*/ 4232694 w 9149451"/>
              <a:gd name="connsiteY70" fmla="*/ 241540 h 1282460"/>
              <a:gd name="connsiteX71" fmla="*/ 4255698 w 9149451"/>
              <a:gd name="connsiteY71" fmla="*/ 247290 h 1282460"/>
              <a:gd name="connsiteX72" fmla="*/ 4433977 w 9149451"/>
              <a:gd name="connsiteY72" fmla="*/ 253041 h 1282460"/>
              <a:gd name="connsiteX73" fmla="*/ 4502989 w 9149451"/>
              <a:gd name="connsiteY73" fmla="*/ 258792 h 1282460"/>
              <a:gd name="connsiteX74" fmla="*/ 4525992 w 9149451"/>
              <a:gd name="connsiteY74" fmla="*/ 270294 h 1282460"/>
              <a:gd name="connsiteX75" fmla="*/ 4577751 w 9149451"/>
              <a:gd name="connsiteY75" fmla="*/ 293298 h 1282460"/>
              <a:gd name="connsiteX76" fmla="*/ 4629509 w 9149451"/>
              <a:gd name="connsiteY76" fmla="*/ 316302 h 1282460"/>
              <a:gd name="connsiteX77" fmla="*/ 4681268 w 9149451"/>
              <a:gd name="connsiteY77" fmla="*/ 339306 h 1282460"/>
              <a:gd name="connsiteX78" fmla="*/ 4704272 w 9149451"/>
              <a:gd name="connsiteY78" fmla="*/ 350807 h 1282460"/>
              <a:gd name="connsiteX79" fmla="*/ 4756030 w 9149451"/>
              <a:gd name="connsiteY79" fmla="*/ 368060 h 1282460"/>
              <a:gd name="connsiteX80" fmla="*/ 4773283 w 9149451"/>
              <a:gd name="connsiteY80" fmla="*/ 373811 h 1282460"/>
              <a:gd name="connsiteX81" fmla="*/ 4802038 w 9149451"/>
              <a:gd name="connsiteY81" fmla="*/ 391064 h 1282460"/>
              <a:gd name="connsiteX82" fmla="*/ 4842294 w 9149451"/>
              <a:gd name="connsiteY82" fmla="*/ 402566 h 1282460"/>
              <a:gd name="connsiteX83" fmla="*/ 4876800 w 9149451"/>
              <a:gd name="connsiteY83" fmla="*/ 414068 h 1282460"/>
              <a:gd name="connsiteX84" fmla="*/ 4917057 w 9149451"/>
              <a:gd name="connsiteY84" fmla="*/ 419819 h 1282460"/>
              <a:gd name="connsiteX85" fmla="*/ 5072332 w 9149451"/>
              <a:gd name="connsiteY85" fmla="*/ 431321 h 1282460"/>
              <a:gd name="connsiteX86" fmla="*/ 5262113 w 9149451"/>
              <a:gd name="connsiteY86" fmla="*/ 442823 h 1282460"/>
              <a:gd name="connsiteX87" fmla="*/ 5382883 w 9149451"/>
              <a:gd name="connsiteY87" fmla="*/ 454324 h 1282460"/>
              <a:gd name="connsiteX88" fmla="*/ 5520906 w 9149451"/>
              <a:gd name="connsiteY88" fmla="*/ 465826 h 1282460"/>
              <a:gd name="connsiteX89" fmla="*/ 5578415 w 9149451"/>
              <a:gd name="connsiteY89" fmla="*/ 471577 h 1282460"/>
              <a:gd name="connsiteX90" fmla="*/ 5762445 w 9149451"/>
              <a:gd name="connsiteY90" fmla="*/ 483079 h 1282460"/>
              <a:gd name="connsiteX91" fmla="*/ 6003985 w 9149451"/>
              <a:gd name="connsiteY91" fmla="*/ 494581 h 1282460"/>
              <a:gd name="connsiteX92" fmla="*/ 6308785 w 9149451"/>
              <a:gd name="connsiteY92" fmla="*/ 488830 h 1282460"/>
              <a:gd name="connsiteX93" fmla="*/ 6349042 w 9149451"/>
              <a:gd name="connsiteY93" fmla="*/ 477328 h 1282460"/>
              <a:gd name="connsiteX94" fmla="*/ 6400800 w 9149451"/>
              <a:gd name="connsiteY94" fmla="*/ 465826 h 1282460"/>
              <a:gd name="connsiteX95" fmla="*/ 6429555 w 9149451"/>
              <a:gd name="connsiteY95" fmla="*/ 460075 h 1282460"/>
              <a:gd name="connsiteX96" fmla="*/ 6458309 w 9149451"/>
              <a:gd name="connsiteY96" fmla="*/ 448574 h 1282460"/>
              <a:gd name="connsiteX97" fmla="*/ 6521570 w 9149451"/>
              <a:gd name="connsiteY97" fmla="*/ 437072 h 1282460"/>
              <a:gd name="connsiteX98" fmla="*/ 6567577 w 9149451"/>
              <a:gd name="connsiteY98" fmla="*/ 425570 h 1282460"/>
              <a:gd name="connsiteX99" fmla="*/ 6630838 w 9149451"/>
              <a:gd name="connsiteY99" fmla="*/ 408317 h 1282460"/>
              <a:gd name="connsiteX100" fmla="*/ 6648091 w 9149451"/>
              <a:gd name="connsiteY100" fmla="*/ 396815 h 1282460"/>
              <a:gd name="connsiteX101" fmla="*/ 6688347 w 9149451"/>
              <a:gd name="connsiteY101" fmla="*/ 385313 h 1282460"/>
              <a:gd name="connsiteX102" fmla="*/ 6751608 w 9149451"/>
              <a:gd name="connsiteY102" fmla="*/ 362309 h 1282460"/>
              <a:gd name="connsiteX103" fmla="*/ 6786113 w 9149451"/>
              <a:gd name="connsiteY103" fmla="*/ 350807 h 1282460"/>
              <a:gd name="connsiteX104" fmla="*/ 6809117 w 9149451"/>
              <a:gd name="connsiteY104" fmla="*/ 339306 h 1282460"/>
              <a:gd name="connsiteX105" fmla="*/ 6855125 w 9149451"/>
              <a:gd name="connsiteY105" fmla="*/ 333555 h 1282460"/>
              <a:gd name="connsiteX106" fmla="*/ 6906883 w 9149451"/>
              <a:gd name="connsiteY106" fmla="*/ 322053 h 1282460"/>
              <a:gd name="connsiteX107" fmla="*/ 6935638 w 9149451"/>
              <a:gd name="connsiteY107" fmla="*/ 316302 h 1282460"/>
              <a:gd name="connsiteX108" fmla="*/ 6970143 w 9149451"/>
              <a:gd name="connsiteY108" fmla="*/ 310551 h 1282460"/>
              <a:gd name="connsiteX109" fmla="*/ 7125419 w 9149451"/>
              <a:gd name="connsiteY109" fmla="*/ 304800 h 1282460"/>
              <a:gd name="connsiteX110" fmla="*/ 7924800 w 9149451"/>
              <a:gd name="connsiteY110" fmla="*/ 299049 h 1282460"/>
              <a:gd name="connsiteX111" fmla="*/ 7982309 w 9149451"/>
              <a:gd name="connsiteY111" fmla="*/ 293298 h 1282460"/>
              <a:gd name="connsiteX112" fmla="*/ 8120332 w 9149451"/>
              <a:gd name="connsiteY112" fmla="*/ 264543 h 1282460"/>
              <a:gd name="connsiteX113" fmla="*/ 8143336 w 9149451"/>
              <a:gd name="connsiteY113" fmla="*/ 258792 h 1282460"/>
              <a:gd name="connsiteX114" fmla="*/ 8166340 w 9149451"/>
              <a:gd name="connsiteY114" fmla="*/ 247290 h 1282460"/>
              <a:gd name="connsiteX115" fmla="*/ 8189343 w 9149451"/>
              <a:gd name="connsiteY115" fmla="*/ 241540 h 1282460"/>
              <a:gd name="connsiteX116" fmla="*/ 8223849 w 9149451"/>
              <a:gd name="connsiteY116" fmla="*/ 230038 h 1282460"/>
              <a:gd name="connsiteX117" fmla="*/ 8241102 w 9149451"/>
              <a:gd name="connsiteY117" fmla="*/ 224287 h 1282460"/>
              <a:gd name="connsiteX118" fmla="*/ 8264106 w 9149451"/>
              <a:gd name="connsiteY118" fmla="*/ 218536 h 1282460"/>
              <a:gd name="connsiteX119" fmla="*/ 8292860 w 9149451"/>
              <a:gd name="connsiteY119" fmla="*/ 201283 h 1282460"/>
              <a:gd name="connsiteX120" fmla="*/ 8327366 w 9149451"/>
              <a:gd name="connsiteY120" fmla="*/ 189781 h 1282460"/>
              <a:gd name="connsiteX121" fmla="*/ 8367623 w 9149451"/>
              <a:gd name="connsiteY121" fmla="*/ 172528 h 1282460"/>
              <a:gd name="connsiteX122" fmla="*/ 8390626 w 9149451"/>
              <a:gd name="connsiteY122" fmla="*/ 161026 h 1282460"/>
              <a:gd name="connsiteX123" fmla="*/ 8407879 w 9149451"/>
              <a:gd name="connsiteY123" fmla="*/ 155275 h 1282460"/>
              <a:gd name="connsiteX124" fmla="*/ 8436634 w 9149451"/>
              <a:gd name="connsiteY124" fmla="*/ 143774 h 1282460"/>
              <a:gd name="connsiteX125" fmla="*/ 8482642 w 9149451"/>
              <a:gd name="connsiteY125" fmla="*/ 120770 h 1282460"/>
              <a:gd name="connsiteX126" fmla="*/ 8511396 w 9149451"/>
              <a:gd name="connsiteY126" fmla="*/ 115019 h 1282460"/>
              <a:gd name="connsiteX127" fmla="*/ 8528649 w 9149451"/>
              <a:gd name="connsiteY127" fmla="*/ 109268 h 1282460"/>
              <a:gd name="connsiteX128" fmla="*/ 8551653 w 9149451"/>
              <a:gd name="connsiteY128" fmla="*/ 103517 h 1282460"/>
              <a:gd name="connsiteX129" fmla="*/ 8568906 w 9149451"/>
              <a:gd name="connsiteY129" fmla="*/ 92015 h 1282460"/>
              <a:gd name="connsiteX130" fmla="*/ 8597660 w 9149451"/>
              <a:gd name="connsiteY130" fmla="*/ 86264 h 1282460"/>
              <a:gd name="connsiteX131" fmla="*/ 8643668 w 9149451"/>
              <a:gd name="connsiteY131" fmla="*/ 74762 h 1282460"/>
              <a:gd name="connsiteX132" fmla="*/ 8672423 w 9149451"/>
              <a:gd name="connsiteY132" fmla="*/ 69011 h 1282460"/>
              <a:gd name="connsiteX133" fmla="*/ 8735683 w 9149451"/>
              <a:gd name="connsiteY133" fmla="*/ 51758 h 1282460"/>
              <a:gd name="connsiteX134" fmla="*/ 8798943 w 9149451"/>
              <a:gd name="connsiteY134" fmla="*/ 46007 h 1282460"/>
              <a:gd name="connsiteX135" fmla="*/ 8867955 w 9149451"/>
              <a:gd name="connsiteY135" fmla="*/ 51758 h 1282460"/>
              <a:gd name="connsiteX136" fmla="*/ 8965721 w 9149451"/>
              <a:gd name="connsiteY136" fmla="*/ 40257 h 1282460"/>
              <a:gd name="connsiteX137" fmla="*/ 9028981 w 9149451"/>
              <a:gd name="connsiteY137" fmla="*/ 23004 h 1282460"/>
              <a:gd name="connsiteX138" fmla="*/ 9144000 w 9149451"/>
              <a:gd name="connsiteY138" fmla="*/ 17253 h 1282460"/>
              <a:gd name="connsiteX139" fmla="*/ 9144000 w 9149451"/>
              <a:gd name="connsiteY139" fmla="*/ 1282460 h 1282460"/>
              <a:gd name="connsiteX0" fmla="*/ 0 w 9149451"/>
              <a:gd name="connsiteY0" fmla="*/ 1425276 h 1471283"/>
              <a:gd name="connsiteX1" fmla="*/ 149525 w 9149451"/>
              <a:gd name="connsiteY1" fmla="*/ 206076 h 1471283"/>
              <a:gd name="connsiteX2" fmla="*/ 281796 w 9149451"/>
              <a:gd name="connsiteY2" fmla="*/ 188823 h 1471283"/>
              <a:gd name="connsiteX3" fmla="*/ 563592 w 9149451"/>
              <a:gd name="connsiteY3" fmla="*/ 194574 h 1471283"/>
              <a:gd name="connsiteX4" fmla="*/ 661358 w 9149451"/>
              <a:gd name="connsiteY4" fmla="*/ 211827 h 1471283"/>
              <a:gd name="connsiteX5" fmla="*/ 707366 w 9149451"/>
              <a:gd name="connsiteY5" fmla="*/ 217578 h 1471283"/>
              <a:gd name="connsiteX6" fmla="*/ 736121 w 9149451"/>
              <a:gd name="connsiteY6" fmla="*/ 223329 h 1471283"/>
              <a:gd name="connsiteX7" fmla="*/ 799381 w 9149451"/>
              <a:gd name="connsiteY7" fmla="*/ 234830 h 1471283"/>
              <a:gd name="connsiteX8" fmla="*/ 885645 w 9149451"/>
              <a:gd name="connsiteY8" fmla="*/ 252083 h 1471283"/>
              <a:gd name="connsiteX9" fmla="*/ 971909 w 9149451"/>
              <a:gd name="connsiteY9" fmla="*/ 275087 h 1471283"/>
              <a:gd name="connsiteX10" fmla="*/ 1023668 w 9149451"/>
              <a:gd name="connsiteY10" fmla="*/ 280838 h 1471283"/>
              <a:gd name="connsiteX11" fmla="*/ 1040921 w 9149451"/>
              <a:gd name="connsiteY11" fmla="*/ 286589 h 1471283"/>
              <a:gd name="connsiteX12" fmla="*/ 1109932 w 9149451"/>
              <a:gd name="connsiteY12" fmla="*/ 298091 h 1471283"/>
              <a:gd name="connsiteX13" fmla="*/ 1190445 w 9149451"/>
              <a:gd name="connsiteY13" fmla="*/ 315344 h 1471283"/>
              <a:gd name="connsiteX14" fmla="*/ 1293962 w 9149451"/>
              <a:gd name="connsiteY14" fmla="*/ 332597 h 1471283"/>
              <a:gd name="connsiteX15" fmla="*/ 1357223 w 9149451"/>
              <a:gd name="connsiteY15" fmla="*/ 349849 h 1471283"/>
              <a:gd name="connsiteX16" fmla="*/ 1397479 w 9149451"/>
              <a:gd name="connsiteY16" fmla="*/ 355600 h 1471283"/>
              <a:gd name="connsiteX17" fmla="*/ 1489494 w 9149451"/>
              <a:gd name="connsiteY17" fmla="*/ 378604 h 1471283"/>
              <a:gd name="connsiteX18" fmla="*/ 1535502 w 9149451"/>
              <a:gd name="connsiteY18" fmla="*/ 390106 h 1471283"/>
              <a:gd name="connsiteX19" fmla="*/ 1621766 w 9149451"/>
              <a:gd name="connsiteY19" fmla="*/ 401608 h 1471283"/>
              <a:gd name="connsiteX20" fmla="*/ 1690777 w 9149451"/>
              <a:gd name="connsiteY20" fmla="*/ 418861 h 1471283"/>
              <a:gd name="connsiteX21" fmla="*/ 1713781 w 9149451"/>
              <a:gd name="connsiteY21" fmla="*/ 424612 h 1471283"/>
              <a:gd name="connsiteX22" fmla="*/ 1759789 w 9149451"/>
              <a:gd name="connsiteY22" fmla="*/ 430363 h 1471283"/>
              <a:gd name="connsiteX23" fmla="*/ 1782792 w 9149451"/>
              <a:gd name="connsiteY23" fmla="*/ 436113 h 1471283"/>
              <a:gd name="connsiteX24" fmla="*/ 1869057 w 9149451"/>
              <a:gd name="connsiteY24" fmla="*/ 447615 h 1471283"/>
              <a:gd name="connsiteX25" fmla="*/ 1961072 w 9149451"/>
              <a:gd name="connsiteY25" fmla="*/ 459117 h 1471283"/>
              <a:gd name="connsiteX26" fmla="*/ 2012830 w 9149451"/>
              <a:gd name="connsiteY26" fmla="*/ 464868 h 1471283"/>
              <a:gd name="connsiteX27" fmla="*/ 2047336 w 9149451"/>
              <a:gd name="connsiteY27" fmla="*/ 470619 h 1471283"/>
              <a:gd name="connsiteX28" fmla="*/ 2237117 w 9149451"/>
              <a:gd name="connsiteY28" fmla="*/ 482121 h 1471283"/>
              <a:gd name="connsiteX29" fmla="*/ 2467155 w 9149451"/>
              <a:gd name="connsiteY29" fmla="*/ 476370 h 1471283"/>
              <a:gd name="connsiteX30" fmla="*/ 2495909 w 9149451"/>
              <a:gd name="connsiteY30" fmla="*/ 470619 h 1471283"/>
              <a:gd name="connsiteX31" fmla="*/ 2559170 w 9149451"/>
              <a:gd name="connsiteY31" fmla="*/ 464868 h 1471283"/>
              <a:gd name="connsiteX32" fmla="*/ 2587925 w 9149451"/>
              <a:gd name="connsiteY32" fmla="*/ 459117 h 1471283"/>
              <a:gd name="connsiteX33" fmla="*/ 2633932 w 9149451"/>
              <a:gd name="connsiteY33" fmla="*/ 453366 h 1471283"/>
              <a:gd name="connsiteX34" fmla="*/ 2656936 w 9149451"/>
              <a:gd name="connsiteY34" fmla="*/ 441864 h 1471283"/>
              <a:gd name="connsiteX35" fmla="*/ 2679940 w 9149451"/>
              <a:gd name="connsiteY35" fmla="*/ 436113 h 1471283"/>
              <a:gd name="connsiteX36" fmla="*/ 2697192 w 9149451"/>
              <a:gd name="connsiteY36" fmla="*/ 430363 h 1471283"/>
              <a:gd name="connsiteX37" fmla="*/ 2743200 w 9149451"/>
              <a:gd name="connsiteY37" fmla="*/ 418861 h 1471283"/>
              <a:gd name="connsiteX38" fmla="*/ 2766204 w 9149451"/>
              <a:gd name="connsiteY38" fmla="*/ 413110 h 1471283"/>
              <a:gd name="connsiteX39" fmla="*/ 2794958 w 9149451"/>
              <a:gd name="connsiteY39" fmla="*/ 395857 h 1471283"/>
              <a:gd name="connsiteX40" fmla="*/ 2829464 w 9149451"/>
              <a:gd name="connsiteY40" fmla="*/ 384355 h 1471283"/>
              <a:gd name="connsiteX41" fmla="*/ 2846717 w 9149451"/>
              <a:gd name="connsiteY41" fmla="*/ 378604 h 1471283"/>
              <a:gd name="connsiteX42" fmla="*/ 2909977 w 9149451"/>
              <a:gd name="connsiteY42" fmla="*/ 361351 h 1471283"/>
              <a:gd name="connsiteX43" fmla="*/ 2961736 w 9149451"/>
              <a:gd name="connsiteY43" fmla="*/ 338347 h 1471283"/>
              <a:gd name="connsiteX44" fmla="*/ 2978989 w 9149451"/>
              <a:gd name="connsiteY44" fmla="*/ 332597 h 1471283"/>
              <a:gd name="connsiteX45" fmla="*/ 3001992 w 9149451"/>
              <a:gd name="connsiteY45" fmla="*/ 321095 h 1471283"/>
              <a:gd name="connsiteX46" fmla="*/ 3019245 w 9149451"/>
              <a:gd name="connsiteY46" fmla="*/ 315344 h 1471283"/>
              <a:gd name="connsiteX47" fmla="*/ 3042249 w 9149451"/>
              <a:gd name="connsiteY47" fmla="*/ 303842 h 1471283"/>
              <a:gd name="connsiteX48" fmla="*/ 3076755 w 9149451"/>
              <a:gd name="connsiteY48" fmla="*/ 298091 h 1471283"/>
              <a:gd name="connsiteX49" fmla="*/ 3111260 w 9149451"/>
              <a:gd name="connsiteY49" fmla="*/ 286589 h 1471283"/>
              <a:gd name="connsiteX50" fmla="*/ 3145766 w 9149451"/>
              <a:gd name="connsiteY50" fmla="*/ 280838 h 1471283"/>
              <a:gd name="connsiteX51" fmla="*/ 3168770 w 9149451"/>
              <a:gd name="connsiteY51" fmla="*/ 275087 h 1471283"/>
              <a:gd name="connsiteX52" fmla="*/ 3375804 w 9149451"/>
              <a:gd name="connsiteY52" fmla="*/ 269336 h 1471283"/>
              <a:gd name="connsiteX53" fmla="*/ 3559834 w 9149451"/>
              <a:gd name="connsiteY53" fmla="*/ 275087 h 1471283"/>
              <a:gd name="connsiteX54" fmla="*/ 3594340 w 9149451"/>
              <a:gd name="connsiteY54" fmla="*/ 292340 h 1471283"/>
              <a:gd name="connsiteX55" fmla="*/ 3634596 w 9149451"/>
              <a:gd name="connsiteY55" fmla="*/ 303842 h 1471283"/>
              <a:gd name="connsiteX56" fmla="*/ 3657600 w 9149451"/>
              <a:gd name="connsiteY56" fmla="*/ 315344 h 1471283"/>
              <a:gd name="connsiteX57" fmla="*/ 3680604 w 9149451"/>
              <a:gd name="connsiteY57" fmla="*/ 321095 h 1471283"/>
              <a:gd name="connsiteX58" fmla="*/ 3715109 w 9149451"/>
              <a:gd name="connsiteY58" fmla="*/ 332597 h 1471283"/>
              <a:gd name="connsiteX59" fmla="*/ 3732362 w 9149451"/>
              <a:gd name="connsiteY59" fmla="*/ 338347 h 1471283"/>
              <a:gd name="connsiteX60" fmla="*/ 3784121 w 9149451"/>
              <a:gd name="connsiteY60" fmla="*/ 344098 h 1471283"/>
              <a:gd name="connsiteX61" fmla="*/ 3847381 w 9149451"/>
              <a:gd name="connsiteY61" fmla="*/ 355600 h 1471283"/>
              <a:gd name="connsiteX62" fmla="*/ 3910642 w 9149451"/>
              <a:gd name="connsiteY62" fmla="*/ 361351 h 1471283"/>
              <a:gd name="connsiteX63" fmla="*/ 3979653 w 9149451"/>
              <a:gd name="connsiteY63" fmla="*/ 372853 h 1471283"/>
              <a:gd name="connsiteX64" fmla="*/ 4042913 w 9149451"/>
              <a:gd name="connsiteY64" fmla="*/ 378604 h 1471283"/>
              <a:gd name="connsiteX65" fmla="*/ 4106174 w 9149451"/>
              <a:gd name="connsiteY65" fmla="*/ 395857 h 1471283"/>
              <a:gd name="connsiteX66" fmla="*/ 4146430 w 9149451"/>
              <a:gd name="connsiteY66" fmla="*/ 407359 h 1471283"/>
              <a:gd name="connsiteX67" fmla="*/ 4169434 w 9149451"/>
              <a:gd name="connsiteY67" fmla="*/ 418861 h 1471283"/>
              <a:gd name="connsiteX68" fmla="*/ 4203940 w 9149451"/>
              <a:gd name="connsiteY68" fmla="*/ 424612 h 1471283"/>
              <a:gd name="connsiteX69" fmla="*/ 4232694 w 9149451"/>
              <a:gd name="connsiteY69" fmla="*/ 430363 h 1471283"/>
              <a:gd name="connsiteX70" fmla="*/ 4255698 w 9149451"/>
              <a:gd name="connsiteY70" fmla="*/ 436113 h 1471283"/>
              <a:gd name="connsiteX71" fmla="*/ 4433977 w 9149451"/>
              <a:gd name="connsiteY71" fmla="*/ 441864 h 1471283"/>
              <a:gd name="connsiteX72" fmla="*/ 4502989 w 9149451"/>
              <a:gd name="connsiteY72" fmla="*/ 447615 h 1471283"/>
              <a:gd name="connsiteX73" fmla="*/ 4525992 w 9149451"/>
              <a:gd name="connsiteY73" fmla="*/ 459117 h 1471283"/>
              <a:gd name="connsiteX74" fmla="*/ 4577751 w 9149451"/>
              <a:gd name="connsiteY74" fmla="*/ 482121 h 1471283"/>
              <a:gd name="connsiteX75" fmla="*/ 4629509 w 9149451"/>
              <a:gd name="connsiteY75" fmla="*/ 505125 h 1471283"/>
              <a:gd name="connsiteX76" fmla="*/ 4681268 w 9149451"/>
              <a:gd name="connsiteY76" fmla="*/ 528129 h 1471283"/>
              <a:gd name="connsiteX77" fmla="*/ 4704272 w 9149451"/>
              <a:gd name="connsiteY77" fmla="*/ 539630 h 1471283"/>
              <a:gd name="connsiteX78" fmla="*/ 4756030 w 9149451"/>
              <a:gd name="connsiteY78" fmla="*/ 556883 h 1471283"/>
              <a:gd name="connsiteX79" fmla="*/ 4773283 w 9149451"/>
              <a:gd name="connsiteY79" fmla="*/ 562634 h 1471283"/>
              <a:gd name="connsiteX80" fmla="*/ 4802038 w 9149451"/>
              <a:gd name="connsiteY80" fmla="*/ 579887 h 1471283"/>
              <a:gd name="connsiteX81" fmla="*/ 4842294 w 9149451"/>
              <a:gd name="connsiteY81" fmla="*/ 591389 h 1471283"/>
              <a:gd name="connsiteX82" fmla="*/ 4876800 w 9149451"/>
              <a:gd name="connsiteY82" fmla="*/ 602891 h 1471283"/>
              <a:gd name="connsiteX83" fmla="*/ 4917057 w 9149451"/>
              <a:gd name="connsiteY83" fmla="*/ 608642 h 1471283"/>
              <a:gd name="connsiteX84" fmla="*/ 5072332 w 9149451"/>
              <a:gd name="connsiteY84" fmla="*/ 620144 h 1471283"/>
              <a:gd name="connsiteX85" fmla="*/ 5262113 w 9149451"/>
              <a:gd name="connsiteY85" fmla="*/ 631646 h 1471283"/>
              <a:gd name="connsiteX86" fmla="*/ 5382883 w 9149451"/>
              <a:gd name="connsiteY86" fmla="*/ 643147 h 1471283"/>
              <a:gd name="connsiteX87" fmla="*/ 5520906 w 9149451"/>
              <a:gd name="connsiteY87" fmla="*/ 654649 h 1471283"/>
              <a:gd name="connsiteX88" fmla="*/ 5578415 w 9149451"/>
              <a:gd name="connsiteY88" fmla="*/ 660400 h 1471283"/>
              <a:gd name="connsiteX89" fmla="*/ 5762445 w 9149451"/>
              <a:gd name="connsiteY89" fmla="*/ 671902 h 1471283"/>
              <a:gd name="connsiteX90" fmla="*/ 6003985 w 9149451"/>
              <a:gd name="connsiteY90" fmla="*/ 683404 h 1471283"/>
              <a:gd name="connsiteX91" fmla="*/ 6308785 w 9149451"/>
              <a:gd name="connsiteY91" fmla="*/ 677653 h 1471283"/>
              <a:gd name="connsiteX92" fmla="*/ 6349042 w 9149451"/>
              <a:gd name="connsiteY92" fmla="*/ 666151 h 1471283"/>
              <a:gd name="connsiteX93" fmla="*/ 6400800 w 9149451"/>
              <a:gd name="connsiteY93" fmla="*/ 654649 h 1471283"/>
              <a:gd name="connsiteX94" fmla="*/ 6429555 w 9149451"/>
              <a:gd name="connsiteY94" fmla="*/ 648898 h 1471283"/>
              <a:gd name="connsiteX95" fmla="*/ 6458309 w 9149451"/>
              <a:gd name="connsiteY95" fmla="*/ 637397 h 1471283"/>
              <a:gd name="connsiteX96" fmla="*/ 6521570 w 9149451"/>
              <a:gd name="connsiteY96" fmla="*/ 625895 h 1471283"/>
              <a:gd name="connsiteX97" fmla="*/ 6567577 w 9149451"/>
              <a:gd name="connsiteY97" fmla="*/ 614393 h 1471283"/>
              <a:gd name="connsiteX98" fmla="*/ 6630838 w 9149451"/>
              <a:gd name="connsiteY98" fmla="*/ 597140 h 1471283"/>
              <a:gd name="connsiteX99" fmla="*/ 6648091 w 9149451"/>
              <a:gd name="connsiteY99" fmla="*/ 585638 h 1471283"/>
              <a:gd name="connsiteX100" fmla="*/ 6688347 w 9149451"/>
              <a:gd name="connsiteY100" fmla="*/ 574136 h 1471283"/>
              <a:gd name="connsiteX101" fmla="*/ 6751608 w 9149451"/>
              <a:gd name="connsiteY101" fmla="*/ 551132 h 1471283"/>
              <a:gd name="connsiteX102" fmla="*/ 6786113 w 9149451"/>
              <a:gd name="connsiteY102" fmla="*/ 539630 h 1471283"/>
              <a:gd name="connsiteX103" fmla="*/ 6809117 w 9149451"/>
              <a:gd name="connsiteY103" fmla="*/ 528129 h 1471283"/>
              <a:gd name="connsiteX104" fmla="*/ 6855125 w 9149451"/>
              <a:gd name="connsiteY104" fmla="*/ 522378 h 1471283"/>
              <a:gd name="connsiteX105" fmla="*/ 6906883 w 9149451"/>
              <a:gd name="connsiteY105" fmla="*/ 510876 h 1471283"/>
              <a:gd name="connsiteX106" fmla="*/ 6935638 w 9149451"/>
              <a:gd name="connsiteY106" fmla="*/ 505125 h 1471283"/>
              <a:gd name="connsiteX107" fmla="*/ 6970143 w 9149451"/>
              <a:gd name="connsiteY107" fmla="*/ 499374 h 1471283"/>
              <a:gd name="connsiteX108" fmla="*/ 7125419 w 9149451"/>
              <a:gd name="connsiteY108" fmla="*/ 493623 h 1471283"/>
              <a:gd name="connsiteX109" fmla="*/ 7924800 w 9149451"/>
              <a:gd name="connsiteY109" fmla="*/ 487872 h 1471283"/>
              <a:gd name="connsiteX110" fmla="*/ 7982309 w 9149451"/>
              <a:gd name="connsiteY110" fmla="*/ 482121 h 1471283"/>
              <a:gd name="connsiteX111" fmla="*/ 8120332 w 9149451"/>
              <a:gd name="connsiteY111" fmla="*/ 453366 h 1471283"/>
              <a:gd name="connsiteX112" fmla="*/ 8143336 w 9149451"/>
              <a:gd name="connsiteY112" fmla="*/ 447615 h 1471283"/>
              <a:gd name="connsiteX113" fmla="*/ 8166340 w 9149451"/>
              <a:gd name="connsiteY113" fmla="*/ 436113 h 1471283"/>
              <a:gd name="connsiteX114" fmla="*/ 8189343 w 9149451"/>
              <a:gd name="connsiteY114" fmla="*/ 430363 h 1471283"/>
              <a:gd name="connsiteX115" fmla="*/ 8223849 w 9149451"/>
              <a:gd name="connsiteY115" fmla="*/ 418861 h 1471283"/>
              <a:gd name="connsiteX116" fmla="*/ 8241102 w 9149451"/>
              <a:gd name="connsiteY116" fmla="*/ 413110 h 1471283"/>
              <a:gd name="connsiteX117" fmla="*/ 8264106 w 9149451"/>
              <a:gd name="connsiteY117" fmla="*/ 407359 h 1471283"/>
              <a:gd name="connsiteX118" fmla="*/ 8292860 w 9149451"/>
              <a:gd name="connsiteY118" fmla="*/ 390106 h 1471283"/>
              <a:gd name="connsiteX119" fmla="*/ 8327366 w 9149451"/>
              <a:gd name="connsiteY119" fmla="*/ 378604 h 1471283"/>
              <a:gd name="connsiteX120" fmla="*/ 8367623 w 9149451"/>
              <a:gd name="connsiteY120" fmla="*/ 361351 h 1471283"/>
              <a:gd name="connsiteX121" fmla="*/ 8390626 w 9149451"/>
              <a:gd name="connsiteY121" fmla="*/ 349849 h 1471283"/>
              <a:gd name="connsiteX122" fmla="*/ 8407879 w 9149451"/>
              <a:gd name="connsiteY122" fmla="*/ 344098 h 1471283"/>
              <a:gd name="connsiteX123" fmla="*/ 8436634 w 9149451"/>
              <a:gd name="connsiteY123" fmla="*/ 332597 h 1471283"/>
              <a:gd name="connsiteX124" fmla="*/ 8482642 w 9149451"/>
              <a:gd name="connsiteY124" fmla="*/ 309593 h 1471283"/>
              <a:gd name="connsiteX125" fmla="*/ 8511396 w 9149451"/>
              <a:gd name="connsiteY125" fmla="*/ 303842 h 1471283"/>
              <a:gd name="connsiteX126" fmla="*/ 8528649 w 9149451"/>
              <a:gd name="connsiteY126" fmla="*/ 298091 h 1471283"/>
              <a:gd name="connsiteX127" fmla="*/ 8551653 w 9149451"/>
              <a:gd name="connsiteY127" fmla="*/ 292340 h 1471283"/>
              <a:gd name="connsiteX128" fmla="*/ 8568906 w 9149451"/>
              <a:gd name="connsiteY128" fmla="*/ 280838 h 1471283"/>
              <a:gd name="connsiteX129" fmla="*/ 8597660 w 9149451"/>
              <a:gd name="connsiteY129" fmla="*/ 275087 h 1471283"/>
              <a:gd name="connsiteX130" fmla="*/ 8643668 w 9149451"/>
              <a:gd name="connsiteY130" fmla="*/ 263585 h 1471283"/>
              <a:gd name="connsiteX131" fmla="*/ 8672423 w 9149451"/>
              <a:gd name="connsiteY131" fmla="*/ 257834 h 1471283"/>
              <a:gd name="connsiteX132" fmla="*/ 8735683 w 9149451"/>
              <a:gd name="connsiteY132" fmla="*/ 240581 h 1471283"/>
              <a:gd name="connsiteX133" fmla="*/ 8798943 w 9149451"/>
              <a:gd name="connsiteY133" fmla="*/ 234830 h 1471283"/>
              <a:gd name="connsiteX134" fmla="*/ 8867955 w 9149451"/>
              <a:gd name="connsiteY134" fmla="*/ 240581 h 1471283"/>
              <a:gd name="connsiteX135" fmla="*/ 8965721 w 9149451"/>
              <a:gd name="connsiteY135" fmla="*/ 229080 h 1471283"/>
              <a:gd name="connsiteX136" fmla="*/ 9028981 w 9149451"/>
              <a:gd name="connsiteY136" fmla="*/ 211827 h 1471283"/>
              <a:gd name="connsiteX137" fmla="*/ 9144000 w 9149451"/>
              <a:gd name="connsiteY137" fmla="*/ 206076 h 1471283"/>
              <a:gd name="connsiteX138" fmla="*/ 9144000 w 9149451"/>
              <a:gd name="connsiteY138" fmla="*/ 1471283 h 1471283"/>
              <a:gd name="connsiteX0" fmla="*/ 0 w 9149451"/>
              <a:gd name="connsiteY0" fmla="*/ 1236453 h 1282460"/>
              <a:gd name="connsiteX1" fmla="*/ 281796 w 9149451"/>
              <a:gd name="connsiteY1" fmla="*/ 0 h 1282460"/>
              <a:gd name="connsiteX2" fmla="*/ 563592 w 9149451"/>
              <a:gd name="connsiteY2" fmla="*/ 5751 h 1282460"/>
              <a:gd name="connsiteX3" fmla="*/ 661358 w 9149451"/>
              <a:gd name="connsiteY3" fmla="*/ 23004 h 1282460"/>
              <a:gd name="connsiteX4" fmla="*/ 707366 w 9149451"/>
              <a:gd name="connsiteY4" fmla="*/ 28755 h 1282460"/>
              <a:gd name="connsiteX5" fmla="*/ 736121 w 9149451"/>
              <a:gd name="connsiteY5" fmla="*/ 34506 h 1282460"/>
              <a:gd name="connsiteX6" fmla="*/ 799381 w 9149451"/>
              <a:gd name="connsiteY6" fmla="*/ 46007 h 1282460"/>
              <a:gd name="connsiteX7" fmla="*/ 885645 w 9149451"/>
              <a:gd name="connsiteY7" fmla="*/ 63260 h 1282460"/>
              <a:gd name="connsiteX8" fmla="*/ 971909 w 9149451"/>
              <a:gd name="connsiteY8" fmla="*/ 86264 h 1282460"/>
              <a:gd name="connsiteX9" fmla="*/ 1023668 w 9149451"/>
              <a:gd name="connsiteY9" fmla="*/ 92015 h 1282460"/>
              <a:gd name="connsiteX10" fmla="*/ 1040921 w 9149451"/>
              <a:gd name="connsiteY10" fmla="*/ 97766 h 1282460"/>
              <a:gd name="connsiteX11" fmla="*/ 1109932 w 9149451"/>
              <a:gd name="connsiteY11" fmla="*/ 109268 h 1282460"/>
              <a:gd name="connsiteX12" fmla="*/ 1190445 w 9149451"/>
              <a:gd name="connsiteY12" fmla="*/ 126521 h 1282460"/>
              <a:gd name="connsiteX13" fmla="*/ 1293962 w 9149451"/>
              <a:gd name="connsiteY13" fmla="*/ 143774 h 1282460"/>
              <a:gd name="connsiteX14" fmla="*/ 1357223 w 9149451"/>
              <a:gd name="connsiteY14" fmla="*/ 161026 h 1282460"/>
              <a:gd name="connsiteX15" fmla="*/ 1397479 w 9149451"/>
              <a:gd name="connsiteY15" fmla="*/ 166777 h 1282460"/>
              <a:gd name="connsiteX16" fmla="*/ 1489494 w 9149451"/>
              <a:gd name="connsiteY16" fmla="*/ 189781 h 1282460"/>
              <a:gd name="connsiteX17" fmla="*/ 1535502 w 9149451"/>
              <a:gd name="connsiteY17" fmla="*/ 201283 h 1282460"/>
              <a:gd name="connsiteX18" fmla="*/ 1621766 w 9149451"/>
              <a:gd name="connsiteY18" fmla="*/ 212785 h 1282460"/>
              <a:gd name="connsiteX19" fmla="*/ 1690777 w 9149451"/>
              <a:gd name="connsiteY19" fmla="*/ 230038 h 1282460"/>
              <a:gd name="connsiteX20" fmla="*/ 1713781 w 9149451"/>
              <a:gd name="connsiteY20" fmla="*/ 235789 h 1282460"/>
              <a:gd name="connsiteX21" fmla="*/ 1759789 w 9149451"/>
              <a:gd name="connsiteY21" fmla="*/ 241540 h 1282460"/>
              <a:gd name="connsiteX22" fmla="*/ 1782792 w 9149451"/>
              <a:gd name="connsiteY22" fmla="*/ 247290 h 1282460"/>
              <a:gd name="connsiteX23" fmla="*/ 1869057 w 9149451"/>
              <a:gd name="connsiteY23" fmla="*/ 258792 h 1282460"/>
              <a:gd name="connsiteX24" fmla="*/ 1961072 w 9149451"/>
              <a:gd name="connsiteY24" fmla="*/ 270294 h 1282460"/>
              <a:gd name="connsiteX25" fmla="*/ 2012830 w 9149451"/>
              <a:gd name="connsiteY25" fmla="*/ 276045 h 1282460"/>
              <a:gd name="connsiteX26" fmla="*/ 2047336 w 9149451"/>
              <a:gd name="connsiteY26" fmla="*/ 281796 h 1282460"/>
              <a:gd name="connsiteX27" fmla="*/ 2237117 w 9149451"/>
              <a:gd name="connsiteY27" fmla="*/ 293298 h 1282460"/>
              <a:gd name="connsiteX28" fmla="*/ 2467155 w 9149451"/>
              <a:gd name="connsiteY28" fmla="*/ 287547 h 1282460"/>
              <a:gd name="connsiteX29" fmla="*/ 2495909 w 9149451"/>
              <a:gd name="connsiteY29" fmla="*/ 281796 h 1282460"/>
              <a:gd name="connsiteX30" fmla="*/ 2559170 w 9149451"/>
              <a:gd name="connsiteY30" fmla="*/ 276045 h 1282460"/>
              <a:gd name="connsiteX31" fmla="*/ 2587925 w 9149451"/>
              <a:gd name="connsiteY31" fmla="*/ 270294 h 1282460"/>
              <a:gd name="connsiteX32" fmla="*/ 2633932 w 9149451"/>
              <a:gd name="connsiteY32" fmla="*/ 264543 h 1282460"/>
              <a:gd name="connsiteX33" fmla="*/ 2656936 w 9149451"/>
              <a:gd name="connsiteY33" fmla="*/ 253041 h 1282460"/>
              <a:gd name="connsiteX34" fmla="*/ 2679940 w 9149451"/>
              <a:gd name="connsiteY34" fmla="*/ 247290 h 1282460"/>
              <a:gd name="connsiteX35" fmla="*/ 2697192 w 9149451"/>
              <a:gd name="connsiteY35" fmla="*/ 241540 h 1282460"/>
              <a:gd name="connsiteX36" fmla="*/ 2743200 w 9149451"/>
              <a:gd name="connsiteY36" fmla="*/ 230038 h 1282460"/>
              <a:gd name="connsiteX37" fmla="*/ 2766204 w 9149451"/>
              <a:gd name="connsiteY37" fmla="*/ 224287 h 1282460"/>
              <a:gd name="connsiteX38" fmla="*/ 2794958 w 9149451"/>
              <a:gd name="connsiteY38" fmla="*/ 207034 h 1282460"/>
              <a:gd name="connsiteX39" fmla="*/ 2829464 w 9149451"/>
              <a:gd name="connsiteY39" fmla="*/ 195532 h 1282460"/>
              <a:gd name="connsiteX40" fmla="*/ 2846717 w 9149451"/>
              <a:gd name="connsiteY40" fmla="*/ 189781 h 1282460"/>
              <a:gd name="connsiteX41" fmla="*/ 2909977 w 9149451"/>
              <a:gd name="connsiteY41" fmla="*/ 172528 h 1282460"/>
              <a:gd name="connsiteX42" fmla="*/ 2961736 w 9149451"/>
              <a:gd name="connsiteY42" fmla="*/ 149524 h 1282460"/>
              <a:gd name="connsiteX43" fmla="*/ 2978989 w 9149451"/>
              <a:gd name="connsiteY43" fmla="*/ 143774 h 1282460"/>
              <a:gd name="connsiteX44" fmla="*/ 3001992 w 9149451"/>
              <a:gd name="connsiteY44" fmla="*/ 132272 h 1282460"/>
              <a:gd name="connsiteX45" fmla="*/ 3019245 w 9149451"/>
              <a:gd name="connsiteY45" fmla="*/ 126521 h 1282460"/>
              <a:gd name="connsiteX46" fmla="*/ 3042249 w 9149451"/>
              <a:gd name="connsiteY46" fmla="*/ 115019 h 1282460"/>
              <a:gd name="connsiteX47" fmla="*/ 3076755 w 9149451"/>
              <a:gd name="connsiteY47" fmla="*/ 109268 h 1282460"/>
              <a:gd name="connsiteX48" fmla="*/ 3111260 w 9149451"/>
              <a:gd name="connsiteY48" fmla="*/ 97766 h 1282460"/>
              <a:gd name="connsiteX49" fmla="*/ 3145766 w 9149451"/>
              <a:gd name="connsiteY49" fmla="*/ 92015 h 1282460"/>
              <a:gd name="connsiteX50" fmla="*/ 3168770 w 9149451"/>
              <a:gd name="connsiteY50" fmla="*/ 86264 h 1282460"/>
              <a:gd name="connsiteX51" fmla="*/ 3375804 w 9149451"/>
              <a:gd name="connsiteY51" fmla="*/ 80513 h 1282460"/>
              <a:gd name="connsiteX52" fmla="*/ 3559834 w 9149451"/>
              <a:gd name="connsiteY52" fmla="*/ 86264 h 1282460"/>
              <a:gd name="connsiteX53" fmla="*/ 3594340 w 9149451"/>
              <a:gd name="connsiteY53" fmla="*/ 103517 h 1282460"/>
              <a:gd name="connsiteX54" fmla="*/ 3634596 w 9149451"/>
              <a:gd name="connsiteY54" fmla="*/ 115019 h 1282460"/>
              <a:gd name="connsiteX55" fmla="*/ 3657600 w 9149451"/>
              <a:gd name="connsiteY55" fmla="*/ 126521 h 1282460"/>
              <a:gd name="connsiteX56" fmla="*/ 3680604 w 9149451"/>
              <a:gd name="connsiteY56" fmla="*/ 132272 h 1282460"/>
              <a:gd name="connsiteX57" fmla="*/ 3715109 w 9149451"/>
              <a:gd name="connsiteY57" fmla="*/ 143774 h 1282460"/>
              <a:gd name="connsiteX58" fmla="*/ 3732362 w 9149451"/>
              <a:gd name="connsiteY58" fmla="*/ 149524 h 1282460"/>
              <a:gd name="connsiteX59" fmla="*/ 3784121 w 9149451"/>
              <a:gd name="connsiteY59" fmla="*/ 155275 h 1282460"/>
              <a:gd name="connsiteX60" fmla="*/ 3847381 w 9149451"/>
              <a:gd name="connsiteY60" fmla="*/ 166777 h 1282460"/>
              <a:gd name="connsiteX61" fmla="*/ 3910642 w 9149451"/>
              <a:gd name="connsiteY61" fmla="*/ 172528 h 1282460"/>
              <a:gd name="connsiteX62" fmla="*/ 3979653 w 9149451"/>
              <a:gd name="connsiteY62" fmla="*/ 184030 h 1282460"/>
              <a:gd name="connsiteX63" fmla="*/ 4042913 w 9149451"/>
              <a:gd name="connsiteY63" fmla="*/ 189781 h 1282460"/>
              <a:gd name="connsiteX64" fmla="*/ 4106174 w 9149451"/>
              <a:gd name="connsiteY64" fmla="*/ 207034 h 1282460"/>
              <a:gd name="connsiteX65" fmla="*/ 4146430 w 9149451"/>
              <a:gd name="connsiteY65" fmla="*/ 218536 h 1282460"/>
              <a:gd name="connsiteX66" fmla="*/ 4169434 w 9149451"/>
              <a:gd name="connsiteY66" fmla="*/ 230038 h 1282460"/>
              <a:gd name="connsiteX67" fmla="*/ 4203940 w 9149451"/>
              <a:gd name="connsiteY67" fmla="*/ 235789 h 1282460"/>
              <a:gd name="connsiteX68" fmla="*/ 4232694 w 9149451"/>
              <a:gd name="connsiteY68" fmla="*/ 241540 h 1282460"/>
              <a:gd name="connsiteX69" fmla="*/ 4255698 w 9149451"/>
              <a:gd name="connsiteY69" fmla="*/ 247290 h 1282460"/>
              <a:gd name="connsiteX70" fmla="*/ 4433977 w 9149451"/>
              <a:gd name="connsiteY70" fmla="*/ 253041 h 1282460"/>
              <a:gd name="connsiteX71" fmla="*/ 4502989 w 9149451"/>
              <a:gd name="connsiteY71" fmla="*/ 258792 h 1282460"/>
              <a:gd name="connsiteX72" fmla="*/ 4525992 w 9149451"/>
              <a:gd name="connsiteY72" fmla="*/ 270294 h 1282460"/>
              <a:gd name="connsiteX73" fmla="*/ 4577751 w 9149451"/>
              <a:gd name="connsiteY73" fmla="*/ 293298 h 1282460"/>
              <a:gd name="connsiteX74" fmla="*/ 4629509 w 9149451"/>
              <a:gd name="connsiteY74" fmla="*/ 316302 h 1282460"/>
              <a:gd name="connsiteX75" fmla="*/ 4681268 w 9149451"/>
              <a:gd name="connsiteY75" fmla="*/ 339306 h 1282460"/>
              <a:gd name="connsiteX76" fmla="*/ 4704272 w 9149451"/>
              <a:gd name="connsiteY76" fmla="*/ 350807 h 1282460"/>
              <a:gd name="connsiteX77" fmla="*/ 4756030 w 9149451"/>
              <a:gd name="connsiteY77" fmla="*/ 368060 h 1282460"/>
              <a:gd name="connsiteX78" fmla="*/ 4773283 w 9149451"/>
              <a:gd name="connsiteY78" fmla="*/ 373811 h 1282460"/>
              <a:gd name="connsiteX79" fmla="*/ 4802038 w 9149451"/>
              <a:gd name="connsiteY79" fmla="*/ 391064 h 1282460"/>
              <a:gd name="connsiteX80" fmla="*/ 4842294 w 9149451"/>
              <a:gd name="connsiteY80" fmla="*/ 402566 h 1282460"/>
              <a:gd name="connsiteX81" fmla="*/ 4876800 w 9149451"/>
              <a:gd name="connsiteY81" fmla="*/ 414068 h 1282460"/>
              <a:gd name="connsiteX82" fmla="*/ 4917057 w 9149451"/>
              <a:gd name="connsiteY82" fmla="*/ 419819 h 1282460"/>
              <a:gd name="connsiteX83" fmla="*/ 5072332 w 9149451"/>
              <a:gd name="connsiteY83" fmla="*/ 431321 h 1282460"/>
              <a:gd name="connsiteX84" fmla="*/ 5262113 w 9149451"/>
              <a:gd name="connsiteY84" fmla="*/ 442823 h 1282460"/>
              <a:gd name="connsiteX85" fmla="*/ 5382883 w 9149451"/>
              <a:gd name="connsiteY85" fmla="*/ 454324 h 1282460"/>
              <a:gd name="connsiteX86" fmla="*/ 5520906 w 9149451"/>
              <a:gd name="connsiteY86" fmla="*/ 465826 h 1282460"/>
              <a:gd name="connsiteX87" fmla="*/ 5578415 w 9149451"/>
              <a:gd name="connsiteY87" fmla="*/ 471577 h 1282460"/>
              <a:gd name="connsiteX88" fmla="*/ 5762445 w 9149451"/>
              <a:gd name="connsiteY88" fmla="*/ 483079 h 1282460"/>
              <a:gd name="connsiteX89" fmla="*/ 6003985 w 9149451"/>
              <a:gd name="connsiteY89" fmla="*/ 494581 h 1282460"/>
              <a:gd name="connsiteX90" fmla="*/ 6308785 w 9149451"/>
              <a:gd name="connsiteY90" fmla="*/ 488830 h 1282460"/>
              <a:gd name="connsiteX91" fmla="*/ 6349042 w 9149451"/>
              <a:gd name="connsiteY91" fmla="*/ 477328 h 1282460"/>
              <a:gd name="connsiteX92" fmla="*/ 6400800 w 9149451"/>
              <a:gd name="connsiteY92" fmla="*/ 465826 h 1282460"/>
              <a:gd name="connsiteX93" fmla="*/ 6429555 w 9149451"/>
              <a:gd name="connsiteY93" fmla="*/ 460075 h 1282460"/>
              <a:gd name="connsiteX94" fmla="*/ 6458309 w 9149451"/>
              <a:gd name="connsiteY94" fmla="*/ 448574 h 1282460"/>
              <a:gd name="connsiteX95" fmla="*/ 6521570 w 9149451"/>
              <a:gd name="connsiteY95" fmla="*/ 437072 h 1282460"/>
              <a:gd name="connsiteX96" fmla="*/ 6567577 w 9149451"/>
              <a:gd name="connsiteY96" fmla="*/ 425570 h 1282460"/>
              <a:gd name="connsiteX97" fmla="*/ 6630838 w 9149451"/>
              <a:gd name="connsiteY97" fmla="*/ 408317 h 1282460"/>
              <a:gd name="connsiteX98" fmla="*/ 6648091 w 9149451"/>
              <a:gd name="connsiteY98" fmla="*/ 396815 h 1282460"/>
              <a:gd name="connsiteX99" fmla="*/ 6688347 w 9149451"/>
              <a:gd name="connsiteY99" fmla="*/ 385313 h 1282460"/>
              <a:gd name="connsiteX100" fmla="*/ 6751608 w 9149451"/>
              <a:gd name="connsiteY100" fmla="*/ 362309 h 1282460"/>
              <a:gd name="connsiteX101" fmla="*/ 6786113 w 9149451"/>
              <a:gd name="connsiteY101" fmla="*/ 350807 h 1282460"/>
              <a:gd name="connsiteX102" fmla="*/ 6809117 w 9149451"/>
              <a:gd name="connsiteY102" fmla="*/ 339306 h 1282460"/>
              <a:gd name="connsiteX103" fmla="*/ 6855125 w 9149451"/>
              <a:gd name="connsiteY103" fmla="*/ 333555 h 1282460"/>
              <a:gd name="connsiteX104" fmla="*/ 6906883 w 9149451"/>
              <a:gd name="connsiteY104" fmla="*/ 322053 h 1282460"/>
              <a:gd name="connsiteX105" fmla="*/ 6935638 w 9149451"/>
              <a:gd name="connsiteY105" fmla="*/ 316302 h 1282460"/>
              <a:gd name="connsiteX106" fmla="*/ 6970143 w 9149451"/>
              <a:gd name="connsiteY106" fmla="*/ 310551 h 1282460"/>
              <a:gd name="connsiteX107" fmla="*/ 7125419 w 9149451"/>
              <a:gd name="connsiteY107" fmla="*/ 304800 h 1282460"/>
              <a:gd name="connsiteX108" fmla="*/ 7924800 w 9149451"/>
              <a:gd name="connsiteY108" fmla="*/ 299049 h 1282460"/>
              <a:gd name="connsiteX109" fmla="*/ 7982309 w 9149451"/>
              <a:gd name="connsiteY109" fmla="*/ 293298 h 1282460"/>
              <a:gd name="connsiteX110" fmla="*/ 8120332 w 9149451"/>
              <a:gd name="connsiteY110" fmla="*/ 264543 h 1282460"/>
              <a:gd name="connsiteX111" fmla="*/ 8143336 w 9149451"/>
              <a:gd name="connsiteY111" fmla="*/ 258792 h 1282460"/>
              <a:gd name="connsiteX112" fmla="*/ 8166340 w 9149451"/>
              <a:gd name="connsiteY112" fmla="*/ 247290 h 1282460"/>
              <a:gd name="connsiteX113" fmla="*/ 8189343 w 9149451"/>
              <a:gd name="connsiteY113" fmla="*/ 241540 h 1282460"/>
              <a:gd name="connsiteX114" fmla="*/ 8223849 w 9149451"/>
              <a:gd name="connsiteY114" fmla="*/ 230038 h 1282460"/>
              <a:gd name="connsiteX115" fmla="*/ 8241102 w 9149451"/>
              <a:gd name="connsiteY115" fmla="*/ 224287 h 1282460"/>
              <a:gd name="connsiteX116" fmla="*/ 8264106 w 9149451"/>
              <a:gd name="connsiteY116" fmla="*/ 218536 h 1282460"/>
              <a:gd name="connsiteX117" fmla="*/ 8292860 w 9149451"/>
              <a:gd name="connsiteY117" fmla="*/ 201283 h 1282460"/>
              <a:gd name="connsiteX118" fmla="*/ 8327366 w 9149451"/>
              <a:gd name="connsiteY118" fmla="*/ 189781 h 1282460"/>
              <a:gd name="connsiteX119" fmla="*/ 8367623 w 9149451"/>
              <a:gd name="connsiteY119" fmla="*/ 172528 h 1282460"/>
              <a:gd name="connsiteX120" fmla="*/ 8390626 w 9149451"/>
              <a:gd name="connsiteY120" fmla="*/ 161026 h 1282460"/>
              <a:gd name="connsiteX121" fmla="*/ 8407879 w 9149451"/>
              <a:gd name="connsiteY121" fmla="*/ 155275 h 1282460"/>
              <a:gd name="connsiteX122" fmla="*/ 8436634 w 9149451"/>
              <a:gd name="connsiteY122" fmla="*/ 143774 h 1282460"/>
              <a:gd name="connsiteX123" fmla="*/ 8482642 w 9149451"/>
              <a:gd name="connsiteY123" fmla="*/ 120770 h 1282460"/>
              <a:gd name="connsiteX124" fmla="*/ 8511396 w 9149451"/>
              <a:gd name="connsiteY124" fmla="*/ 115019 h 1282460"/>
              <a:gd name="connsiteX125" fmla="*/ 8528649 w 9149451"/>
              <a:gd name="connsiteY125" fmla="*/ 109268 h 1282460"/>
              <a:gd name="connsiteX126" fmla="*/ 8551653 w 9149451"/>
              <a:gd name="connsiteY126" fmla="*/ 103517 h 1282460"/>
              <a:gd name="connsiteX127" fmla="*/ 8568906 w 9149451"/>
              <a:gd name="connsiteY127" fmla="*/ 92015 h 1282460"/>
              <a:gd name="connsiteX128" fmla="*/ 8597660 w 9149451"/>
              <a:gd name="connsiteY128" fmla="*/ 86264 h 1282460"/>
              <a:gd name="connsiteX129" fmla="*/ 8643668 w 9149451"/>
              <a:gd name="connsiteY129" fmla="*/ 74762 h 1282460"/>
              <a:gd name="connsiteX130" fmla="*/ 8672423 w 9149451"/>
              <a:gd name="connsiteY130" fmla="*/ 69011 h 1282460"/>
              <a:gd name="connsiteX131" fmla="*/ 8735683 w 9149451"/>
              <a:gd name="connsiteY131" fmla="*/ 51758 h 1282460"/>
              <a:gd name="connsiteX132" fmla="*/ 8798943 w 9149451"/>
              <a:gd name="connsiteY132" fmla="*/ 46007 h 1282460"/>
              <a:gd name="connsiteX133" fmla="*/ 8867955 w 9149451"/>
              <a:gd name="connsiteY133" fmla="*/ 51758 h 1282460"/>
              <a:gd name="connsiteX134" fmla="*/ 8965721 w 9149451"/>
              <a:gd name="connsiteY134" fmla="*/ 40257 h 1282460"/>
              <a:gd name="connsiteX135" fmla="*/ 9028981 w 9149451"/>
              <a:gd name="connsiteY135" fmla="*/ 23004 h 1282460"/>
              <a:gd name="connsiteX136" fmla="*/ 9144000 w 9149451"/>
              <a:gd name="connsiteY136" fmla="*/ 17253 h 1282460"/>
              <a:gd name="connsiteX137" fmla="*/ 9144000 w 9149451"/>
              <a:gd name="connsiteY137" fmla="*/ 1282460 h 1282460"/>
              <a:gd name="connsiteX0" fmla="*/ 0 w 9149451"/>
              <a:gd name="connsiteY0" fmla="*/ 1230702 h 1276709"/>
              <a:gd name="connsiteX1" fmla="*/ 563592 w 9149451"/>
              <a:gd name="connsiteY1" fmla="*/ 0 h 1276709"/>
              <a:gd name="connsiteX2" fmla="*/ 661358 w 9149451"/>
              <a:gd name="connsiteY2" fmla="*/ 17253 h 1276709"/>
              <a:gd name="connsiteX3" fmla="*/ 707366 w 9149451"/>
              <a:gd name="connsiteY3" fmla="*/ 23004 h 1276709"/>
              <a:gd name="connsiteX4" fmla="*/ 736121 w 9149451"/>
              <a:gd name="connsiteY4" fmla="*/ 28755 h 1276709"/>
              <a:gd name="connsiteX5" fmla="*/ 799381 w 9149451"/>
              <a:gd name="connsiteY5" fmla="*/ 40256 h 1276709"/>
              <a:gd name="connsiteX6" fmla="*/ 885645 w 9149451"/>
              <a:gd name="connsiteY6" fmla="*/ 57509 h 1276709"/>
              <a:gd name="connsiteX7" fmla="*/ 971909 w 9149451"/>
              <a:gd name="connsiteY7" fmla="*/ 80513 h 1276709"/>
              <a:gd name="connsiteX8" fmla="*/ 1023668 w 9149451"/>
              <a:gd name="connsiteY8" fmla="*/ 86264 h 1276709"/>
              <a:gd name="connsiteX9" fmla="*/ 1040921 w 9149451"/>
              <a:gd name="connsiteY9" fmla="*/ 92015 h 1276709"/>
              <a:gd name="connsiteX10" fmla="*/ 1109932 w 9149451"/>
              <a:gd name="connsiteY10" fmla="*/ 103517 h 1276709"/>
              <a:gd name="connsiteX11" fmla="*/ 1190445 w 9149451"/>
              <a:gd name="connsiteY11" fmla="*/ 120770 h 1276709"/>
              <a:gd name="connsiteX12" fmla="*/ 1293962 w 9149451"/>
              <a:gd name="connsiteY12" fmla="*/ 138023 h 1276709"/>
              <a:gd name="connsiteX13" fmla="*/ 1357223 w 9149451"/>
              <a:gd name="connsiteY13" fmla="*/ 155275 h 1276709"/>
              <a:gd name="connsiteX14" fmla="*/ 1397479 w 9149451"/>
              <a:gd name="connsiteY14" fmla="*/ 161026 h 1276709"/>
              <a:gd name="connsiteX15" fmla="*/ 1489494 w 9149451"/>
              <a:gd name="connsiteY15" fmla="*/ 184030 h 1276709"/>
              <a:gd name="connsiteX16" fmla="*/ 1535502 w 9149451"/>
              <a:gd name="connsiteY16" fmla="*/ 195532 h 1276709"/>
              <a:gd name="connsiteX17" fmla="*/ 1621766 w 9149451"/>
              <a:gd name="connsiteY17" fmla="*/ 207034 h 1276709"/>
              <a:gd name="connsiteX18" fmla="*/ 1690777 w 9149451"/>
              <a:gd name="connsiteY18" fmla="*/ 224287 h 1276709"/>
              <a:gd name="connsiteX19" fmla="*/ 1713781 w 9149451"/>
              <a:gd name="connsiteY19" fmla="*/ 230038 h 1276709"/>
              <a:gd name="connsiteX20" fmla="*/ 1759789 w 9149451"/>
              <a:gd name="connsiteY20" fmla="*/ 235789 h 1276709"/>
              <a:gd name="connsiteX21" fmla="*/ 1782792 w 9149451"/>
              <a:gd name="connsiteY21" fmla="*/ 241539 h 1276709"/>
              <a:gd name="connsiteX22" fmla="*/ 1869057 w 9149451"/>
              <a:gd name="connsiteY22" fmla="*/ 253041 h 1276709"/>
              <a:gd name="connsiteX23" fmla="*/ 1961072 w 9149451"/>
              <a:gd name="connsiteY23" fmla="*/ 264543 h 1276709"/>
              <a:gd name="connsiteX24" fmla="*/ 2012830 w 9149451"/>
              <a:gd name="connsiteY24" fmla="*/ 270294 h 1276709"/>
              <a:gd name="connsiteX25" fmla="*/ 2047336 w 9149451"/>
              <a:gd name="connsiteY25" fmla="*/ 276045 h 1276709"/>
              <a:gd name="connsiteX26" fmla="*/ 2237117 w 9149451"/>
              <a:gd name="connsiteY26" fmla="*/ 287547 h 1276709"/>
              <a:gd name="connsiteX27" fmla="*/ 2467155 w 9149451"/>
              <a:gd name="connsiteY27" fmla="*/ 281796 h 1276709"/>
              <a:gd name="connsiteX28" fmla="*/ 2495909 w 9149451"/>
              <a:gd name="connsiteY28" fmla="*/ 276045 h 1276709"/>
              <a:gd name="connsiteX29" fmla="*/ 2559170 w 9149451"/>
              <a:gd name="connsiteY29" fmla="*/ 270294 h 1276709"/>
              <a:gd name="connsiteX30" fmla="*/ 2587925 w 9149451"/>
              <a:gd name="connsiteY30" fmla="*/ 264543 h 1276709"/>
              <a:gd name="connsiteX31" fmla="*/ 2633932 w 9149451"/>
              <a:gd name="connsiteY31" fmla="*/ 258792 h 1276709"/>
              <a:gd name="connsiteX32" fmla="*/ 2656936 w 9149451"/>
              <a:gd name="connsiteY32" fmla="*/ 247290 h 1276709"/>
              <a:gd name="connsiteX33" fmla="*/ 2679940 w 9149451"/>
              <a:gd name="connsiteY33" fmla="*/ 241539 h 1276709"/>
              <a:gd name="connsiteX34" fmla="*/ 2697192 w 9149451"/>
              <a:gd name="connsiteY34" fmla="*/ 235789 h 1276709"/>
              <a:gd name="connsiteX35" fmla="*/ 2743200 w 9149451"/>
              <a:gd name="connsiteY35" fmla="*/ 224287 h 1276709"/>
              <a:gd name="connsiteX36" fmla="*/ 2766204 w 9149451"/>
              <a:gd name="connsiteY36" fmla="*/ 218536 h 1276709"/>
              <a:gd name="connsiteX37" fmla="*/ 2794958 w 9149451"/>
              <a:gd name="connsiteY37" fmla="*/ 201283 h 1276709"/>
              <a:gd name="connsiteX38" fmla="*/ 2829464 w 9149451"/>
              <a:gd name="connsiteY38" fmla="*/ 189781 h 1276709"/>
              <a:gd name="connsiteX39" fmla="*/ 2846717 w 9149451"/>
              <a:gd name="connsiteY39" fmla="*/ 184030 h 1276709"/>
              <a:gd name="connsiteX40" fmla="*/ 2909977 w 9149451"/>
              <a:gd name="connsiteY40" fmla="*/ 166777 h 1276709"/>
              <a:gd name="connsiteX41" fmla="*/ 2961736 w 9149451"/>
              <a:gd name="connsiteY41" fmla="*/ 143773 h 1276709"/>
              <a:gd name="connsiteX42" fmla="*/ 2978989 w 9149451"/>
              <a:gd name="connsiteY42" fmla="*/ 138023 h 1276709"/>
              <a:gd name="connsiteX43" fmla="*/ 3001992 w 9149451"/>
              <a:gd name="connsiteY43" fmla="*/ 126521 h 1276709"/>
              <a:gd name="connsiteX44" fmla="*/ 3019245 w 9149451"/>
              <a:gd name="connsiteY44" fmla="*/ 120770 h 1276709"/>
              <a:gd name="connsiteX45" fmla="*/ 3042249 w 9149451"/>
              <a:gd name="connsiteY45" fmla="*/ 109268 h 1276709"/>
              <a:gd name="connsiteX46" fmla="*/ 3076755 w 9149451"/>
              <a:gd name="connsiteY46" fmla="*/ 103517 h 1276709"/>
              <a:gd name="connsiteX47" fmla="*/ 3111260 w 9149451"/>
              <a:gd name="connsiteY47" fmla="*/ 92015 h 1276709"/>
              <a:gd name="connsiteX48" fmla="*/ 3145766 w 9149451"/>
              <a:gd name="connsiteY48" fmla="*/ 86264 h 1276709"/>
              <a:gd name="connsiteX49" fmla="*/ 3168770 w 9149451"/>
              <a:gd name="connsiteY49" fmla="*/ 80513 h 1276709"/>
              <a:gd name="connsiteX50" fmla="*/ 3375804 w 9149451"/>
              <a:gd name="connsiteY50" fmla="*/ 74762 h 1276709"/>
              <a:gd name="connsiteX51" fmla="*/ 3559834 w 9149451"/>
              <a:gd name="connsiteY51" fmla="*/ 80513 h 1276709"/>
              <a:gd name="connsiteX52" fmla="*/ 3594340 w 9149451"/>
              <a:gd name="connsiteY52" fmla="*/ 97766 h 1276709"/>
              <a:gd name="connsiteX53" fmla="*/ 3634596 w 9149451"/>
              <a:gd name="connsiteY53" fmla="*/ 109268 h 1276709"/>
              <a:gd name="connsiteX54" fmla="*/ 3657600 w 9149451"/>
              <a:gd name="connsiteY54" fmla="*/ 120770 h 1276709"/>
              <a:gd name="connsiteX55" fmla="*/ 3680604 w 9149451"/>
              <a:gd name="connsiteY55" fmla="*/ 126521 h 1276709"/>
              <a:gd name="connsiteX56" fmla="*/ 3715109 w 9149451"/>
              <a:gd name="connsiteY56" fmla="*/ 138023 h 1276709"/>
              <a:gd name="connsiteX57" fmla="*/ 3732362 w 9149451"/>
              <a:gd name="connsiteY57" fmla="*/ 143773 h 1276709"/>
              <a:gd name="connsiteX58" fmla="*/ 3784121 w 9149451"/>
              <a:gd name="connsiteY58" fmla="*/ 149524 h 1276709"/>
              <a:gd name="connsiteX59" fmla="*/ 3847381 w 9149451"/>
              <a:gd name="connsiteY59" fmla="*/ 161026 h 1276709"/>
              <a:gd name="connsiteX60" fmla="*/ 3910642 w 9149451"/>
              <a:gd name="connsiteY60" fmla="*/ 166777 h 1276709"/>
              <a:gd name="connsiteX61" fmla="*/ 3979653 w 9149451"/>
              <a:gd name="connsiteY61" fmla="*/ 178279 h 1276709"/>
              <a:gd name="connsiteX62" fmla="*/ 4042913 w 9149451"/>
              <a:gd name="connsiteY62" fmla="*/ 184030 h 1276709"/>
              <a:gd name="connsiteX63" fmla="*/ 4106174 w 9149451"/>
              <a:gd name="connsiteY63" fmla="*/ 201283 h 1276709"/>
              <a:gd name="connsiteX64" fmla="*/ 4146430 w 9149451"/>
              <a:gd name="connsiteY64" fmla="*/ 212785 h 1276709"/>
              <a:gd name="connsiteX65" fmla="*/ 4169434 w 9149451"/>
              <a:gd name="connsiteY65" fmla="*/ 224287 h 1276709"/>
              <a:gd name="connsiteX66" fmla="*/ 4203940 w 9149451"/>
              <a:gd name="connsiteY66" fmla="*/ 230038 h 1276709"/>
              <a:gd name="connsiteX67" fmla="*/ 4232694 w 9149451"/>
              <a:gd name="connsiteY67" fmla="*/ 235789 h 1276709"/>
              <a:gd name="connsiteX68" fmla="*/ 4255698 w 9149451"/>
              <a:gd name="connsiteY68" fmla="*/ 241539 h 1276709"/>
              <a:gd name="connsiteX69" fmla="*/ 4433977 w 9149451"/>
              <a:gd name="connsiteY69" fmla="*/ 247290 h 1276709"/>
              <a:gd name="connsiteX70" fmla="*/ 4502989 w 9149451"/>
              <a:gd name="connsiteY70" fmla="*/ 253041 h 1276709"/>
              <a:gd name="connsiteX71" fmla="*/ 4525992 w 9149451"/>
              <a:gd name="connsiteY71" fmla="*/ 264543 h 1276709"/>
              <a:gd name="connsiteX72" fmla="*/ 4577751 w 9149451"/>
              <a:gd name="connsiteY72" fmla="*/ 287547 h 1276709"/>
              <a:gd name="connsiteX73" fmla="*/ 4629509 w 9149451"/>
              <a:gd name="connsiteY73" fmla="*/ 310551 h 1276709"/>
              <a:gd name="connsiteX74" fmla="*/ 4681268 w 9149451"/>
              <a:gd name="connsiteY74" fmla="*/ 333555 h 1276709"/>
              <a:gd name="connsiteX75" fmla="*/ 4704272 w 9149451"/>
              <a:gd name="connsiteY75" fmla="*/ 345056 h 1276709"/>
              <a:gd name="connsiteX76" fmla="*/ 4756030 w 9149451"/>
              <a:gd name="connsiteY76" fmla="*/ 362309 h 1276709"/>
              <a:gd name="connsiteX77" fmla="*/ 4773283 w 9149451"/>
              <a:gd name="connsiteY77" fmla="*/ 368060 h 1276709"/>
              <a:gd name="connsiteX78" fmla="*/ 4802038 w 9149451"/>
              <a:gd name="connsiteY78" fmla="*/ 385313 h 1276709"/>
              <a:gd name="connsiteX79" fmla="*/ 4842294 w 9149451"/>
              <a:gd name="connsiteY79" fmla="*/ 396815 h 1276709"/>
              <a:gd name="connsiteX80" fmla="*/ 4876800 w 9149451"/>
              <a:gd name="connsiteY80" fmla="*/ 408317 h 1276709"/>
              <a:gd name="connsiteX81" fmla="*/ 4917057 w 9149451"/>
              <a:gd name="connsiteY81" fmla="*/ 414068 h 1276709"/>
              <a:gd name="connsiteX82" fmla="*/ 5072332 w 9149451"/>
              <a:gd name="connsiteY82" fmla="*/ 425570 h 1276709"/>
              <a:gd name="connsiteX83" fmla="*/ 5262113 w 9149451"/>
              <a:gd name="connsiteY83" fmla="*/ 437072 h 1276709"/>
              <a:gd name="connsiteX84" fmla="*/ 5382883 w 9149451"/>
              <a:gd name="connsiteY84" fmla="*/ 448573 h 1276709"/>
              <a:gd name="connsiteX85" fmla="*/ 5520906 w 9149451"/>
              <a:gd name="connsiteY85" fmla="*/ 460075 h 1276709"/>
              <a:gd name="connsiteX86" fmla="*/ 5578415 w 9149451"/>
              <a:gd name="connsiteY86" fmla="*/ 465826 h 1276709"/>
              <a:gd name="connsiteX87" fmla="*/ 5762445 w 9149451"/>
              <a:gd name="connsiteY87" fmla="*/ 477328 h 1276709"/>
              <a:gd name="connsiteX88" fmla="*/ 6003985 w 9149451"/>
              <a:gd name="connsiteY88" fmla="*/ 488830 h 1276709"/>
              <a:gd name="connsiteX89" fmla="*/ 6308785 w 9149451"/>
              <a:gd name="connsiteY89" fmla="*/ 483079 h 1276709"/>
              <a:gd name="connsiteX90" fmla="*/ 6349042 w 9149451"/>
              <a:gd name="connsiteY90" fmla="*/ 471577 h 1276709"/>
              <a:gd name="connsiteX91" fmla="*/ 6400800 w 9149451"/>
              <a:gd name="connsiteY91" fmla="*/ 460075 h 1276709"/>
              <a:gd name="connsiteX92" fmla="*/ 6429555 w 9149451"/>
              <a:gd name="connsiteY92" fmla="*/ 454324 h 1276709"/>
              <a:gd name="connsiteX93" fmla="*/ 6458309 w 9149451"/>
              <a:gd name="connsiteY93" fmla="*/ 442823 h 1276709"/>
              <a:gd name="connsiteX94" fmla="*/ 6521570 w 9149451"/>
              <a:gd name="connsiteY94" fmla="*/ 431321 h 1276709"/>
              <a:gd name="connsiteX95" fmla="*/ 6567577 w 9149451"/>
              <a:gd name="connsiteY95" fmla="*/ 419819 h 1276709"/>
              <a:gd name="connsiteX96" fmla="*/ 6630838 w 9149451"/>
              <a:gd name="connsiteY96" fmla="*/ 402566 h 1276709"/>
              <a:gd name="connsiteX97" fmla="*/ 6648091 w 9149451"/>
              <a:gd name="connsiteY97" fmla="*/ 391064 h 1276709"/>
              <a:gd name="connsiteX98" fmla="*/ 6688347 w 9149451"/>
              <a:gd name="connsiteY98" fmla="*/ 379562 h 1276709"/>
              <a:gd name="connsiteX99" fmla="*/ 6751608 w 9149451"/>
              <a:gd name="connsiteY99" fmla="*/ 356558 h 1276709"/>
              <a:gd name="connsiteX100" fmla="*/ 6786113 w 9149451"/>
              <a:gd name="connsiteY100" fmla="*/ 345056 h 1276709"/>
              <a:gd name="connsiteX101" fmla="*/ 6809117 w 9149451"/>
              <a:gd name="connsiteY101" fmla="*/ 333555 h 1276709"/>
              <a:gd name="connsiteX102" fmla="*/ 6855125 w 9149451"/>
              <a:gd name="connsiteY102" fmla="*/ 327804 h 1276709"/>
              <a:gd name="connsiteX103" fmla="*/ 6906883 w 9149451"/>
              <a:gd name="connsiteY103" fmla="*/ 316302 h 1276709"/>
              <a:gd name="connsiteX104" fmla="*/ 6935638 w 9149451"/>
              <a:gd name="connsiteY104" fmla="*/ 310551 h 1276709"/>
              <a:gd name="connsiteX105" fmla="*/ 6970143 w 9149451"/>
              <a:gd name="connsiteY105" fmla="*/ 304800 h 1276709"/>
              <a:gd name="connsiteX106" fmla="*/ 7125419 w 9149451"/>
              <a:gd name="connsiteY106" fmla="*/ 299049 h 1276709"/>
              <a:gd name="connsiteX107" fmla="*/ 7924800 w 9149451"/>
              <a:gd name="connsiteY107" fmla="*/ 293298 h 1276709"/>
              <a:gd name="connsiteX108" fmla="*/ 7982309 w 9149451"/>
              <a:gd name="connsiteY108" fmla="*/ 287547 h 1276709"/>
              <a:gd name="connsiteX109" fmla="*/ 8120332 w 9149451"/>
              <a:gd name="connsiteY109" fmla="*/ 258792 h 1276709"/>
              <a:gd name="connsiteX110" fmla="*/ 8143336 w 9149451"/>
              <a:gd name="connsiteY110" fmla="*/ 253041 h 1276709"/>
              <a:gd name="connsiteX111" fmla="*/ 8166340 w 9149451"/>
              <a:gd name="connsiteY111" fmla="*/ 241539 h 1276709"/>
              <a:gd name="connsiteX112" fmla="*/ 8189343 w 9149451"/>
              <a:gd name="connsiteY112" fmla="*/ 235789 h 1276709"/>
              <a:gd name="connsiteX113" fmla="*/ 8223849 w 9149451"/>
              <a:gd name="connsiteY113" fmla="*/ 224287 h 1276709"/>
              <a:gd name="connsiteX114" fmla="*/ 8241102 w 9149451"/>
              <a:gd name="connsiteY114" fmla="*/ 218536 h 1276709"/>
              <a:gd name="connsiteX115" fmla="*/ 8264106 w 9149451"/>
              <a:gd name="connsiteY115" fmla="*/ 212785 h 1276709"/>
              <a:gd name="connsiteX116" fmla="*/ 8292860 w 9149451"/>
              <a:gd name="connsiteY116" fmla="*/ 195532 h 1276709"/>
              <a:gd name="connsiteX117" fmla="*/ 8327366 w 9149451"/>
              <a:gd name="connsiteY117" fmla="*/ 184030 h 1276709"/>
              <a:gd name="connsiteX118" fmla="*/ 8367623 w 9149451"/>
              <a:gd name="connsiteY118" fmla="*/ 166777 h 1276709"/>
              <a:gd name="connsiteX119" fmla="*/ 8390626 w 9149451"/>
              <a:gd name="connsiteY119" fmla="*/ 155275 h 1276709"/>
              <a:gd name="connsiteX120" fmla="*/ 8407879 w 9149451"/>
              <a:gd name="connsiteY120" fmla="*/ 149524 h 1276709"/>
              <a:gd name="connsiteX121" fmla="*/ 8436634 w 9149451"/>
              <a:gd name="connsiteY121" fmla="*/ 138023 h 1276709"/>
              <a:gd name="connsiteX122" fmla="*/ 8482642 w 9149451"/>
              <a:gd name="connsiteY122" fmla="*/ 115019 h 1276709"/>
              <a:gd name="connsiteX123" fmla="*/ 8511396 w 9149451"/>
              <a:gd name="connsiteY123" fmla="*/ 109268 h 1276709"/>
              <a:gd name="connsiteX124" fmla="*/ 8528649 w 9149451"/>
              <a:gd name="connsiteY124" fmla="*/ 103517 h 1276709"/>
              <a:gd name="connsiteX125" fmla="*/ 8551653 w 9149451"/>
              <a:gd name="connsiteY125" fmla="*/ 97766 h 1276709"/>
              <a:gd name="connsiteX126" fmla="*/ 8568906 w 9149451"/>
              <a:gd name="connsiteY126" fmla="*/ 86264 h 1276709"/>
              <a:gd name="connsiteX127" fmla="*/ 8597660 w 9149451"/>
              <a:gd name="connsiteY127" fmla="*/ 80513 h 1276709"/>
              <a:gd name="connsiteX128" fmla="*/ 8643668 w 9149451"/>
              <a:gd name="connsiteY128" fmla="*/ 69011 h 1276709"/>
              <a:gd name="connsiteX129" fmla="*/ 8672423 w 9149451"/>
              <a:gd name="connsiteY129" fmla="*/ 63260 h 1276709"/>
              <a:gd name="connsiteX130" fmla="*/ 8735683 w 9149451"/>
              <a:gd name="connsiteY130" fmla="*/ 46007 h 1276709"/>
              <a:gd name="connsiteX131" fmla="*/ 8798943 w 9149451"/>
              <a:gd name="connsiteY131" fmla="*/ 40256 h 1276709"/>
              <a:gd name="connsiteX132" fmla="*/ 8867955 w 9149451"/>
              <a:gd name="connsiteY132" fmla="*/ 46007 h 1276709"/>
              <a:gd name="connsiteX133" fmla="*/ 8965721 w 9149451"/>
              <a:gd name="connsiteY133" fmla="*/ 34506 h 1276709"/>
              <a:gd name="connsiteX134" fmla="*/ 9028981 w 9149451"/>
              <a:gd name="connsiteY134" fmla="*/ 17253 h 1276709"/>
              <a:gd name="connsiteX135" fmla="*/ 9144000 w 9149451"/>
              <a:gd name="connsiteY135" fmla="*/ 11502 h 1276709"/>
              <a:gd name="connsiteX136" fmla="*/ 9144000 w 9149451"/>
              <a:gd name="connsiteY136" fmla="*/ 1276709 h 1276709"/>
              <a:gd name="connsiteX0" fmla="*/ 0 w 9149451"/>
              <a:gd name="connsiteY0" fmla="*/ 1219200 h 1265207"/>
              <a:gd name="connsiteX1" fmla="*/ 661358 w 9149451"/>
              <a:gd name="connsiteY1" fmla="*/ 5751 h 1265207"/>
              <a:gd name="connsiteX2" fmla="*/ 707366 w 9149451"/>
              <a:gd name="connsiteY2" fmla="*/ 11502 h 1265207"/>
              <a:gd name="connsiteX3" fmla="*/ 736121 w 9149451"/>
              <a:gd name="connsiteY3" fmla="*/ 17253 h 1265207"/>
              <a:gd name="connsiteX4" fmla="*/ 799381 w 9149451"/>
              <a:gd name="connsiteY4" fmla="*/ 28754 h 1265207"/>
              <a:gd name="connsiteX5" fmla="*/ 885645 w 9149451"/>
              <a:gd name="connsiteY5" fmla="*/ 46007 h 1265207"/>
              <a:gd name="connsiteX6" fmla="*/ 971909 w 9149451"/>
              <a:gd name="connsiteY6" fmla="*/ 69011 h 1265207"/>
              <a:gd name="connsiteX7" fmla="*/ 1023668 w 9149451"/>
              <a:gd name="connsiteY7" fmla="*/ 74762 h 1265207"/>
              <a:gd name="connsiteX8" fmla="*/ 1040921 w 9149451"/>
              <a:gd name="connsiteY8" fmla="*/ 80513 h 1265207"/>
              <a:gd name="connsiteX9" fmla="*/ 1109932 w 9149451"/>
              <a:gd name="connsiteY9" fmla="*/ 92015 h 1265207"/>
              <a:gd name="connsiteX10" fmla="*/ 1190445 w 9149451"/>
              <a:gd name="connsiteY10" fmla="*/ 109268 h 1265207"/>
              <a:gd name="connsiteX11" fmla="*/ 1293962 w 9149451"/>
              <a:gd name="connsiteY11" fmla="*/ 126521 h 1265207"/>
              <a:gd name="connsiteX12" fmla="*/ 1357223 w 9149451"/>
              <a:gd name="connsiteY12" fmla="*/ 143773 h 1265207"/>
              <a:gd name="connsiteX13" fmla="*/ 1397479 w 9149451"/>
              <a:gd name="connsiteY13" fmla="*/ 149524 h 1265207"/>
              <a:gd name="connsiteX14" fmla="*/ 1489494 w 9149451"/>
              <a:gd name="connsiteY14" fmla="*/ 172528 h 1265207"/>
              <a:gd name="connsiteX15" fmla="*/ 1535502 w 9149451"/>
              <a:gd name="connsiteY15" fmla="*/ 184030 h 1265207"/>
              <a:gd name="connsiteX16" fmla="*/ 1621766 w 9149451"/>
              <a:gd name="connsiteY16" fmla="*/ 195532 h 1265207"/>
              <a:gd name="connsiteX17" fmla="*/ 1690777 w 9149451"/>
              <a:gd name="connsiteY17" fmla="*/ 212785 h 1265207"/>
              <a:gd name="connsiteX18" fmla="*/ 1713781 w 9149451"/>
              <a:gd name="connsiteY18" fmla="*/ 218536 h 1265207"/>
              <a:gd name="connsiteX19" fmla="*/ 1759789 w 9149451"/>
              <a:gd name="connsiteY19" fmla="*/ 224287 h 1265207"/>
              <a:gd name="connsiteX20" fmla="*/ 1782792 w 9149451"/>
              <a:gd name="connsiteY20" fmla="*/ 230037 h 1265207"/>
              <a:gd name="connsiteX21" fmla="*/ 1869057 w 9149451"/>
              <a:gd name="connsiteY21" fmla="*/ 241539 h 1265207"/>
              <a:gd name="connsiteX22" fmla="*/ 1961072 w 9149451"/>
              <a:gd name="connsiteY22" fmla="*/ 253041 h 1265207"/>
              <a:gd name="connsiteX23" fmla="*/ 2012830 w 9149451"/>
              <a:gd name="connsiteY23" fmla="*/ 258792 h 1265207"/>
              <a:gd name="connsiteX24" fmla="*/ 2047336 w 9149451"/>
              <a:gd name="connsiteY24" fmla="*/ 264543 h 1265207"/>
              <a:gd name="connsiteX25" fmla="*/ 2237117 w 9149451"/>
              <a:gd name="connsiteY25" fmla="*/ 276045 h 1265207"/>
              <a:gd name="connsiteX26" fmla="*/ 2467155 w 9149451"/>
              <a:gd name="connsiteY26" fmla="*/ 270294 h 1265207"/>
              <a:gd name="connsiteX27" fmla="*/ 2495909 w 9149451"/>
              <a:gd name="connsiteY27" fmla="*/ 264543 h 1265207"/>
              <a:gd name="connsiteX28" fmla="*/ 2559170 w 9149451"/>
              <a:gd name="connsiteY28" fmla="*/ 258792 h 1265207"/>
              <a:gd name="connsiteX29" fmla="*/ 2587925 w 9149451"/>
              <a:gd name="connsiteY29" fmla="*/ 253041 h 1265207"/>
              <a:gd name="connsiteX30" fmla="*/ 2633932 w 9149451"/>
              <a:gd name="connsiteY30" fmla="*/ 247290 h 1265207"/>
              <a:gd name="connsiteX31" fmla="*/ 2656936 w 9149451"/>
              <a:gd name="connsiteY31" fmla="*/ 235788 h 1265207"/>
              <a:gd name="connsiteX32" fmla="*/ 2679940 w 9149451"/>
              <a:gd name="connsiteY32" fmla="*/ 230037 h 1265207"/>
              <a:gd name="connsiteX33" fmla="*/ 2697192 w 9149451"/>
              <a:gd name="connsiteY33" fmla="*/ 224287 h 1265207"/>
              <a:gd name="connsiteX34" fmla="*/ 2743200 w 9149451"/>
              <a:gd name="connsiteY34" fmla="*/ 212785 h 1265207"/>
              <a:gd name="connsiteX35" fmla="*/ 2766204 w 9149451"/>
              <a:gd name="connsiteY35" fmla="*/ 207034 h 1265207"/>
              <a:gd name="connsiteX36" fmla="*/ 2794958 w 9149451"/>
              <a:gd name="connsiteY36" fmla="*/ 189781 h 1265207"/>
              <a:gd name="connsiteX37" fmla="*/ 2829464 w 9149451"/>
              <a:gd name="connsiteY37" fmla="*/ 178279 h 1265207"/>
              <a:gd name="connsiteX38" fmla="*/ 2846717 w 9149451"/>
              <a:gd name="connsiteY38" fmla="*/ 172528 h 1265207"/>
              <a:gd name="connsiteX39" fmla="*/ 2909977 w 9149451"/>
              <a:gd name="connsiteY39" fmla="*/ 155275 h 1265207"/>
              <a:gd name="connsiteX40" fmla="*/ 2961736 w 9149451"/>
              <a:gd name="connsiteY40" fmla="*/ 132271 h 1265207"/>
              <a:gd name="connsiteX41" fmla="*/ 2978989 w 9149451"/>
              <a:gd name="connsiteY41" fmla="*/ 126521 h 1265207"/>
              <a:gd name="connsiteX42" fmla="*/ 3001992 w 9149451"/>
              <a:gd name="connsiteY42" fmla="*/ 115019 h 1265207"/>
              <a:gd name="connsiteX43" fmla="*/ 3019245 w 9149451"/>
              <a:gd name="connsiteY43" fmla="*/ 109268 h 1265207"/>
              <a:gd name="connsiteX44" fmla="*/ 3042249 w 9149451"/>
              <a:gd name="connsiteY44" fmla="*/ 97766 h 1265207"/>
              <a:gd name="connsiteX45" fmla="*/ 3076755 w 9149451"/>
              <a:gd name="connsiteY45" fmla="*/ 92015 h 1265207"/>
              <a:gd name="connsiteX46" fmla="*/ 3111260 w 9149451"/>
              <a:gd name="connsiteY46" fmla="*/ 80513 h 1265207"/>
              <a:gd name="connsiteX47" fmla="*/ 3145766 w 9149451"/>
              <a:gd name="connsiteY47" fmla="*/ 74762 h 1265207"/>
              <a:gd name="connsiteX48" fmla="*/ 3168770 w 9149451"/>
              <a:gd name="connsiteY48" fmla="*/ 69011 h 1265207"/>
              <a:gd name="connsiteX49" fmla="*/ 3375804 w 9149451"/>
              <a:gd name="connsiteY49" fmla="*/ 63260 h 1265207"/>
              <a:gd name="connsiteX50" fmla="*/ 3559834 w 9149451"/>
              <a:gd name="connsiteY50" fmla="*/ 69011 h 1265207"/>
              <a:gd name="connsiteX51" fmla="*/ 3594340 w 9149451"/>
              <a:gd name="connsiteY51" fmla="*/ 86264 h 1265207"/>
              <a:gd name="connsiteX52" fmla="*/ 3634596 w 9149451"/>
              <a:gd name="connsiteY52" fmla="*/ 97766 h 1265207"/>
              <a:gd name="connsiteX53" fmla="*/ 3657600 w 9149451"/>
              <a:gd name="connsiteY53" fmla="*/ 109268 h 1265207"/>
              <a:gd name="connsiteX54" fmla="*/ 3680604 w 9149451"/>
              <a:gd name="connsiteY54" fmla="*/ 115019 h 1265207"/>
              <a:gd name="connsiteX55" fmla="*/ 3715109 w 9149451"/>
              <a:gd name="connsiteY55" fmla="*/ 126521 h 1265207"/>
              <a:gd name="connsiteX56" fmla="*/ 3732362 w 9149451"/>
              <a:gd name="connsiteY56" fmla="*/ 132271 h 1265207"/>
              <a:gd name="connsiteX57" fmla="*/ 3784121 w 9149451"/>
              <a:gd name="connsiteY57" fmla="*/ 138022 h 1265207"/>
              <a:gd name="connsiteX58" fmla="*/ 3847381 w 9149451"/>
              <a:gd name="connsiteY58" fmla="*/ 149524 h 1265207"/>
              <a:gd name="connsiteX59" fmla="*/ 3910642 w 9149451"/>
              <a:gd name="connsiteY59" fmla="*/ 155275 h 1265207"/>
              <a:gd name="connsiteX60" fmla="*/ 3979653 w 9149451"/>
              <a:gd name="connsiteY60" fmla="*/ 166777 h 1265207"/>
              <a:gd name="connsiteX61" fmla="*/ 4042913 w 9149451"/>
              <a:gd name="connsiteY61" fmla="*/ 172528 h 1265207"/>
              <a:gd name="connsiteX62" fmla="*/ 4106174 w 9149451"/>
              <a:gd name="connsiteY62" fmla="*/ 189781 h 1265207"/>
              <a:gd name="connsiteX63" fmla="*/ 4146430 w 9149451"/>
              <a:gd name="connsiteY63" fmla="*/ 201283 h 1265207"/>
              <a:gd name="connsiteX64" fmla="*/ 4169434 w 9149451"/>
              <a:gd name="connsiteY64" fmla="*/ 212785 h 1265207"/>
              <a:gd name="connsiteX65" fmla="*/ 4203940 w 9149451"/>
              <a:gd name="connsiteY65" fmla="*/ 218536 h 1265207"/>
              <a:gd name="connsiteX66" fmla="*/ 4232694 w 9149451"/>
              <a:gd name="connsiteY66" fmla="*/ 224287 h 1265207"/>
              <a:gd name="connsiteX67" fmla="*/ 4255698 w 9149451"/>
              <a:gd name="connsiteY67" fmla="*/ 230037 h 1265207"/>
              <a:gd name="connsiteX68" fmla="*/ 4433977 w 9149451"/>
              <a:gd name="connsiteY68" fmla="*/ 235788 h 1265207"/>
              <a:gd name="connsiteX69" fmla="*/ 4502989 w 9149451"/>
              <a:gd name="connsiteY69" fmla="*/ 241539 h 1265207"/>
              <a:gd name="connsiteX70" fmla="*/ 4525992 w 9149451"/>
              <a:gd name="connsiteY70" fmla="*/ 253041 h 1265207"/>
              <a:gd name="connsiteX71" fmla="*/ 4577751 w 9149451"/>
              <a:gd name="connsiteY71" fmla="*/ 276045 h 1265207"/>
              <a:gd name="connsiteX72" fmla="*/ 4629509 w 9149451"/>
              <a:gd name="connsiteY72" fmla="*/ 299049 h 1265207"/>
              <a:gd name="connsiteX73" fmla="*/ 4681268 w 9149451"/>
              <a:gd name="connsiteY73" fmla="*/ 322053 h 1265207"/>
              <a:gd name="connsiteX74" fmla="*/ 4704272 w 9149451"/>
              <a:gd name="connsiteY74" fmla="*/ 333554 h 1265207"/>
              <a:gd name="connsiteX75" fmla="*/ 4756030 w 9149451"/>
              <a:gd name="connsiteY75" fmla="*/ 350807 h 1265207"/>
              <a:gd name="connsiteX76" fmla="*/ 4773283 w 9149451"/>
              <a:gd name="connsiteY76" fmla="*/ 356558 h 1265207"/>
              <a:gd name="connsiteX77" fmla="*/ 4802038 w 9149451"/>
              <a:gd name="connsiteY77" fmla="*/ 373811 h 1265207"/>
              <a:gd name="connsiteX78" fmla="*/ 4842294 w 9149451"/>
              <a:gd name="connsiteY78" fmla="*/ 385313 h 1265207"/>
              <a:gd name="connsiteX79" fmla="*/ 4876800 w 9149451"/>
              <a:gd name="connsiteY79" fmla="*/ 396815 h 1265207"/>
              <a:gd name="connsiteX80" fmla="*/ 4917057 w 9149451"/>
              <a:gd name="connsiteY80" fmla="*/ 402566 h 1265207"/>
              <a:gd name="connsiteX81" fmla="*/ 5072332 w 9149451"/>
              <a:gd name="connsiteY81" fmla="*/ 414068 h 1265207"/>
              <a:gd name="connsiteX82" fmla="*/ 5262113 w 9149451"/>
              <a:gd name="connsiteY82" fmla="*/ 425570 h 1265207"/>
              <a:gd name="connsiteX83" fmla="*/ 5382883 w 9149451"/>
              <a:gd name="connsiteY83" fmla="*/ 437071 h 1265207"/>
              <a:gd name="connsiteX84" fmla="*/ 5520906 w 9149451"/>
              <a:gd name="connsiteY84" fmla="*/ 448573 h 1265207"/>
              <a:gd name="connsiteX85" fmla="*/ 5578415 w 9149451"/>
              <a:gd name="connsiteY85" fmla="*/ 454324 h 1265207"/>
              <a:gd name="connsiteX86" fmla="*/ 5762445 w 9149451"/>
              <a:gd name="connsiteY86" fmla="*/ 465826 h 1265207"/>
              <a:gd name="connsiteX87" fmla="*/ 6003985 w 9149451"/>
              <a:gd name="connsiteY87" fmla="*/ 477328 h 1265207"/>
              <a:gd name="connsiteX88" fmla="*/ 6308785 w 9149451"/>
              <a:gd name="connsiteY88" fmla="*/ 471577 h 1265207"/>
              <a:gd name="connsiteX89" fmla="*/ 6349042 w 9149451"/>
              <a:gd name="connsiteY89" fmla="*/ 460075 h 1265207"/>
              <a:gd name="connsiteX90" fmla="*/ 6400800 w 9149451"/>
              <a:gd name="connsiteY90" fmla="*/ 448573 h 1265207"/>
              <a:gd name="connsiteX91" fmla="*/ 6429555 w 9149451"/>
              <a:gd name="connsiteY91" fmla="*/ 442822 h 1265207"/>
              <a:gd name="connsiteX92" fmla="*/ 6458309 w 9149451"/>
              <a:gd name="connsiteY92" fmla="*/ 431321 h 1265207"/>
              <a:gd name="connsiteX93" fmla="*/ 6521570 w 9149451"/>
              <a:gd name="connsiteY93" fmla="*/ 419819 h 1265207"/>
              <a:gd name="connsiteX94" fmla="*/ 6567577 w 9149451"/>
              <a:gd name="connsiteY94" fmla="*/ 408317 h 1265207"/>
              <a:gd name="connsiteX95" fmla="*/ 6630838 w 9149451"/>
              <a:gd name="connsiteY95" fmla="*/ 391064 h 1265207"/>
              <a:gd name="connsiteX96" fmla="*/ 6648091 w 9149451"/>
              <a:gd name="connsiteY96" fmla="*/ 379562 h 1265207"/>
              <a:gd name="connsiteX97" fmla="*/ 6688347 w 9149451"/>
              <a:gd name="connsiteY97" fmla="*/ 368060 h 1265207"/>
              <a:gd name="connsiteX98" fmla="*/ 6751608 w 9149451"/>
              <a:gd name="connsiteY98" fmla="*/ 345056 h 1265207"/>
              <a:gd name="connsiteX99" fmla="*/ 6786113 w 9149451"/>
              <a:gd name="connsiteY99" fmla="*/ 333554 h 1265207"/>
              <a:gd name="connsiteX100" fmla="*/ 6809117 w 9149451"/>
              <a:gd name="connsiteY100" fmla="*/ 322053 h 1265207"/>
              <a:gd name="connsiteX101" fmla="*/ 6855125 w 9149451"/>
              <a:gd name="connsiteY101" fmla="*/ 316302 h 1265207"/>
              <a:gd name="connsiteX102" fmla="*/ 6906883 w 9149451"/>
              <a:gd name="connsiteY102" fmla="*/ 304800 h 1265207"/>
              <a:gd name="connsiteX103" fmla="*/ 6935638 w 9149451"/>
              <a:gd name="connsiteY103" fmla="*/ 299049 h 1265207"/>
              <a:gd name="connsiteX104" fmla="*/ 6970143 w 9149451"/>
              <a:gd name="connsiteY104" fmla="*/ 293298 h 1265207"/>
              <a:gd name="connsiteX105" fmla="*/ 7125419 w 9149451"/>
              <a:gd name="connsiteY105" fmla="*/ 287547 h 1265207"/>
              <a:gd name="connsiteX106" fmla="*/ 7924800 w 9149451"/>
              <a:gd name="connsiteY106" fmla="*/ 281796 h 1265207"/>
              <a:gd name="connsiteX107" fmla="*/ 7982309 w 9149451"/>
              <a:gd name="connsiteY107" fmla="*/ 276045 h 1265207"/>
              <a:gd name="connsiteX108" fmla="*/ 8120332 w 9149451"/>
              <a:gd name="connsiteY108" fmla="*/ 247290 h 1265207"/>
              <a:gd name="connsiteX109" fmla="*/ 8143336 w 9149451"/>
              <a:gd name="connsiteY109" fmla="*/ 241539 h 1265207"/>
              <a:gd name="connsiteX110" fmla="*/ 8166340 w 9149451"/>
              <a:gd name="connsiteY110" fmla="*/ 230037 h 1265207"/>
              <a:gd name="connsiteX111" fmla="*/ 8189343 w 9149451"/>
              <a:gd name="connsiteY111" fmla="*/ 224287 h 1265207"/>
              <a:gd name="connsiteX112" fmla="*/ 8223849 w 9149451"/>
              <a:gd name="connsiteY112" fmla="*/ 212785 h 1265207"/>
              <a:gd name="connsiteX113" fmla="*/ 8241102 w 9149451"/>
              <a:gd name="connsiteY113" fmla="*/ 207034 h 1265207"/>
              <a:gd name="connsiteX114" fmla="*/ 8264106 w 9149451"/>
              <a:gd name="connsiteY114" fmla="*/ 201283 h 1265207"/>
              <a:gd name="connsiteX115" fmla="*/ 8292860 w 9149451"/>
              <a:gd name="connsiteY115" fmla="*/ 184030 h 1265207"/>
              <a:gd name="connsiteX116" fmla="*/ 8327366 w 9149451"/>
              <a:gd name="connsiteY116" fmla="*/ 172528 h 1265207"/>
              <a:gd name="connsiteX117" fmla="*/ 8367623 w 9149451"/>
              <a:gd name="connsiteY117" fmla="*/ 155275 h 1265207"/>
              <a:gd name="connsiteX118" fmla="*/ 8390626 w 9149451"/>
              <a:gd name="connsiteY118" fmla="*/ 143773 h 1265207"/>
              <a:gd name="connsiteX119" fmla="*/ 8407879 w 9149451"/>
              <a:gd name="connsiteY119" fmla="*/ 138022 h 1265207"/>
              <a:gd name="connsiteX120" fmla="*/ 8436634 w 9149451"/>
              <a:gd name="connsiteY120" fmla="*/ 126521 h 1265207"/>
              <a:gd name="connsiteX121" fmla="*/ 8482642 w 9149451"/>
              <a:gd name="connsiteY121" fmla="*/ 103517 h 1265207"/>
              <a:gd name="connsiteX122" fmla="*/ 8511396 w 9149451"/>
              <a:gd name="connsiteY122" fmla="*/ 97766 h 1265207"/>
              <a:gd name="connsiteX123" fmla="*/ 8528649 w 9149451"/>
              <a:gd name="connsiteY123" fmla="*/ 92015 h 1265207"/>
              <a:gd name="connsiteX124" fmla="*/ 8551653 w 9149451"/>
              <a:gd name="connsiteY124" fmla="*/ 86264 h 1265207"/>
              <a:gd name="connsiteX125" fmla="*/ 8568906 w 9149451"/>
              <a:gd name="connsiteY125" fmla="*/ 74762 h 1265207"/>
              <a:gd name="connsiteX126" fmla="*/ 8597660 w 9149451"/>
              <a:gd name="connsiteY126" fmla="*/ 69011 h 1265207"/>
              <a:gd name="connsiteX127" fmla="*/ 8643668 w 9149451"/>
              <a:gd name="connsiteY127" fmla="*/ 57509 h 1265207"/>
              <a:gd name="connsiteX128" fmla="*/ 8672423 w 9149451"/>
              <a:gd name="connsiteY128" fmla="*/ 51758 h 1265207"/>
              <a:gd name="connsiteX129" fmla="*/ 8735683 w 9149451"/>
              <a:gd name="connsiteY129" fmla="*/ 34505 h 1265207"/>
              <a:gd name="connsiteX130" fmla="*/ 8798943 w 9149451"/>
              <a:gd name="connsiteY130" fmla="*/ 28754 h 1265207"/>
              <a:gd name="connsiteX131" fmla="*/ 8867955 w 9149451"/>
              <a:gd name="connsiteY131" fmla="*/ 34505 h 1265207"/>
              <a:gd name="connsiteX132" fmla="*/ 8965721 w 9149451"/>
              <a:gd name="connsiteY132" fmla="*/ 23004 h 1265207"/>
              <a:gd name="connsiteX133" fmla="*/ 9028981 w 9149451"/>
              <a:gd name="connsiteY133" fmla="*/ 5751 h 1265207"/>
              <a:gd name="connsiteX134" fmla="*/ 9144000 w 9149451"/>
              <a:gd name="connsiteY134" fmla="*/ 0 h 1265207"/>
              <a:gd name="connsiteX135" fmla="*/ 9144000 w 9149451"/>
              <a:gd name="connsiteY135" fmla="*/ 1265207 h 1265207"/>
              <a:gd name="connsiteX0" fmla="*/ 0 w 9149451"/>
              <a:gd name="connsiteY0" fmla="*/ 1219200 h 1265207"/>
              <a:gd name="connsiteX1" fmla="*/ 707366 w 9149451"/>
              <a:gd name="connsiteY1" fmla="*/ 11502 h 1265207"/>
              <a:gd name="connsiteX2" fmla="*/ 736121 w 9149451"/>
              <a:gd name="connsiteY2" fmla="*/ 17253 h 1265207"/>
              <a:gd name="connsiteX3" fmla="*/ 799381 w 9149451"/>
              <a:gd name="connsiteY3" fmla="*/ 28754 h 1265207"/>
              <a:gd name="connsiteX4" fmla="*/ 885645 w 9149451"/>
              <a:gd name="connsiteY4" fmla="*/ 46007 h 1265207"/>
              <a:gd name="connsiteX5" fmla="*/ 971909 w 9149451"/>
              <a:gd name="connsiteY5" fmla="*/ 69011 h 1265207"/>
              <a:gd name="connsiteX6" fmla="*/ 1023668 w 9149451"/>
              <a:gd name="connsiteY6" fmla="*/ 74762 h 1265207"/>
              <a:gd name="connsiteX7" fmla="*/ 1040921 w 9149451"/>
              <a:gd name="connsiteY7" fmla="*/ 80513 h 1265207"/>
              <a:gd name="connsiteX8" fmla="*/ 1109932 w 9149451"/>
              <a:gd name="connsiteY8" fmla="*/ 92015 h 1265207"/>
              <a:gd name="connsiteX9" fmla="*/ 1190445 w 9149451"/>
              <a:gd name="connsiteY9" fmla="*/ 109268 h 1265207"/>
              <a:gd name="connsiteX10" fmla="*/ 1293962 w 9149451"/>
              <a:gd name="connsiteY10" fmla="*/ 126521 h 1265207"/>
              <a:gd name="connsiteX11" fmla="*/ 1357223 w 9149451"/>
              <a:gd name="connsiteY11" fmla="*/ 143773 h 1265207"/>
              <a:gd name="connsiteX12" fmla="*/ 1397479 w 9149451"/>
              <a:gd name="connsiteY12" fmla="*/ 149524 h 1265207"/>
              <a:gd name="connsiteX13" fmla="*/ 1489494 w 9149451"/>
              <a:gd name="connsiteY13" fmla="*/ 172528 h 1265207"/>
              <a:gd name="connsiteX14" fmla="*/ 1535502 w 9149451"/>
              <a:gd name="connsiteY14" fmla="*/ 184030 h 1265207"/>
              <a:gd name="connsiteX15" fmla="*/ 1621766 w 9149451"/>
              <a:gd name="connsiteY15" fmla="*/ 195532 h 1265207"/>
              <a:gd name="connsiteX16" fmla="*/ 1690777 w 9149451"/>
              <a:gd name="connsiteY16" fmla="*/ 212785 h 1265207"/>
              <a:gd name="connsiteX17" fmla="*/ 1713781 w 9149451"/>
              <a:gd name="connsiteY17" fmla="*/ 218536 h 1265207"/>
              <a:gd name="connsiteX18" fmla="*/ 1759789 w 9149451"/>
              <a:gd name="connsiteY18" fmla="*/ 224287 h 1265207"/>
              <a:gd name="connsiteX19" fmla="*/ 1782792 w 9149451"/>
              <a:gd name="connsiteY19" fmla="*/ 230037 h 1265207"/>
              <a:gd name="connsiteX20" fmla="*/ 1869057 w 9149451"/>
              <a:gd name="connsiteY20" fmla="*/ 241539 h 1265207"/>
              <a:gd name="connsiteX21" fmla="*/ 1961072 w 9149451"/>
              <a:gd name="connsiteY21" fmla="*/ 253041 h 1265207"/>
              <a:gd name="connsiteX22" fmla="*/ 2012830 w 9149451"/>
              <a:gd name="connsiteY22" fmla="*/ 258792 h 1265207"/>
              <a:gd name="connsiteX23" fmla="*/ 2047336 w 9149451"/>
              <a:gd name="connsiteY23" fmla="*/ 264543 h 1265207"/>
              <a:gd name="connsiteX24" fmla="*/ 2237117 w 9149451"/>
              <a:gd name="connsiteY24" fmla="*/ 276045 h 1265207"/>
              <a:gd name="connsiteX25" fmla="*/ 2467155 w 9149451"/>
              <a:gd name="connsiteY25" fmla="*/ 270294 h 1265207"/>
              <a:gd name="connsiteX26" fmla="*/ 2495909 w 9149451"/>
              <a:gd name="connsiteY26" fmla="*/ 264543 h 1265207"/>
              <a:gd name="connsiteX27" fmla="*/ 2559170 w 9149451"/>
              <a:gd name="connsiteY27" fmla="*/ 258792 h 1265207"/>
              <a:gd name="connsiteX28" fmla="*/ 2587925 w 9149451"/>
              <a:gd name="connsiteY28" fmla="*/ 253041 h 1265207"/>
              <a:gd name="connsiteX29" fmla="*/ 2633932 w 9149451"/>
              <a:gd name="connsiteY29" fmla="*/ 247290 h 1265207"/>
              <a:gd name="connsiteX30" fmla="*/ 2656936 w 9149451"/>
              <a:gd name="connsiteY30" fmla="*/ 235788 h 1265207"/>
              <a:gd name="connsiteX31" fmla="*/ 2679940 w 9149451"/>
              <a:gd name="connsiteY31" fmla="*/ 230037 h 1265207"/>
              <a:gd name="connsiteX32" fmla="*/ 2697192 w 9149451"/>
              <a:gd name="connsiteY32" fmla="*/ 224287 h 1265207"/>
              <a:gd name="connsiteX33" fmla="*/ 2743200 w 9149451"/>
              <a:gd name="connsiteY33" fmla="*/ 212785 h 1265207"/>
              <a:gd name="connsiteX34" fmla="*/ 2766204 w 9149451"/>
              <a:gd name="connsiteY34" fmla="*/ 207034 h 1265207"/>
              <a:gd name="connsiteX35" fmla="*/ 2794958 w 9149451"/>
              <a:gd name="connsiteY35" fmla="*/ 189781 h 1265207"/>
              <a:gd name="connsiteX36" fmla="*/ 2829464 w 9149451"/>
              <a:gd name="connsiteY36" fmla="*/ 178279 h 1265207"/>
              <a:gd name="connsiteX37" fmla="*/ 2846717 w 9149451"/>
              <a:gd name="connsiteY37" fmla="*/ 172528 h 1265207"/>
              <a:gd name="connsiteX38" fmla="*/ 2909977 w 9149451"/>
              <a:gd name="connsiteY38" fmla="*/ 155275 h 1265207"/>
              <a:gd name="connsiteX39" fmla="*/ 2961736 w 9149451"/>
              <a:gd name="connsiteY39" fmla="*/ 132271 h 1265207"/>
              <a:gd name="connsiteX40" fmla="*/ 2978989 w 9149451"/>
              <a:gd name="connsiteY40" fmla="*/ 126521 h 1265207"/>
              <a:gd name="connsiteX41" fmla="*/ 3001992 w 9149451"/>
              <a:gd name="connsiteY41" fmla="*/ 115019 h 1265207"/>
              <a:gd name="connsiteX42" fmla="*/ 3019245 w 9149451"/>
              <a:gd name="connsiteY42" fmla="*/ 109268 h 1265207"/>
              <a:gd name="connsiteX43" fmla="*/ 3042249 w 9149451"/>
              <a:gd name="connsiteY43" fmla="*/ 97766 h 1265207"/>
              <a:gd name="connsiteX44" fmla="*/ 3076755 w 9149451"/>
              <a:gd name="connsiteY44" fmla="*/ 92015 h 1265207"/>
              <a:gd name="connsiteX45" fmla="*/ 3111260 w 9149451"/>
              <a:gd name="connsiteY45" fmla="*/ 80513 h 1265207"/>
              <a:gd name="connsiteX46" fmla="*/ 3145766 w 9149451"/>
              <a:gd name="connsiteY46" fmla="*/ 74762 h 1265207"/>
              <a:gd name="connsiteX47" fmla="*/ 3168770 w 9149451"/>
              <a:gd name="connsiteY47" fmla="*/ 69011 h 1265207"/>
              <a:gd name="connsiteX48" fmla="*/ 3375804 w 9149451"/>
              <a:gd name="connsiteY48" fmla="*/ 63260 h 1265207"/>
              <a:gd name="connsiteX49" fmla="*/ 3559834 w 9149451"/>
              <a:gd name="connsiteY49" fmla="*/ 69011 h 1265207"/>
              <a:gd name="connsiteX50" fmla="*/ 3594340 w 9149451"/>
              <a:gd name="connsiteY50" fmla="*/ 86264 h 1265207"/>
              <a:gd name="connsiteX51" fmla="*/ 3634596 w 9149451"/>
              <a:gd name="connsiteY51" fmla="*/ 97766 h 1265207"/>
              <a:gd name="connsiteX52" fmla="*/ 3657600 w 9149451"/>
              <a:gd name="connsiteY52" fmla="*/ 109268 h 1265207"/>
              <a:gd name="connsiteX53" fmla="*/ 3680604 w 9149451"/>
              <a:gd name="connsiteY53" fmla="*/ 115019 h 1265207"/>
              <a:gd name="connsiteX54" fmla="*/ 3715109 w 9149451"/>
              <a:gd name="connsiteY54" fmla="*/ 126521 h 1265207"/>
              <a:gd name="connsiteX55" fmla="*/ 3732362 w 9149451"/>
              <a:gd name="connsiteY55" fmla="*/ 132271 h 1265207"/>
              <a:gd name="connsiteX56" fmla="*/ 3784121 w 9149451"/>
              <a:gd name="connsiteY56" fmla="*/ 138022 h 1265207"/>
              <a:gd name="connsiteX57" fmla="*/ 3847381 w 9149451"/>
              <a:gd name="connsiteY57" fmla="*/ 149524 h 1265207"/>
              <a:gd name="connsiteX58" fmla="*/ 3910642 w 9149451"/>
              <a:gd name="connsiteY58" fmla="*/ 155275 h 1265207"/>
              <a:gd name="connsiteX59" fmla="*/ 3979653 w 9149451"/>
              <a:gd name="connsiteY59" fmla="*/ 166777 h 1265207"/>
              <a:gd name="connsiteX60" fmla="*/ 4042913 w 9149451"/>
              <a:gd name="connsiteY60" fmla="*/ 172528 h 1265207"/>
              <a:gd name="connsiteX61" fmla="*/ 4106174 w 9149451"/>
              <a:gd name="connsiteY61" fmla="*/ 189781 h 1265207"/>
              <a:gd name="connsiteX62" fmla="*/ 4146430 w 9149451"/>
              <a:gd name="connsiteY62" fmla="*/ 201283 h 1265207"/>
              <a:gd name="connsiteX63" fmla="*/ 4169434 w 9149451"/>
              <a:gd name="connsiteY63" fmla="*/ 212785 h 1265207"/>
              <a:gd name="connsiteX64" fmla="*/ 4203940 w 9149451"/>
              <a:gd name="connsiteY64" fmla="*/ 218536 h 1265207"/>
              <a:gd name="connsiteX65" fmla="*/ 4232694 w 9149451"/>
              <a:gd name="connsiteY65" fmla="*/ 224287 h 1265207"/>
              <a:gd name="connsiteX66" fmla="*/ 4255698 w 9149451"/>
              <a:gd name="connsiteY66" fmla="*/ 230037 h 1265207"/>
              <a:gd name="connsiteX67" fmla="*/ 4433977 w 9149451"/>
              <a:gd name="connsiteY67" fmla="*/ 235788 h 1265207"/>
              <a:gd name="connsiteX68" fmla="*/ 4502989 w 9149451"/>
              <a:gd name="connsiteY68" fmla="*/ 241539 h 1265207"/>
              <a:gd name="connsiteX69" fmla="*/ 4525992 w 9149451"/>
              <a:gd name="connsiteY69" fmla="*/ 253041 h 1265207"/>
              <a:gd name="connsiteX70" fmla="*/ 4577751 w 9149451"/>
              <a:gd name="connsiteY70" fmla="*/ 276045 h 1265207"/>
              <a:gd name="connsiteX71" fmla="*/ 4629509 w 9149451"/>
              <a:gd name="connsiteY71" fmla="*/ 299049 h 1265207"/>
              <a:gd name="connsiteX72" fmla="*/ 4681268 w 9149451"/>
              <a:gd name="connsiteY72" fmla="*/ 322053 h 1265207"/>
              <a:gd name="connsiteX73" fmla="*/ 4704272 w 9149451"/>
              <a:gd name="connsiteY73" fmla="*/ 333554 h 1265207"/>
              <a:gd name="connsiteX74" fmla="*/ 4756030 w 9149451"/>
              <a:gd name="connsiteY74" fmla="*/ 350807 h 1265207"/>
              <a:gd name="connsiteX75" fmla="*/ 4773283 w 9149451"/>
              <a:gd name="connsiteY75" fmla="*/ 356558 h 1265207"/>
              <a:gd name="connsiteX76" fmla="*/ 4802038 w 9149451"/>
              <a:gd name="connsiteY76" fmla="*/ 373811 h 1265207"/>
              <a:gd name="connsiteX77" fmla="*/ 4842294 w 9149451"/>
              <a:gd name="connsiteY77" fmla="*/ 385313 h 1265207"/>
              <a:gd name="connsiteX78" fmla="*/ 4876800 w 9149451"/>
              <a:gd name="connsiteY78" fmla="*/ 396815 h 1265207"/>
              <a:gd name="connsiteX79" fmla="*/ 4917057 w 9149451"/>
              <a:gd name="connsiteY79" fmla="*/ 402566 h 1265207"/>
              <a:gd name="connsiteX80" fmla="*/ 5072332 w 9149451"/>
              <a:gd name="connsiteY80" fmla="*/ 414068 h 1265207"/>
              <a:gd name="connsiteX81" fmla="*/ 5262113 w 9149451"/>
              <a:gd name="connsiteY81" fmla="*/ 425570 h 1265207"/>
              <a:gd name="connsiteX82" fmla="*/ 5382883 w 9149451"/>
              <a:gd name="connsiteY82" fmla="*/ 437071 h 1265207"/>
              <a:gd name="connsiteX83" fmla="*/ 5520906 w 9149451"/>
              <a:gd name="connsiteY83" fmla="*/ 448573 h 1265207"/>
              <a:gd name="connsiteX84" fmla="*/ 5578415 w 9149451"/>
              <a:gd name="connsiteY84" fmla="*/ 454324 h 1265207"/>
              <a:gd name="connsiteX85" fmla="*/ 5762445 w 9149451"/>
              <a:gd name="connsiteY85" fmla="*/ 465826 h 1265207"/>
              <a:gd name="connsiteX86" fmla="*/ 6003985 w 9149451"/>
              <a:gd name="connsiteY86" fmla="*/ 477328 h 1265207"/>
              <a:gd name="connsiteX87" fmla="*/ 6308785 w 9149451"/>
              <a:gd name="connsiteY87" fmla="*/ 471577 h 1265207"/>
              <a:gd name="connsiteX88" fmla="*/ 6349042 w 9149451"/>
              <a:gd name="connsiteY88" fmla="*/ 460075 h 1265207"/>
              <a:gd name="connsiteX89" fmla="*/ 6400800 w 9149451"/>
              <a:gd name="connsiteY89" fmla="*/ 448573 h 1265207"/>
              <a:gd name="connsiteX90" fmla="*/ 6429555 w 9149451"/>
              <a:gd name="connsiteY90" fmla="*/ 442822 h 1265207"/>
              <a:gd name="connsiteX91" fmla="*/ 6458309 w 9149451"/>
              <a:gd name="connsiteY91" fmla="*/ 431321 h 1265207"/>
              <a:gd name="connsiteX92" fmla="*/ 6521570 w 9149451"/>
              <a:gd name="connsiteY92" fmla="*/ 419819 h 1265207"/>
              <a:gd name="connsiteX93" fmla="*/ 6567577 w 9149451"/>
              <a:gd name="connsiteY93" fmla="*/ 408317 h 1265207"/>
              <a:gd name="connsiteX94" fmla="*/ 6630838 w 9149451"/>
              <a:gd name="connsiteY94" fmla="*/ 391064 h 1265207"/>
              <a:gd name="connsiteX95" fmla="*/ 6648091 w 9149451"/>
              <a:gd name="connsiteY95" fmla="*/ 379562 h 1265207"/>
              <a:gd name="connsiteX96" fmla="*/ 6688347 w 9149451"/>
              <a:gd name="connsiteY96" fmla="*/ 368060 h 1265207"/>
              <a:gd name="connsiteX97" fmla="*/ 6751608 w 9149451"/>
              <a:gd name="connsiteY97" fmla="*/ 345056 h 1265207"/>
              <a:gd name="connsiteX98" fmla="*/ 6786113 w 9149451"/>
              <a:gd name="connsiteY98" fmla="*/ 333554 h 1265207"/>
              <a:gd name="connsiteX99" fmla="*/ 6809117 w 9149451"/>
              <a:gd name="connsiteY99" fmla="*/ 322053 h 1265207"/>
              <a:gd name="connsiteX100" fmla="*/ 6855125 w 9149451"/>
              <a:gd name="connsiteY100" fmla="*/ 316302 h 1265207"/>
              <a:gd name="connsiteX101" fmla="*/ 6906883 w 9149451"/>
              <a:gd name="connsiteY101" fmla="*/ 304800 h 1265207"/>
              <a:gd name="connsiteX102" fmla="*/ 6935638 w 9149451"/>
              <a:gd name="connsiteY102" fmla="*/ 299049 h 1265207"/>
              <a:gd name="connsiteX103" fmla="*/ 6970143 w 9149451"/>
              <a:gd name="connsiteY103" fmla="*/ 293298 h 1265207"/>
              <a:gd name="connsiteX104" fmla="*/ 7125419 w 9149451"/>
              <a:gd name="connsiteY104" fmla="*/ 287547 h 1265207"/>
              <a:gd name="connsiteX105" fmla="*/ 7924800 w 9149451"/>
              <a:gd name="connsiteY105" fmla="*/ 281796 h 1265207"/>
              <a:gd name="connsiteX106" fmla="*/ 7982309 w 9149451"/>
              <a:gd name="connsiteY106" fmla="*/ 276045 h 1265207"/>
              <a:gd name="connsiteX107" fmla="*/ 8120332 w 9149451"/>
              <a:gd name="connsiteY107" fmla="*/ 247290 h 1265207"/>
              <a:gd name="connsiteX108" fmla="*/ 8143336 w 9149451"/>
              <a:gd name="connsiteY108" fmla="*/ 241539 h 1265207"/>
              <a:gd name="connsiteX109" fmla="*/ 8166340 w 9149451"/>
              <a:gd name="connsiteY109" fmla="*/ 230037 h 1265207"/>
              <a:gd name="connsiteX110" fmla="*/ 8189343 w 9149451"/>
              <a:gd name="connsiteY110" fmla="*/ 224287 h 1265207"/>
              <a:gd name="connsiteX111" fmla="*/ 8223849 w 9149451"/>
              <a:gd name="connsiteY111" fmla="*/ 212785 h 1265207"/>
              <a:gd name="connsiteX112" fmla="*/ 8241102 w 9149451"/>
              <a:gd name="connsiteY112" fmla="*/ 207034 h 1265207"/>
              <a:gd name="connsiteX113" fmla="*/ 8264106 w 9149451"/>
              <a:gd name="connsiteY113" fmla="*/ 201283 h 1265207"/>
              <a:gd name="connsiteX114" fmla="*/ 8292860 w 9149451"/>
              <a:gd name="connsiteY114" fmla="*/ 184030 h 1265207"/>
              <a:gd name="connsiteX115" fmla="*/ 8327366 w 9149451"/>
              <a:gd name="connsiteY115" fmla="*/ 172528 h 1265207"/>
              <a:gd name="connsiteX116" fmla="*/ 8367623 w 9149451"/>
              <a:gd name="connsiteY116" fmla="*/ 155275 h 1265207"/>
              <a:gd name="connsiteX117" fmla="*/ 8390626 w 9149451"/>
              <a:gd name="connsiteY117" fmla="*/ 143773 h 1265207"/>
              <a:gd name="connsiteX118" fmla="*/ 8407879 w 9149451"/>
              <a:gd name="connsiteY118" fmla="*/ 138022 h 1265207"/>
              <a:gd name="connsiteX119" fmla="*/ 8436634 w 9149451"/>
              <a:gd name="connsiteY119" fmla="*/ 126521 h 1265207"/>
              <a:gd name="connsiteX120" fmla="*/ 8482642 w 9149451"/>
              <a:gd name="connsiteY120" fmla="*/ 103517 h 1265207"/>
              <a:gd name="connsiteX121" fmla="*/ 8511396 w 9149451"/>
              <a:gd name="connsiteY121" fmla="*/ 97766 h 1265207"/>
              <a:gd name="connsiteX122" fmla="*/ 8528649 w 9149451"/>
              <a:gd name="connsiteY122" fmla="*/ 92015 h 1265207"/>
              <a:gd name="connsiteX123" fmla="*/ 8551653 w 9149451"/>
              <a:gd name="connsiteY123" fmla="*/ 86264 h 1265207"/>
              <a:gd name="connsiteX124" fmla="*/ 8568906 w 9149451"/>
              <a:gd name="connsiteY124" fmla="*/ 74762 h 1265207"/>
              <a:gd name="connsiteX125" fmla="*/ 8597660 w 9149451"/>
              <a:gd name="connsiteY125" fmla="*/ 69011 h 1265207"/>
              <a:gd name="connsiteX126" fmla="*/ 8643668 w 9149451"/>
              <a:gd name="connsiteY126" fmla="*/ 57509 h 1265207"/>
              <a:gd name="connsiteX127" fmla="*/ 8672423 w 9149451"/>
              <a:gd name="connsiteY127" fmla="*/ 51758 h 1265207"/>
              <a:gd name="connsiteX128" fmla="*/ 8735683 w 9149451"/>
              <a:gd name="connsiteY128" fmla="*/ 34505 h 1265207"/>
              <a:gd name="connsiteX129" fmla="*/ 8798943 w 9149451"/>
              <a:gd name="connsiteY129" fmla="*/ 28754 h 1265207"/>
              <a:gd name="connsiteX130" fmla="*/ 8867955 w 9149451"/>
              <a:gd name="connsiteY130" fmla="*/ 34505 h 1265207"/>
              <a:gd name="connsiteX131" fmla="*/ 8965721 w 9149451"/>
              <a:gd name="connsiteY131" fmla="*/ 23004 h 1265207"/>
              <a:gd name="connsiteX132" fmla="*/ 9028981 w 9149451"/>
              <a:gd name="connsiteY132" fmla="*/ 5751 h 1265207"/>
              <a:gd name="connsiteX133" fmla="*/ 9144000 w 9149451"/>
              <a:gd name="connsiteY133" fmla="*/ 0 h 1265207"/>
              <a:gd name="connsiteX134" fmla="*/ 9144000 w 9149451"/>
              <a:gd name="connsiteY134" fmla="*/ 1265207 h 1265207"/>
              <a:gd name="connsiteX0" fmla="*/ 0 w 9149451"/>
              <a:gd name="connsiteY0" fmla="*/ 1406106 h 1452113"/>
              <a:gd name="connsiteX1" fmla="*/ 707366 w 9149451"/>
              <a:gd name="connsiteY1" fmla="*/ 198408 h 1452113"/>
              <a:gd name="connsiteX2" fmla="*/ 799381 w 9149451"/>
              <a:gd name="connsiteY2" fmla="*/ 215660 h 1452113"/>
              <a:gd name="connsiteX3" fmla="*/ 885645 w 9149451"/>
              <a:gd name="connsiteY3" fmla="*/ 232913 h 1452113"/>
              <a:gd name="connsiteX4" fmla="*/ 971909 w 9149451"/>
              <a:gd name="connsiteY4" fmla="*/ 255917 h 1452113"/>
              <a:gd name="connsiteX5" fmla="*/ 1023668 w 9149451"/>
              <a:gd name="connsiteY5" fmla="*/ 261668 h 1452113"/>
              <a:gd name="connsiteX6" fmla="*/ 1040921 w 9149451"/>
              <a:gd name="connsiteY6" fmla="*/ 267419 h 1452113"/>
              <a:gd name="connsiteX7" fmla="*/ 1109932 w 9149451"/>
              <a:gd name="connsiteY7" fmla="*/ 278921 h 1452113"/>
              <a:gd name="connsiteX8" fmla="*/ 1190445 w 9149451"/>
              <a:gd name="connsiteY8" fmla="*/ 296174 h 1452113"/>
              <a:gd name="connsiteX9" fmla="*/ 1293962 w 9149451"/>
              <a:gd name="connsiteY9" fmla="*/ 313427 h 1452113"/>
              <a:gd name="connsiteX10" fmla="*/ 1357223 w 9149451"/>
              <a:gd name="connsiteY10" fmla="*/ 330679 h 1452113"/>
              <a:gd name="connsiteX11" fmla="*/ 1397479 w 9149451"/>
              <a:gd name="connsiteY11" fmla="*/ 336430 h 1452113"/>
              <a:gd name="connsiteX12" fmla="*/ 1489494 w 9149451"/>
              <a:gd name="connsiteY12" fmla="*/ 359434 h 1452113"/>
              <a:gd name="connsiteX13" fmla="*/ 1535502 w 9149451"/>
              <a:gd name="connsiteY13" fmla="*/ 370936 h 1452113"/>
              <a:gd name="connsiteX14" fmla="*/ 1621766 w 9149451"/>
              <a:gd name="connsiteY14" fmla="*/ 382438 h 1452113"/>
              <a:gd name="connsiteX15" fmla="*/ 1690777 w 9149451"/>
              <a:gd name="connsiteY15" fmla="*/ 399691 h 1452113"/>
              <a:gd name="connsiteX16" fmla="*/ 1713781 w 9149451"/>
              <a:gd name="connsiteY16" fmla="*/ 405442 h 1452113"/>
              <a:gd name="connsiteX17" fmla="*/ 1759789 w 9149451"/>
              <a:gd name="connsiteY17" fmla="*/ 411193 h 1452113"/>
              <a:gd name="connsiteX18" fmla="*/ 1782792 w 9149451"/>
              <a:gd name="connsiteY18" fmla="*/ 416943 h 1452113"/>
              <a:gd name="connsiteX19" fmla="*/ 1869057 w 9149451"/>
              <a:gd name="connsiteY19" fmla="*/ 428445 h 1452113"/>
              <a:gd name="connsiteX20" fmla="*/ 1961072 w 9149451"/>
              <a:gd name="connsiteY20" fmla="*/ 439947 h 1452113"/>
              <a:gd name="connsiteX21" fmla="*/ 2012830 w 9149451"/>
              <a:gd name="connsiteY21" fmla="*/ 445698 h 1452113"/>
              <a:gd name="connsiteX22" fmla="*/ 2047336 w 9149451"/>
              <a:gd name="connsiteY22" fmla="*/ 451449 h 1452113"/>
              <a:gd name="connsiteX23" fmla="*/ 2237117 w 9149451"/>
              <a:gd name="connsiteY23" fmla="*/ 462951 h 1452113"/>
              <a:gd name="connsiteX24" fmla="*/ 2467155 w 9149451"/>
              <a:gd name="connsiteY24" fmla="*/ 457200 h 1452113"/>
              <a:gd name="connsiteX25" fmla="*/ 2495909 w 9149451"/>
              <a:gd name="connsiteY25" fmla="*/ 451449 h 1452113"/>
              <a:gd name="connsiteX26" fmla="*/ 2559170 w 9149451"/>
              <a:gd name="connsiteY26" fmla="*/ 445698 h 1452113"/>
              <a:gd name="connsiteX27" fmla="*/ 2587925 w 9149451"/>
              <a:gd name="connsiteY27" fmla="*/ 439947 h 1452113"/>
              <a:gd name="connsiteX28" fmla="*/ 2633932 w 9149451"/>
              <a:gd name="connsiteY28" fmla="*/ 434196 h 1452113"/>
              <a:gd name="connsiteX29" fmla="*/ 2656936 w 9149451"/>
              <a:gd name="connsiteY29" fmla="*/ 422694 h 1452113"/>
              <a:gd name="connsiteX30" fmla="*/ 2679940 w 9149451"/>
              <a:gd name="connsiteY30" fmla="*/ 416943 h 1452113"/>
              <a:gd name="connsiteX31" fmla="*/ 2697192 w 9149451"/>
              <a:gd name="connsiteY31" fmla="*/ 411193 h 1452113"/>
              <a:gd name="connsiteX32" fmla="*/ 2743200 w 9149451"/>
              <a:gd name="connsiteY32" fmla="*/ 399691 h 1452113"/>
              <a:gd name="connsiteX33" fmla="*/ 2766204 w 9149451"/>
              <a:gd name="connsiteY33" fmla="*/ 393940 h 1452113"/>
              <a:gd name="connsiteX34" fmla="*/ 2794958 w 9149451"/>
              <a:gd name="connsiteY34" fmla="*/ 376687 h 1452113"/>
              <a:gd name="connsiteX35" fmla="*/ 2829464 w 9149451"/>
              <a:gd name="connsiteY35" fmla="*/ 365185 h 1452113"/>
              <a:gd name="connsiteX36" fmla="*/ 2846717 w 9149451"/>
              <a:gd name="connsiteY36" fmla="*/ 359434 h 1452113"/>
              <a:gd name="connsiteX37" fmla="*/ 2909977 w 9149451"/>
              <a:gd name="connsiteY37" fmla="*/ 342181 h 1452113"/>
              <a:gd name="connsiteX38" fmla="*/ 2961736 w 9149451"/>
              <a:gd name="connsiteY38" fmla="*/ 319177 h 1452113"/>
              <a:gd name="connsiteX39" fmla="*/ 2978989 w 9149451"/>
              <a:gd name="connsiteY39" fmla="*/ 313427 h 1452113"/>
              <a:gd name="connsiteX40" fmla="*/ 3001992 w 9149451"/>
              <a:gd name="connsiteY40" fmla="*/ 301925 h 1452113"/>
              <a:gd name="connsiteX41" fmla="*/ 3019245 w 9149451"/>
              <a:gd name="connsiteY41" fmla="*/ 296174 h 1452113"/>
              <a:gd name="connsiteX42" fmla="*/ 3042249 w 9149451"/>
              <a:gd name="connsiteY42" fmla="*/ 284672 h 1452113"/>
              <a:gd name="connsiteX43" fmla="*/ 3076755 w 9149451"/>
              <a:gd name="connsiteY43" fmla="*/ 278921 h 1452113"/>
              <a:gd name="connsiteX44" fmla="*/ 3111260 w 9149451"/>
              <a:gd name="connsiteY44" fmla="*/ 267419 h 1452113"/>
              <a:gd name="connsiteX45" fmla="*/ 3145766 w 9149451"/>
              <a:gd name="connsiteY45" fmla="*/ 261668 h 1452113"/>
              <a:gd name="connsiteX46" fmla="*/ 3168770 w 9149451"/>
              <a:gd name="connsiteY46" fmla="*/ 255917 h 1452113"/>
              <a:gd name="connsiteX47" fmla="*/ 3375804 w 9149451"/>
              <a:gd name="connsiteY47" fmla="*/ 250166 h 1452113"/>
              <a:gd name="connsiteX48" fmla="*/ 3559834 w 9149451"/>
              <a:gd name="connsiteY48" fmla="*/ 255917 h 1452113"/>
              <a:gd name="connsiteX49" fmla="*/ 3594340 w 9149451"/>
              <a:gd name="connsiteY49" fmla="*/ 273170 h 1452113"/>
              <a:gd name="connsiteX50" fmla="*/ 3634596 w 9149451"/>
              <a:gd name="connsiteY50" fmla="*/ 284672 h 1452113"/>
              <a:gd name="connsiteX51" fmla="*/ 3657600 w 9149451"/>
              <a:gd name="connsiteY51" fmla="*/ 296174 h 1452113"/>
              <a:gd name="connsiteX52" fmla="*/ 3680604 w 9149451"/>
              <a:gd name="connsiteY52" fmla="*/ 301925 h 1452113"/>
              <a:gd name="connsiteX53" fmla="*/ 3715109 w 9149451"/>
              <a:gd name="connsiteY53" fmla="*/ 313427 h 1452113"/>
              <a:gd name="connsiteX54" fmla="*/ 3732362 w 9149451"/>
              <a:gd name="connsiteY54" fmla="*/ 319177 h 1452113"/>
              <a:gd name="connsiteX55" fmla="*/ 3784121 w 9149451"/>
              <a:gd name="connsiteY55" fmla="*/ 324928 h 1452113"/>
              <a:gd name="connsiteX56" fmla="*/ 3847381 w 9149451"/>
              <a:gd name="connsiteY56" fmla="*/ 336430 h 1452113"/>
              <a:gd name="connsiteX57" fmla="*/ 3910642 w 9149451"/>
              <a:gd name="connsiteY57" fmla="*/ 342181 h 1452113"/>
              <a:gd name="connsiteX58" fmla="*/ 3979653 w 9149451"/>
              <a:gd name="connsiteY58" fmla="*/ 353683 h 1452113"/>
              <a:gd name="connsiteX59" fmla="*/ 4042913 w 9149451"/>
              <a:gd name="connsiteY59" fmla="*/ 359434 h 1452113"/>
              <a:gd name="connsiteX60" fmla="*/ 4106174 w 9149451"/>
              <a:gd name="connsiteY60" fmla="*/ 376687 h 1452113"/>
              <a:gd name="connsiteX61" fmla="*/ 4146430 w 9149451"/>
              <a:gd name="connsiteY61" fmla="*/ 388189 h 1452113"/>
              <a:gd name="connsiteX62" fmla="*/ 4169434 w 9149451"/>
              <a:gd name="connsiteY62" fmla="*/ 399691 h 1452113"/>
              <a:gd name="connsiteX63" fmla="*/ 4203940 w 9149451"/>
              <a:gd name="connsiteY63" fmla="*/ 405442 h 1452113"/>
              <a:gd name="connsiteX64" fmla="*/ 4232694 w 9149451"/>
              <a:gd name="connsiteY64" fmla="*/ 411193 h 1452113"/>
              <a:gd name="connsiteX65" fmla="*/ 4255698 w 9149451"/>
              <a:gd name="connsiteY65" fmla="*/ 416943 h 1452113"/>
              <a:gd name="connsiteX66" fmla="*/ 4433977 w 9149451"/>
              <a:gd name="connsiteY66" fmla="*/ 422694 h 1452113"/>
              <a:gd name="connsiteX67" fmla="*/ 4502989 w 9149451"/>
              <a:gd name="connsiteY67" fmla="*/ 428445 h 1452113"/>
              <a:gd name="connsiteX68" fmla="*/ 4525992 w 9149451"/>
              <a:gd name="connsiteY68" fmla="*/ 439947 h 1452113"/>
              <a:gd name="connsiteX69" fmla="*/ 4577751 w 9149451"/>
              <a:gd name="connsiteY69" fmla="*/ 462951 h 1452113"/>
              <a:gd name="connsiteX70" fmla="*/ 4629509 w 9149451"/>
              <a:gd name="connsiteY70" fmla="*/ 485955 h 1452113"/>
              <a:gd name="connsiteX71" fmla="*/ 4681268 w 9149451"/>
              <a:gd name="connsiteY71" fmla="*/ 508959 h 1452113"/>
              <a:gd name="connsiteX72" fmla="*/ 4704272 w 9149451"/>
              <a:gd name="connsiteY72" fmla="*/ 520460 h 1452113"/>
              <a:gd name="connsiteX73" fmla="*/ 4756030 w 9149451"/>
              <a:gd name="connsiteY73" fmla="*/ 537713 h 1452113"/>
              <a:gd name="connsiteX74" fmla="*/ 4773283 w 9149451"/>
              <a:gd name="connsiteY74" fmla="*/ 543464 h 1452113"/>
              <a:gd name="connsiteX75" fmla="*/ 4802038 w 9149451"/>
              <a:gd name="connsiteY75" fmla="*/ 560717 h 1452113"/>
              <a:gd name="connsiteX76" fmla="*/ 4842294 w 9149451"/>
              <a:gd name="connsiteY76" fmla="*/ 572219 h 1452113"/>
              <a:gd name="connsiteX77" fmla="*/ 4876800 w 9149451"/>
              <a:gd name="connsiteY77" fmla="*/ 583721 h 1452113"/>
              <a:gd name="connsiteX78" fmla="*/ 4917057 w 9149451"/>
              <a:gd name="connsiteY78" fmla="*/ 589472 h 1452113"/>
              <a:gd name="connsiteX79" fmla="*/ 5072332 w 9149451"/>
              <a:gd name="connsiteY79" fmla="*/ 600974 h 1452113"/>
              <a:gd name="connsiteX80" fmla="*/ 5262113 w 9149451"/>
              <a:gd name="connsiteY80" fmla="*/ 612476 h 1452113"/>
              <a:gd name="connsiteX81" fmla="*/ 5382883 w 9149451"/>
              <a:gd name="connsiteY81" fmla="*/ 623977 h 1452113"/>
              <a:gd name="connsiteX82" fmla="*/ 5520906 w 9149451"/>
              <a:gd name="connsiteY82" fmla="*/ 635479 h 1452113"/>
              <a:gd name="connsiteX83" fmla="*/ 5578415 w 9149451"/>
              <a:gd name="connsiteY83" fmla="*/ 641230 h 1452113"/>
              <a:gd name="connsiteX84" fmla="*/ 5762445 w 9149451"/>
              <a:gd name="connsiteY84" fmla="*/ 652732 h 1452113"/>
              <a:gd name="connsiteX85" fmla="*/ 6003985 w 9149451"/>
              <a:gd name="connsiteY85" fmla="*/ 664234 h 1452113"/>
              <a:gd name="connsiteX86" fmla="*/ 6308785 w 9149451"/>
              <a:gd name="connsiteY86" fmla="*/ 658483 h 1452113"/>
              <a:gd name="connsiteX87" fmla="*/ 6349042 w 9149451"/>
              <a:gd name="connsiteY87" fmla="*/ 646981 h 1452113"/>
              <a:gd name="connsiteX88" fmla="*/ 6400800 w 9149451"/>
              <a:gd name="connsiteY88" fmla="*/ 635479 h 1452113"/>
              <a:gd name="connsiteX89" fmla="*/ 6429555 w 9149451"/>
              <a:gd name="connsiteY89" fmla="*/ 629728 h 1452113"/>
              <a:gd name="connsiteX90" fmla="*/ 6458309 w 9149451"/>
              <a:gd name="connsiteY90" fmla="*/ 618227 h 1452113"/>
              <a:gd name="connsiteX91" fmla="*/ 6521570 w 9149451"/>
              <a:gd name="connsiteY91" fmla="*/ 606725 h 1452113"/>
              <a:gd name="connsiteX92" fmla="*/ 6567577 w 9149451"/>
              <a:gd name="connsiteY92" fmla="*/ 595223 h 1452113"/>
              <a:gd name="connsiteX93" fmla="*/ 6630838 w 9149451"/>
              <a:gd name="connsiteY93" fmla="*/ 577970 h 1452113"/>
              <a:gd name="connsiteX94" fmla="*/ 6648091 w 9149451"/>
              <a:gd name="connsiteY94" fmla="*/ 566468 h 1452113"/>
              <a:gd name="connsiteX95" fmla="*/ 6688347 w 9149451"/>
              <a:gd name="connsiteY95" fmla="*/ 554966 h 1452113"/>
              <a:gd name="connsiteX96" fmla="*/ 6751608 w 9149451"/>
              <a:gd name="connsiteY96" fmla="*/ 531962 h 1452113"/>
              <a:gd name="connsiteX97" fmla="*/ 6786113 w 9149451"/>
              <a:gd name="connsiteY97" fmla="*/ 520460 h 1452113"/>
              <a:gd name="connsiteX98" fmla="*/ 6809117 w 9149451"/>
              <a:gd name="connsiteY98" fmla="*/ 508959 h 1452113"/>
              <a:gd name="connsiteX99" fmla="*/ 6855125 w 9149451"/>
              <a:gd name="connsiteY99" fmla="*/ 503208 h 1452113"/>
              <a:gd name="connsiteX100" fmla="*/ 6906883 w 9149451"/>
              <a:gd name="connsiteY100" fmla="*/ 491706 h 1452113"/>
              <a:gd name="connsiteX101" fmla="*/ 6935638 w 9149451"/>
              <a:gd name="connsiteY101" fmla="*/ 485955 h 1452113"/>
              <a:gd name="connsiteX102" fmla="*/ 6970143 w 9149451"/>
              <a:gd name="connsiteY102" fmla="*/ 480204 h 1452113"/>
              <a:gd name="connsiteX103" fmla="*/ 7125419 w 9149451"/>
              <a:gd name="connsiteY103" fmla="*/ 474453 h 1452113"/>
              <a:gd name="connsiteX104" fmla="*/ 7924800 w 9149451"/>
              <a:gd name="connsiteY104" fmla="*/ 468702 h 1452113"/>
              <a:gd name="connsiteX105" fmla="*/ 7982309 w 9149451"/>
              <a:gd name="connsiteY105" fmla="*/ 462951 h 1452113"/>
              <a:gd name="connsiteX106" fmla="*/ 8120332 w 9149451"/>
              <a:gd name="connsiteY106" fmla="*/ 434196 h 1452113"/>
              <a:gd name="connsiteX107" fmla="*/ 8143336 w 9149451"/>
              <a:gd name="connsiteY107" fmla="*/ 428445 h 1452113"/>
              <a:gd name="connsiteX108" fmla="*/ 8166340 w 9149451"/>
              <a:gd name="connsiteY108" fmla="*/ 416943 h 1452113"/>
              <a:gd name="connsiteX109" fmla="*/ 8189343 w 9149451"/>
              <a:gd name="connsiteY109" fmla="*/ 411193 h 1452113"/>
              <a:gd name="connsiteX110" fmla="*/ 8223849 w 9149451"/>
              <a:gd name="connsiteY110" fmla="*/ 399691 h 1452113"/>
              <a:gd name="connsiteX111" fmla="*/ 8241102 w 9149451"/>
              <a:gd name="connsiteY111" fmla="*/ 393940 h 1452113"/>
              <a:gd name="connsiteX112" fmla="*/ 8264106 w 9149451"/>
              <a:gd name="connsiteY112" fmla="*/ 388189 h 1452113"/>
              <a:gd name="connsiteX113" fmla="*/ 8292860 w 9149451"/>
              <a:gd name="connsiteY113" fmla="*/ 370936 h 1452113"/>
              <a:gd name="connsiteX114" fmla="*/ 8327366 w 9149451"/>
              <a:gd name="connsiteY114" fmla="*/ 359434 h 1452113"/>
              <a:gd name="connsiteX115" fmla="*/ 8367623 w 9149451"/>
              <a:gd name="connsiteY115" fmla="*/ 342181 h 1452113"/>
              <a:gd name="connsiteX116" fmla="*/ 8390626 w 9149451"/>
              <a:gd name="connsiteY116" fmla="*/ 330679 h 1452113"/>
              <a:gd name="connsiteX117" fmla="*/ 8407879 w 9149451"/>
              <a:gd name="connsiteY117" fmla="*/ 324928 h 1452113"/>
              <a:gd name="connsiteX118" fmla="*/ 8436634 w 9149451"/>
              <a:gd name="connsiteY118" fmla="*/ 313427 h 1452113"/>
              <a:gd name="connsiteX119" fmla="*/ 8482642 w 9149451"/>
              <a:gd name="connsiteY119" fmla="*/ 290423 h 1452113"/>
              <a:gd name="connsiteX120" fmla="*/ 8511396 w 9149451"/>
              <a:gd name="connsiteY120" fmla="*/ 284672 h 1452113"/>
              <a:gd name="connsiteX121" fmla="*/ 8528649 w 9149451"/>
              <a:gd name="connsiteY121" fmla="*/ 278921 h 1452113"/>
              <a:gd name="connsiteX122" fmla="*/ 8551653 w 9149451"/>
              <a:gd name="connsiteY122" fmla="*/ 273170 h 1452113"/>
              <a:gd name="connsiteX123" fmla="*/ 8568906 w 9149451"/>
              <a:gd name="connsiteY123" fmla="*/ 261668 h 1452113"/>
              <a:gd name="connsiteX124" fmla="*/ 8597660 w 9149451"/>
              <a:gd name="connsiteY124" fmla="*/ 255917 h 1452113"/>
              <a:gd name="connsiteX125" fmla="*/ 8643668 w 9149451"/>
              <a:gd name="connsiteY125" fmla="*/ 244415 h 1452113"/>
              <a:gd name="connsiteX126" fmla="*/ 8672423 w 9149451"/>
              <a:gd name="connsiteY126" fmla="*/ 238664 h 1452113"/>
              <a:gd name="connsiteX127" fmla="*/ 8735683 w 9149451"/>
              <a:gd name="connsiteY127" fmla="*/ 221411 h 1452113"/>
              <a:gd name="connsiteX128" fmla="*/ 8798943 w 9149451"/>
              <a:gd name="connsiteY128" fmla="*/ 215660 h 1452113"/>
              <a:gd name="connsiteX129" fmla="*/ 8867955 w 9149451"/>
              <a:gd name="connsiteY129" fmla="*/ 221411 h 1452113"/>
              <a:gd name="connsiteX130" fmla="*/ 8965721 w 9149451"/>
              <a:gd name="connsiteY130" fmla="*/ 209910 h 1452113"/>
              <a:gd name="connsiteX131" fmla="*/ 9028981 w 9149451"/>
              <a:gd name="connsiteY131" fmla="*/ 192657 h 1452113"/>
              <a:gd name="connsiteX132" fmla="*/ 9144000 w 9149451"/>
              <a:gd name="connsiteY132" fmla="*/ 186906 h 1452113"/>
              <a:gd name="connsiteX133" fmla="*/ 9144000 w 9149451"/>
              <a:gd name="connsiteY133" fmla="*/ 1452113 h 1452113"/>
              <a:gd name="connsiteX0" fmla="*/ 0 w 9149451"/>
              <a:gd name="connsiteY0" fmla="*/ 1219200 h 1265207"/>
              <a:gd name="connsiteX1" fmla="*/ 799381 w 9149451"/>
              <a:gd name="connsiteY1" fmla="*/ 28754 h 1265207"/>
              <a:gd name="connsiteX2" fmla="*/ 885645 w 9149451"/>
              <a:gd name="connsiteY2" fmla="*/ 46007 h 1265207"/>
              <a:gd name="connsiteX3" fmla="*/ 971909 w 9149451"/>
              <a:gd name="connsiteY3" fmla="*/ 69011 h 1265207"/>
              <a:gd name="connsiteX4" fmla="*/ 1023668 w 9149451"/>
              <a:gd name="connsiteY4" fmla="*/ 74762 h 1265207"/>
              <a:gd name="connsiteX5" fmla="*/ 1040921 w 9149451"/>
              <a:gd name="connsiteY5" fmla="*/ 80513 h 1265207"/>
              <a:gd name="connsiteX6" fmla="*/ 1109932 w 9149451"/>
              <a:gd name="connsiteY6" fmla="*/ 92015 h 1265207"/>
              <a:gd name="connsiteX7" fmla="*/ 1190445 w 9149451"/>
              <a:gd name="connsiteY7" fmla="*/ 109268 h 1265207"/>
              <a:gd name="connsiteX8" fmla="*/ 1293962 w 9149451"/>
              <a:gd name="connsiteY8" fmla="*/ 126521 h 1265207"/>
              <a:gd name="connsiteX9" fmla="*/ 1357223 w 9149451"/>
              <a:gd name="connsiteY9" fmla="*/ 143773 h 1265207"/>
              <a:gd name="connsiteX10" fmla="*/ 1397479 w 9149451"/>
              <a:gd name="connsiteY10" fmla="*/ 149524 h 1265207"/>
              <a:gd name="connsiteX11" fmla="*/ 1489494 w 9149451"/>
              <a:gd name="connsiteY11" fmla="*/ 172528 h 1265207"/>
              <a:gd name="connsiteX12" fmla="*/ 1535502 w 9149451"/>
              <a:gd name="connsiteY12" fmla="*/ 184030 h 1265207"/>
              <a:gd name="connsiteX13" fmla="*/ 1621766 w 9149451"/>
              <a:gd name="connsiteY13" fmla="*/ 195532 h 1265207"/>
              <a:gd name="connsiteX14" fmla="*/ 1690777 w 9149451"/>
              <a:gd name="connsiteY14" fmla="*/ 212785 h 1265207"/>
              <a:gd name="connsiteX15" fmla="*/ 1713781 w 9149451"/>
              <a:gd name="connsiteY15" fmla="*/ 218536 h 1265207"/>
              <a:gd name="connsiteX16" fmla="*/ 1759789 w 9149451"/>
              <a:gd name="connsiteY16" fmla="*/ 224287 h 1265207"/>
              <a:gd name="connsiteX17" fmla="*/ 1782792 w 9149451"/>
              <a:gd name="connsiteY17" fmla="*/ 230037 h 1265207"/>
              <a:gd name="connsiteX18" fmla="*/ 1869057 w 9149451"/>
              <a:gd name="connsiteY18" fmla="*/ 241539 h 1265207"/>
              <a:gd name="connsiteX19" fmla="*/ 1961072 w 9149451"/>
              <a:gd name="connsiteY19" fmla="*/ 253041 h 1265207"/>
              <a:gd name="connsiteX20" fmla="*/ 2012830 w 9149451"/>
              <a:gd name="connsiteY20" fmla="*/ 258792 h 1265207"/>
              <a:gd name="connsiteX21" fmla="*/ 2047336 w 9149451"/>
              <a:gd name="connsiteY21" fmla="*/ 264543 h 1265207"/>
              <a:gd name="connsiteX22" fmla="*/ 2237117 w 9149451"/>
              <a:gd name="connsiteY22" fmla="*/ 276045 h 1265207"/>
              <a:gd name="connsiteX23" fmla="*/ 2467155 w 9149451"/>
              <a:gd name="connsiteY23" fmla="*/ 270294 h 1265207"/>
              <a:gd name="connsiteX24" fmla="*/ 2495909 w 9149451"/>
              <a:gd name="connsiteY24" fmla="*/ 264543 h 1265207"/>
              <a:gd name="connsiteX25" fmla="*/ 2559170 w 9149451"/>
              <a:gd name="connsiteY25" fmla="*/ 258792 h 1265207"/>
              <a:gd name="connsiteX26" fmla="*/ 2587925 w 9149451"/>
              <a:gd name="connsiteY26" fmla="*/ 253041 h 1265207"/>
              <a:gd name="connsiteX27" fmla="*/ 2633932 w 9149451"/>
              <a:gd name="connsiteY27" fmla="*/ 247290 h 1265207"/>
              <a:gd name="connsiteX28" fmla="*/ 2656936 w 9149451"/>
              <a:gd name="connsiteY28" fmla="*/ 235788 h 1265207"/>
              <a:gd name="connsiteX29" fmla="*/ 2679940 w 9149451"/>
              <a:gd name="connsiteY29" fmla="*/ 230037 h 1265207"/>
              <a:gd name="connsiteX30" fmla="*/ 2697192 w 9149451"/>
              <a:gd name="connsiteY30" fmla="*/ 224287 h 1265207"/>
              <a:gd name="connsiteX31" fmla="*/ 2743200 w 9149451"/>
              <a:gd name="connsiteY31" fmla="*/ 212785 h 1265207"/>
              <a:gd name="connsiteX32" fmla="*/ 2766204 w 9149451"/>
              <a:gd name="connsiteY32" fmla="*/ 207034 h 1265207"/>
              <a:gd name="connsiteX33" fmla="*/ 2794958 w 9149451"/>
              <a:gd name="connsiteY33" fmla="*/ 189781 h 1265207"/>
              <a:gd name="connsiteX34" fmla="*/ 2829464 w 9149451"/>
              <a:gd name="connsiteY34" fmla="*/ 178279 h 1265207"/>
              <a:gd name="connsiteX35" fmla="*/ 2846717 w 9149451"/>
              <a:gd name="connsiteY35" fmla="*/ 172528 h 1265207"/>
              <a:gd name="connsiteX36" fmla="*/ 2909977 w 9149451"/>
              <a:gd name="connsiteY36" fmla="*/ 155275 h 1265207"/>
              <a:gd name="connsiteX37" fmla="*/ 2961736 w 9149451"/>
              <a:gd name="connsiteY37" fmla="*/ 132271 h 1265207"/>
              <a:gd name="connsiteX38" fmla="*/ 2978989 w 9149451"/>
              <a:gd name="connsiteY38" fmla="*/ 126521 h 1265207"/>
              <a:gd name="connsiteX39" fmla="*/ 3001992 w 9149451"/>
              <a:gd name="connsiteY39" fmla="*/ 115019 h 1265207"/>
              <a:gd name="connsiteX40" fmla="*/ 3019245 w 9149451"/>
              <a:gd name="connsiteY40" fmla="*/ 109268 h 1265207"/>
              <a:gd name="connsiteX41" fmla="*/ 3042249 w 9149451"/>
              <a:gd name="connsiteY41" fmla="*/ 97766 h 1265207"/>
              <a:gd name="connsiteX42" fmla="*/ 3076755 w 9149451"/>
              <a:gd name="connsiteY42" fmla="*/ 92015 h 1265207"/>
              <a:gd name="connsiteX43" fmla="*/ 3111260 w 9149451"/>
              <a:gd name="connsiteY43" fmla="*/ 80513 h 1265207"/>
              <a:gd name="connsiteX44" fmla="*/ 3145766 w 9149451"/>
              <a:gd name="connsiteY44" fmla="*/ 74762 h 1265207"/>
              <a:gd name="connsiteX45" fmla="*/ 3168770 w 9149451"/>
              <a:gd name="connsiteY45" fmla="*/ 69011 h 1265207"/>
              <a:gd name="connsiteX46" fmla="*/ 3375804 w 9149451"/>
              <a:gd name="connsiteY46" fmla="*/ 63260 h 1265207"/>
              <a:gd name="connsiteX47" fmla="*/ 3559834 w 9149451"/>
              <a:gd name="connsiteY47" fmla="*/ 69011 h 1265207"/>
              <a:gd name="connsiteX48" fmla="*/ 3594340 w 9149451"/>
              <a:gd name="connsiteY48" fmla="*/ 86264 h 1265207"/>
              <a:gd name="connsiteX49" fmla="*/ 3634596 w 9149451"/>
              <a:gd name="connsiteY49" fmla="*/ 97766 h 1265207"/>
              <a:gd name="connsiteX50" fmla="*/ 3657600 w 9149451"/>
              <a:gd name="connsiteY50" fmla="*/ 109268 h 1265207"/>
              <a:gd name="connsiteX51" fmla="*/ 3680604 w 9149451"/>
              <a:gd name="connsiteY51" fmla="*/ 115019 h 1265207"/>
              <a:gd name="connsiteX52" fmla="*/ 3715109 w 9149451"/>
              <a:gd name="connsiteY52" fmla="*/ 126521 h 1265207"/>
              <a:gd name="connsiteX53" fmla="*/ 3732362 w 9149451"/>
              <a:gd name="connsiteY53" fmla="*/ 132271 h 1265207"/>
              <a:gd name="connsiteX54" fmla="*/ 3784121 w 9149451"/>
              <a:gd name="connsiteY54" fmla="*/ 138022 h 1265207"/>
              <a:gd name="connsiteX55" fmla="*/ 3847381 w 9149451"/>
              <a:gd name="connsiteY55" fmla="*/ 149524 h 1265207"/>
              <a:gd name="connsiteX56" fmla="*/ 3910642 w 9149451"/>
              <a:gd name="connsiteY56" fmla="*/ 155275 h 1265207"/>
              <a:gd name="connsiteX57" fmla="*/ 3979653 w 9149451"/>
              <a:gd name="connsiteY57" fmla="*/ 166777 h 1265207"/>
              <a:gd name="connsiteX58" fmla="*/ 4042913 w 9149451"/>
              <a:gd name="connsiteY58" fmla="*/ 172528 h 1265207"/>
              <a:gd name="connsiteX59" fmla="*/ 4106174 w 9149451"/>
              <a:gd name="connsiteY59" fmla="*/ 189781 h 1265207"/>
              <a:gd name="connsiteX60" fmla="*/ 4146430 w 9149451"/>
              <a:gd name="connsiteY60" fmla="*/ 201283 h 1265207"/>
              <a:gd name="connsiteX61" fmla="*/ 4169434 w 9149451"/>
              <a:gd name="connsiteY61" fmla="*/ 212785 h 1265207"/>
              <a:gd name="connsiteX62" fmla="*/ 4203940 w 9149451"/>
              <a:gd name="connsiteY62" fmla="*/ 218536 h 1265207"/>
              <a:gd name="connsiteX63" fmla="*/ 4232694 w 9149451"/>
              <a:gd name="connsiteY63" fmla="*/ 224287 h 1265207"/>
              <a:gd name="connsiteX64" fmla="*/ 4255698 w 9149451"/>
              <a:gd name="connsiteY64" fmla="*/ 230037 h 1265207"/>
              <a:gd name="connsiteX65" fmla="*/ 4433977 w 9149451"/>
              <a:gd name="connsiteY65" fmla="*/ 235788 h 1265207"/>
              <a:gd name="connsiteX66" fmla="*/ 4502989 w 9149451"/>
              <a:gd name="connsiteY66" fmla="*/ 241539 h 1265207"/>
              <a:gd name="connsiteX67" fmla="*/ 4525992 w 9149451"/>
              <a:gd name="connsiteY67" fmla="*/ 253041 h 1265207"/>
              <a:gd name="connsiteX68" fmla="*/ 4577751 w 9149451"/>
              <a:gd name="connsiteY68" fmla="*/ 276045 h 1265207"/>
              <a:gd name="connsiteX69" fmla="*/ 4629509 w 9149451"/>
              <a:gd name="connsiteY69" fmla="*/ 299049 h 1265207"/>
              <a:gd name="connsiteX70" fmla="*/ 4681268 w 9149451"/>
              <a:gd name="connsiteY70" fmla="*/ 322053 h 1265207"/>
              <a:gd name="connsiteX71" fmla="*/ 4704272 w 9149451"/>
              <a:gd name="connsiteY71" fmla="*/ 333554 h 1265207"/>
              <a:gd name="connsiteX72" fmla="*/ 4756030 w 9149451"/>
              <a:gd name="connsiteY72" fmla="*/ 350807 h 1265207"/>
              <a:gd name="connsiteX73" fmla="*/ 4773283 w 9149451"/>
              <a:gd name="connsiteY73" fmla="*/ 356558 h 1265207"/>
              <a:gd name="connsiteX74" fmla="*/ 4802038 w 9149451"/>
              <a:gd name="connsiteY74" fmla="*/ 373811 h 1265207"/>
              <a:gd name="connsiteX75" fmla="*/ 4842294 w 9149451"/>
              <a:gd name="connsiteY75" fmla="*/ 385313 h 1265207"/>
              <a:gd name="connsiteX76" fmla="*/ 4876800 w 9149451"/>
              <a:gd name="connsiteY76" fmla="*/ 396815 h 1265207"/>
              <a:gd name="connsiteX77" fmla="*/ 4917057 w 9149451"/>
              <a:gd name="connsiteY77" fmla="*/ 402566 h 1265207"/>
              <a:gd name="connsiteX78" fmla="*/ 5072332 w 9149451"/>
              <a:gd name="connsiteY78" fmla="*/ 414068 h 1265207"/>
              <a:gd name="connsiteX79" fmla="*/ 5262113 w 9149451"/>
              <a:gd name="connsiteY79" fmla="*/ 425570 h 1265207"/>
              <a:gd name="connsiteX80" fmla="*/ 5382883 w 9149451"/>
              <a:gd name="connsiteY80" fmla="*/ 437071 h 1265207"/>
              <a:gd name="connsiteX81" fmla="*/ 5520906 w 9149451"/>
              <a:gd name="connsiteY81" fmla="*/ 448573 h 1265207"/>
              <a:gd name="connsiteX82" fmla="*/ 5578415 w 9149451"/>
              <a:gd name="connsiteY82" fmla="*/ 454324 h 1265207"/>
              <a:gd name="connsiteX83" fmla="*/ 5762445 w 9149451"/>
              <a:gd name="connsiteY83" fmla="*/ 465826 h 1265207"/>
              <a:gd name="connsiteX84" fmla="*/ 6003985 w 9149451"/>
              <a:gd name="connsiteY84" fmla="*/ 477328 h 1265207"/>
              <a:gd name="connsiteX85" fmla="*/ 6308785 w 9149451"/>
              <a:gd name="connsiteY85" fmla="*/ 471577 h 1265207"/>
              <a:gd name="connsiteX86" fmla="*/ 6349042 w 9149451"/>
              <a:gd name="connsiteY86" fmla="*/ 460075 h 1265207"/>
              <a:gd name="connsiteX87" fmla="*/ 6400800 w 9149451"/>
              <a:gd name="connsiteY87" fmla="*/ 448573 h 1265207"/>
              <a:gd name="connsiteX88" fmla="*/ 6429555 w 9149451"/>
              <a:gd name="connsiteY88" fmla="*/ 442822 h 1265207"/>
              <a:gd name="connsiteX89" fmla="*/ 6458309 w 9149451"/>
              <a:gd name="connsiteY89" fmla="*/ 431321 h 1265207"/>
              <a:gd name="connsiteX90" fmla="*/ 6521570 w 9149451"/>
              <a:gd name="connsiteY90" fmla="*/ 419819 h 1265207"/>
              <a:gd name="connsiteX91" fmla="*/ 6567577 w 9149451"/>
              <a:gd name="connsiteY91" fmla="*/ 408317 h 1265207"/>
              <a:gd name="connsiteX92" fmla="*/ 6630838 w 9149451"/>
              <a:gd name="connsiteY92" fmla="*/ 391064 h 1265207"/>
              <a:gd name="connsiteX93" fmla="*/ 6648091 w 9149451"/>
              <a:gd name="connsiteY93" fmla="*/ 379562 h 1265207"/>
              <a:gd name="connsiteX94" fmla="*/ 6688347 w 9149451"/>
              <a:gd name="connsiteY94" fmla="*/ 368060 h 1265207"/>
              <a:gd name="connsiteX95" fmla="*/ 6751608 w 9149451"/>
              <a:gd name="connsiteY95" fmla="*/ 345056 h 1265207"/>
              <a:gd name="connsiteX96" fmla="*/ 6786113 w 9149451"/>
              <a:gd name="connsiteY96" fmla="*/ 333554 h 1265207"/>
              <a:gd name="connsiteX97" fmla="*/ 6809117 w 9149451"/>
              <a:gd name="connsiteY97" fmla="*/ 322053 h 1265207"/>
              <a:gd name="connsiteX98" fmla="*/ 6855125 w 9149451"/>
              <a:gd name="connsiteY98" fmla="*/ 316302 h 1265207"/>
              <a:gd name="connsiteX99" fmla="*/ 6906883 w 9149451"/>
              <a:gd name="connsiteY99" fmla="*/ 304800 h 1265207"/>
              <a:gd name="connsiteX100" fmla="*/ 6935638 w 9149451"/>
              <a:gd name="connsiteY100" fmla="*/ 299049 h 1265207"/>
              <a:gd name="connsiteX101" fmla="*/ 6970143 w 9149451"/>
              <a:gd name="connsiteY101" fmla="*/ 293298 h 1265207"/>
              <a:gd name="connsiteX102" fmla="*/ 7125419 w 9149451"/>
              <a:gd name="connsiteY102" fmla="*/ 287547 h 1265207"/>
              <a:gd name="connsiteX103" fmla="*/ 7924800 w 9149451"/>
              <a:gd name="connsiteY103" fmla="*/ 281796 h 1265207"/>
              <a:gd name="connsiteX104" fmla="*/ 7982309 w 9149451"/>
              <a:gd name="connsiteY104" fmla="*/ 276045 h 1265207"/>
              <a:gd name="connsiteX105" fmla="*/ 8120332 w 9149451"/>
              <a:gd name="connsiteY105" fmla="*/ 247290 h 1265207"/>
              <a:gd name="connsiteX106" fmla="*/ 8143336 w 9149451"/>
              <a:gd name="connsiteY106" fmla="*/ 241539 h 1265207"/>
              <a:gd name="connsiteX107" fmla="*/ 8166340 w 9149451"/>
              <a:gd name="connsiteY107" fmla="*/ 230037 h 1265207"/>
              <a:gd name="connsiteX108" fmla="*/ 8189343 w 9149451"/>
              <a:gd name="connsiteY108" fmla="*/ 224287 h 1265207"/>
              <a:gd name="connsiteX109" fmla="*/ 8223849 w 9149451"/>
              <a:gd name="connsiteY109" fmla="*/ 212785 h 1265207"/>
              <a:gd name="connsiteX110" fmla="*/ 8241102 w 9149451"/>
              <a:gd name="connsiteY110" fmla="*/ 207034 h 1265207"/>
              <a:gd name="connsiteX111" fmla="*/ 8264106 w 9149451"/>
              <a:gd name="connsiteY111" fmla="*/ 201283 h 1265207"/>
              <a:gd name="connsiteX112" fmla="*/ 8292860 w 9149451"/>
              <a:gd name="connsiteY112" fmla="*/ 184030 h 1265207"/>
              <a:gd name="connsiteX113" fmla="*/ 8327366 w 9149451"/>
              <a:gd name="connsiteY113" fmla="*/ 172528 h 1265207"/>
              <a:gd name="connsiteX114" fmla="*/ 8367623 w 9149451"/>
              <a:gd name="connsiteY114" fmla="*/ 155275 h 1265207"/>
              <a:gd name="connsiteX115" fmla="*/ 8390626 w 9149451"/>
              <a:gd name="connsiteY115" fmla="*/ 143773 h 1265207"/>
              <a:gd name="connsiteX116" fmla="*/ 8407879 w 9149451"/>
              <a:gd name="connsiteY116" fmla="*/ 138022 h 1265207"/>
              <a:gd name="connsiteX117" fmla="*/ 8436634 w 9149451"/>
              <a:gd name="connsiteY117" fmla="*/ 126521 h 1265207"/>
              <a:gd name="connsiteX118" fmla="*/ 8482642 w 9149451"/>
              <a:gd name="connsiteY118" fmla="*/ 103517 h 1265207"/>
              <a:gd name="connsiteX119" fmla="*/ 8511396 w 9149451"/>
              <a:gd name="connsiteY119" fmla="*/ 97766 h 1265207"/>
              <a:gd name="connsiteX120" fmla="*/ 8528649 w 9149451"/>
              <a:gd name="connsiteY120" fmla="*/ 92015 h 1265207"/>
              <a:gd name="connsiteX121" fmla="*/ 8551653 w 9149451"/>
              <a:gd name="connsiteY121" fmla="*/ 86264 h 1265207"/>
              <a:gd name="connsiteX122" fmla="*/ 8568906 w 9149451"/>
              <a:gd name="connsiteY122" fmla="*/ 74762 h 1265207"/>
              <a:gd name="connsiteX123" fmla="*/ 8597660 w 9149451"/>
              <a:gd name="connsiteY123" fmla="*/ 69011 h 1265207"/>
              <a:gd name="connsiteX124" fmla="*/ 8643668 w 9149451"/>
              <a:gd name="connsiteY124" fmla="*/ 57509 h 1265207"/>
              <a:gd name="connsiteX125" fmla="*/ 8672423 w 9149451"/>
              <a:gd name="connsiteY125" fmla="*/ 51758 h 1265207"/>
              <a:gd name="connsiteX126" fmla="*/ 8735683 w 9149451"/>
              <a:gd name="connsiteY126" fmla="*/ 34505 h 1265207"/>
              <a:gd name="connsiteX127" fmla="*/ 8798943 w 9149451"/>
              <a:gd name="connsiteY127" fmla="*/ 28754 h 1265207"/>
              <a:gd name="connsiteX128" fmla="*/ 8867955 w 9149451"/>
              <a:gd name="connsiteY128" fmla="*/ 34505 h 1265207"/>
              <a:gd name="connsiteX129" fmla="*/ 8965721 w 9149451"/>
              <a:gd name="connsiteY129" fmla="*/ 23004 h 1265207"/>
              <a:gd name="connsiteX130" fmla="*/ 9028981 w 9149451"/>
              <a:gd name="connsiteY130" fmla="*/ 5751 h 1265207"/>
              <a:gd name="connsiteX131" fmla="*/ 9144000 w 9149451"/>
              <a:gd name="connsiteY131" fmla="*/ 0 h 1265207"/>
              <a:gd name="connsiteX132" fmla="*/ 9144000 w 9149451"/>
              <a:gd name="connsiteY132" fmla="*/ 1265207 h 1265207"/>
              <a:gd name="connsiteX0" fmla="*/ 0 w 9149451"/>
              <a:gd name="connsiteY0" fmla="*/ 1219200 h 1265207"/>
              <a:gd name="connsiteX1" fmla="*/ 799381 w 9149451"/>
              <a:gd name="connsiteY1" fmla="*/ 28754 h 1265207"/>
              <a:gd name="connsiteX2" fmla="*/ 885645 w 9149451"/>
              <a:gd name="connsiteY2" fmla="*/ 46007 h 1265207"/>
              <a:gd name="connsiteX3" fmla="*/ 971909 w 9149451"/>
              <a:gd name="connsiteY3" fmla="*/ 69011 h 1265207"/>
              <a:gd name="connsiteX4" fmla="*/ 1023668 w 9149451"/>
              <a:gd name="connsiteY4" fmla="*/ 74762 h 1265207"/>
              <a:gd name="connsiteX5" fmla="*/ 1040921 w 9149451"/>
              <a:gd name="connsiteY5" fmla="*/ 80513 h 1265207"/>
              <a:gd name="connsiteX6" fmla="*/ 1190445 w 9149451"/>
              <a:gd name="connsiteY6" fmla="*/ 109268 h 1265207"/>
              <a:gd name="connsiteX7" fmla="*/ 1293962 w 9149451"/>
              <a:gd name="connsiteY7" fmla="*/ 126521 h 1265207"/>
              <a:gd name="connsiteX8" fmla="*/ 1357223 w 9149451"/>
              <a:gd name="connsiteY8" fmla="*/ 143773 h 1265207"/>
              <a:gd name="connsiteX9" fmla="*/ 1397479 w 9149451"/>
              <a:gd name="connsiteY9" fmla="*/ 149524 h 1265207"/>
              <a:gd name="connsiteX10" fmla="*/ 1489494 w 9149451"/>
              <a:gd name="connsiteY10" fmla="*/ 172528 h 1265207"/>
              <a:gd name="connsiteX11" fmla="*/ 1535502 w 9149451"/>
              <a:gd name="connsiteY11" fmla="*/ 184030 h 1265207"/>
              <a:gd name="connsiteX12" fmla="*/ 1621766 w 9149451"/>
              <a:gd name="connsiteY12" fmla="*/ 195532 h 1265207"/>
              <a:gd name="connsiteX13" fmla="*/ 1690777 w 9149451"/>
              <a:gd name="connsiteY13" fmla="*/ 212785 h 1265207"/>
              <a:gd name="connsiteX14" fmla="*/ 1713781 w 9149451"/>
              <a:gd name="connsiteY14" fmla="*/ 218536 h 1265207"/>
              <a:gd name="connsiteX15" fmla="*/ 1759789 w 9149451"/>
              <a:gd name="connsiteY15" fmla="*/ 224287 h 1265207"/>
              <a:gd name="connsiteX16" fmla="*/ 1782792 w 9149451"/>
              <a:gd name="connsiteY16" fmla="*/ 230037 h 1265207"/>
              <a:gd name="connsiteX17" fmla="*/ 1869057 w 9149451"/>
              <a:gd name="connsiteY17" fmla="*/ 241539 h 1265207"/>
              <a:gd name="connsiteX18" fmla="*/ 1961072 w 9149451"/>
              <a:gd name="connsiteY18" fmla="*/ 253041 h 1265207"/>
              <a:gd name="connsiteX19" fmla="*/ 2012830 w 9149451"/>
              <a:gd name="connsiteY19" fmla="*/ 258792 h 1265207"/>
              <a:gd name="connsiteX20" fmla="*/ 2047336 w 9149451"/>
              <a:gd name="connsiteY20" fmla="*/ 264543 h 1265207"/>
              <a:gd name="connsiteX21" fmla="*/ 2237117 w 9149451"/>
              <a:gd name="connsiteY21" fmla="*/ 276045 h 1265207"/>
              <a:gd name="connsiteX22" fmla="*/ 2467155 w 9149451"/>
              <a:gd name="connsiteY22" fmla="*/ 270294 h 1265207"/>
              <a:gd name="connsiteX23" fmla="*/ 2495909 w 9149451"/>
              <a:gd name="connsiteY23" fmla="*/ 264543 h 1265207"/>
              <a:gd name="connsiteX24" fmla="*/ 2559170 w 9149451"/>
              <a:gd name="connsiteY24" fmla="*/ 258792 h 1265207"/>
              <a:gd name="connsiteX25" fmla="*/ 2587925 w 9149451"/>
              <a:gd name="connsiteY25" fmla="*/ 253041 h 1265207"/>
              <a:gd name="connsiteX26" fmla="*/ 2633932 w 9149451"/>
              <a:gd name="connsiteY26" fmla="*/ 247290 h 1265207"/>
              <a:gd name="connsiteX27" fmla="*/ 2656936 w 9149451"/>
              <a:gd name="connsiteY27" fmla="*/ 235788 h 1265207"/>
              <a:gd name="connsiteX28" fmla="*/ 2679940 w 9149451"/>
              <a:gd name="connsiteY28" fmla="*/ 230037 h 1265207"/>
              <a:gd name="connsiteX29" fmla="*/ 2697192 w 9149451"/>
              <a:gd name="connsiteY29" fmla="*/ 224287 h 1265207"/>
              <a:gd name="connsiteX30" fmla="*/ 2743200 w 9149451"/>
              <a:gd name="connsiteY30" fmla="*/ 212785 h 1265207"/>
              <a:gd name="connsiteX31" fmla="*/ 2766204 w 9149451"/>
              <a:gd name="connsiteY31" fmla="*/ 207034 h 1265207"/>
              <a:gd name="connsiteX32" fmla="*/ 2794958 w 9149451"/>
              <a:gd name="connsiteY32" fmla="*/ 189781 h 1265207"/>
              <a:gd name="connsiteX33" fmla="*/ 2829464 w 9149451"/>
              <a:gd name="connsiteY33" fmla="*/ 178279 h 1265207"/>
              <a:gd name="connsiteX34" fmla="*/ 2846717 w 9149451"/>
              <a:gd name="connsiteY34" fmla="*/ 172528 h 1265207"/>
              <a:gd name="connsiteX35" fmla="*/ 2909977 w 9149451"/>
              <a:gd name="connsiteY35" fmla="*/ 155275 h 1265207"/>
              <a:gd name="connsiteX36" fmla="*/ 2961736 w 9149451"/>
              <a:gd name="connsiteY36" fmla="*/ 132271 h 1265207"/>
              <a:gd name="connsiteX37" fmla="*/ 2978989 w 9149451"/>
              <a:gd name="connsiteY37" fmla="*/ 126521 h 1265207"/>
              <a:gd name="connsiteX38" fmla="*/ 3001992 w 9149451"/>
              <a:gd name="connsiteY38" fmla="*/ 115019 h 1265207"/>
              <a:gd name="connsiteX39" fmla="*/ 3019245 w 9149451"/>
              <a:gd name="connsiteY39" fmla="*/ 109268 h 1265207"/>
              <a:gd name="connsiteX40" fmla="*/ 3042249 w 9149451"/>
              <a:gd name="connsiteY40" fmla="*/ 97766 h 1265207"/>
              <a:gd name="connsiteX41" fmla="*/ 3076755 w 9149451"/>
              <a:gd name="connsiteY41" fmla="*/ 92015 h 1265207"/>
              <a:gd name="connsiteX42" fmla="*/ 3111260 w 9149451"/>
              <a:gd name="connsiteY42" fmla="*/ 80513 h 1265207"/>
              <a:gd name="connsiteX43" fmla="*/ 3145766 w 9149451"/>
              <a:gd name="connsiteY43" fmla="*/ 74762 h 1265207"/>
              <a:gd name="connsiteX44" fmla="*/ 3168770 w 9149451"/>
              <a:gd name="connsiteY44" fmla="*/ 69011 h 1265207"/>
              <a:gd name="connsiteX45" fmla="*/ 3375804 w 9149451"/>
              <a:gd name="connsiteY45" fmla="*/ 63260 h 1265207"/>
              <a:gd name="connsiteX46" fmla="*/ 3559834 w 9149451"/>
              <a:gd name="connsiteY46" fmla="*/ 69011 h 1265207"/>
              <a:gd name="connsiteX47" fmla="*/ 3594340 w 9149451"/>
              <a:gd name="connsiteY47" fmla="*/ 86264 h 1265207"/>
              <a:gd name="connsiteX48" fmla="*/ 3634596 w 9149451"/>
              <a:gd name="connsiteY48" fmla="*/ 97766 h 1265207"/>
              <a:gd name="connsiteX49" fmla="*/ 3657600 w 9149451"/>
              <a:gd name="connsiteY49" fmla="*/ 109268 h 1265207"/>
              <a:gd name="connsiteX50" fmla="*/ 3680604 w 9149451"/>
              <a:gd name="connsiteY50" fmla="*/ 115019 h 1265207"/>
              <a:gd name="connsiteX51" fmla="*/ 3715109 w 9149451"/>
              <a:gd name="connsiteY51" fmla="*/ 126521 h 1265207"/>
              <a:gd name="connsiteX52" fmla="*/ 3732362 w 9149451"/>
              <a:gd name="connsiteY52" fmla="*/ 132271 h 1265207"/>
              <a:gd name="connsiteX53" fmla="*/ 3784121 w 9149451"/>
              <a:gd name="connsiteY53" fmla="*/ 138022 h 1265207"/>
              <a:gd name="connsiteX54" fmla="*/ 3847381 w 9149451"/>
              <a:gd name="connsiteY54" fmla="*/ 149524 h 1265207"/>
              <a:gd name="connsiteX55" fmla="*/ 3910642 w 9149451"/>
              <a:gd name="connsiteY55" fmla="*/ 155275 h 1265207"/>
              <a:gd name="connsiteX56" fmla="*/ 3979653 w 9149451"/>
              <a:gd name="connsiteY56" fmla="*/ 166777 h 1265207"/>
              <a:gd name="connsiteX57" fmla="*/ 4042913 w 9149451"/>
              <a:gd name="connsiteY57" fmla="*/ 172528 h 1265207"/>
              <a:gd name="connsiteX58" fmla="*/ 4106174 w 9149451"/>
              <a:gd name="connsiteY58" fmla="*/ 189781 h 1265207"/>
              <a:gd name="connsiteX59" fmla="*/ 4146430 w 9149451"/>
              <a:gd name="connsiteY59" fmla="*/ 201283 h 1265207"/>
              <a:gd name="connsiteX60" fmla="*/ 4169434 w 9149451"/>
              <a:gd name="connsiteY60" fmla="*/ 212785 h 1265207"/>
              <a:gd name="connsiteX61" fmla="*/ 4203940 w 9149451"/>
              <a:gd name="connsiteY61" fmla="*/ 218536 h 1265207"/>
              <a:gd name="connsiteX62" fmla="*/ 4232694 w 9149451"/>
              <a:gd name="connsiteY62" fmla="*/ 224287 h 1265207"/>
              <a:gd name="connsiteX63" fmla="*/ 4255698 w 9149451"/>
              <a:gd name="connsiteY63" fmla="*/ 230037 h 1265207"/>
              <a:gd name="connsiteX64" fmla="*/ 4433977 w 9149451"/>
              <a:gd name="connsiteY64" fmla="*/ 235788 h 1265207"/>
              <a:gd name="connsiteX65" fmla="*/ 4502989 w 9149451"/>
              <a:gd name="connsiteY65" fmla="*/ 241539 h 1265207"/>
              <a:gd name="connsiteX66" fmla="*/ 4525992 w 9149451"/>
              <a:gd name="connsiteY66" fmla="*/ 253041 h 1265207"/>
              <a:gd name="connsiteX67" fmla="*/ 4577751 w 9149451"/>
              <a:gd name="connsiteY67" fmla="*/ 276045 h 1265207"/>
              <a:gd name="connsiteX68" fmla="*/ 4629509 w 9149451"/>
              <a:gd name="connsiteY68" fmla="*/ 299049 h 1265207"/>
              <a:gd name="connsiteX69" fmla="*/ 4681268 w 9149451"/>
              <a:gd name="connsiteY69" fmla="*/ 322053 h 1265207"/>
              <a:gd name="connsiteX70" fmla="*/ 4704272 w 9149451"/>
              <a:gd name="connsiteY70" fmla="*/ 333554 h 1265207"/>
              <a:gd name="connsiteX71" fmla="*/ 4756030 w 9149451"/>
              <a:gd name="connsiteY71" fmla="*/ 350807 h 1265207"/>
              <a:gd name="connsiteX72" fmla="*/ 4773283 w 9149451"/>
              <a:gd name="connsiteY72" fmla="*/ 356558 h 1265207"/>
              <a:gd name="connsiteX73" fmla="*/ 4802038 w 9149451"/>
              <a:gd name="connsiteY73" fmla="*/ 373811 h 1265207"/>
              <a:gd name="connsiteX74" fmla="*/ 4842294 w 9149451"/>
              <a:gd name="connsiteY74" fmla="*/ 385313 h 1265207"/>
              <a:gd name="connsiteX75" fmla="*/ 4876800 w 9149451"/>
              <a:gd name="connsiteY75" fmla="*/ 396815 h 1265207"/>
              <a:gd name="connsiteX76" fmla="*/ 4917057 w 9149451"/>
              <a:gd name="connsiteY76" fmla="*/ 402566 h 1265207"/>
              <a:gd name="connsiteX77" fmla="*/ 5072332 w 9149451"/>
              <a:gd name="connsiteY77" fmla="*/ 414068 h 1265207"/>
              <a:gd name="connsiteX78" fmla="*/ 5262113 w 9149451"/>
              <a:gd name="connsiteY78" fmla="*/ 425570 h 1265207"/>
              <a:gd name="connsiteX79" fmla="*/ 5382883 w 9149451"/>
              <a:gd name="connsiteY79" fmla="*/ 437071 h 1265207"/>
              <a:gd name="connsiteX80" fmla="*/ 5520906 w 9149451"/>
              <a:gd name="connsiteY80" fmla="*/ 448573 h 1265207"/>
              <a:gd name="connsiteX81" fmla="*/ 5578415 w 9149451"/>
              <a:gd name="connsiteY81" fmla="*/ 454324 h 1265207"/>
              <a:gd name="connsiteX82" fmla="*/ 5762445 w 9149451"/>
              <a:gd name="connsiteY82" fmla="*/ 465826 h 1265207"/>
              <a:gd name="connsiteX83" fmla="*/ 6003985 w 9149451"/>
              <a:gd name="connsiteY83" fmla="*/ 477328 h 1265207"/>
              <a:gd name="connsiteX84" fmla="*/ 6308785 w 9149451"/>
              <a:gd name="connsiteY84" fmla="*/ 471577 h 1265207"/>
              <a:gd name="connsiteX85" fmla="*/ 6349042 w 9149451"/>
              <a:gd name="connsiteY85" fmla="*/ 460075 h 1265207"/>
              <a:gd name="connsiteX86" fmla="*/ 6400800 w 9149451"/>
              <a:gd name="connsiteY86" fmla="*/ 448573 h 1265207"/>
              <a:gd name="connsiteX87" fmla="*/ 6429555 w 9149451"/>
              <a:gd name="connsiteY87" fmla="*/ 442822 h 1265207"/>
              <a:gd name="connsiteX88" fmla="*/ 6458309 w 9149451"/>
              <a:gd name="connsiteY88" fmla="*/ 431321 h 1265207"/>
              <a:gd name="connsiteX89" fmla="*/ 6521570 w 9149451"/>
              <a:gd name="connsiteY89" fmla="*/ 419819 h 1265207"/>
              <a:gd name="connsiteX90" fmla="*/ 6567577 w 9149451"/>
              <a:gd name="connsiteY90" fmla="*/ 408317 h 1265207"/>
              <a:gd name="connsiteX91" fmla="*/ 6630838 w 9149451"/>
              <a:gd name="connsiteY91" fmla="*/ 391064 h 1265207"/>
              <a:gd name="connsiteX92" fmla="*/ 6648091 w 9149451"/>
              <a:gd name="connsiteY92" fmla="*/ 379562 h 1265207"/>
              <a:gd name="connsiteX93" fmla="*/ 6688347 w 9149451"/>
              <a:gd name="connsiteY93" fmla="*/ 368060 h 1265207"/>
              <a:gd name="connsiteX94" fmla="*/ 6751608 w 9149451"/>
              <a:gd name="connsiteY94" fmla="*/ 345056 h 1265207"/>
              <a:gd name="connsiteX95" fmla="*/ 6786113 w 9149451"/>
              <a:gd name="connsiteY95" fmla="*/ 333554 h 1265207"/>
              <a:gd name="connsiteX96" fmla="*/ 6809117 w 9149451"/>
              <a:gd name="connsiteY96" fmla="*/ 322053 h 1265207"/>
              <a:gd name="connsiteX97" fmla="*/ 6855125 w 9149451"/>
              <a:gd name="connsiteY97" fmla="*/ 316302 h 1265207"/>
              <a:gd name="connsiteX98" fmla="*/ 6906883 w 9149451"/>
              <a:gd name="connsiteY98" fmla="*/ 304800 h 1265207"/>
              <a:gd name="connsiteX99" fmla="*/ 6935638 w 9149451"/>
              <a:gd name="connsiteY99" fmla="*/ 299049 h 1265207"/>
              <a:gd name="connsiteX100" fmla="*/ 6970143 w 9149451"/>
              <a:gd name="connsiteY100" fmla="*/ 293298 h 1265207"/>
              <a:gd name="connsiteX101" fmla="*/ 7125419 w 9149451"/>
              <a:gd name="connsiteY101" fmla="*/ 287547 h 1265207"/>
              <a:gd name="connsiteX102" fmla="*/ 7924800 w 9149451"/>
              <a:gd name="connsiteY102" fmla="*/ 281796 h 1265207"/>
              <a:gd name="connsiteX103" fmla="*/ 7982309 w 9149451"/>
              <a:gd name="connsiteY103" fmla="*/ 276045 h 1265207"/>
              <a:gd name="connsiteX104" fmla="*/ 8120332 w 9149451"/>
              <a:gd name="connsiteY104" fmla="*/ 247290 h 1265207"/>
              <a:gd name="connsiteX105" fmla="*/ 8143336 w 9149451"/>
              <a:gd name="connsiteY105" fmla="*/ 241539 h 1265207"/>
              <a:gd name="connsiteX106" fmla="*/ 8166340 w 9149451"/>
              <a:gd name="connsiteY106" fmla="*/ 230037 h 1265207"/>
              <a:gd name="connsiteX107" fmla="*/ 8189343 w 9149451"/>
              <a:gd name="connsiteY107" fmla="*/ 224287 h 1265207"/>
              <a:gd name="connsiteX108" fmla="*/ 8223849 w 9149451"/>
              <a:gd name="connsiteY108" fmla="*/ 212785 h 1265207"/>
              <a:gd name="connsiteX109" fmla="*/ 8241102 w 9149451"/>
              <a:gd name="connsiteY109" fmla="*/ 207034 h 1265207"/>
              <a:gd name="connsiteX110" fmla="*/ 8264106 w 9149451"/>
              <a:gd name="connsiteY110" fmla="*/ 201283 h 1265207"/>
              <a:gd name="connsiteX111" fmla="*/ 8292860 w 9149451"/>
              <a:gd name="connsiteY111" fmla="*/ 184030 h 1265207"/>
              <a:gd name="connsiteX112" fmla="*/ 8327366 w 9149451"/>
              <a:gd name="connsiteY112" fmla="*/ 172528 h 1265207"/>
              <a:gd name="connsiteX113" fmla="*/ 8367623 w 9149451"/>
              <a:gd name="connsiteY113" fmla="*/ 155275 h 1265207"/>
              <a:gd name="connsiteX114" fmla="*/ 8390626 w 9149451"/>
              <a:gd name="connsiteY114" fmla="*/ 143773 h 1265207"/>
              <a:gd name="connsiteX115" fmla="*/ 8407879 w 9149451"/>
              <a:gd name="connsiteY115" fmla="*/ 138022 h 1265207"/>
              <a:gd name="connsiteX116" fmla="*/ 8436634 w 9149451"/>
              <a:gd name="connsiteY116" fmla="*/ 126521 h 1265207"/>
              <a:gd name="connsiteX117" fmla="*/ 8482642 w 9149451"/>
              <a:gd name="connsiteY117" fmla="*/ 103517 h 1265207"/>
              <a:gd name="connsiteX118" fmla="*/ 8511396 w 9149451"/>
              <a:gd name="connsiteY118" fmla="*/ 97766 h 1265207"/>
              <a:gd name="connsiteX119" fmla="*/ 8528649 w 9149451"/>
              <a:gd name="connsiteY119" fmla="*/ 92015 h 1265207"/>
              <a:gd name="connsiteX120" fmla="*/ 8551653 w 9149451"/>
              <a:gd name="connsiteY120" fmla="*/ 86264 h 1265207"/>
              <a:gd name="connsiteX121" fmla="*/ 8568906 w 9149451"/>
              <a:gd name="connsiteY121" fmla="*/ 74762 h 1265207"/>
              <a:gd name="connsiteX122" fmla="*/ 8597660 w 9149451"/>
              <a:gd name="connsiteY122" fmla="*/ 69011 h 1265207"/>
              <a:gd name="connsiteX123" fmla="*/ 8643668 w 9149451"/>
              <a:gd name="connsiteY123" fmla="*/ 57509 h 1265207"/>
              <a:gd name="connsiteX124" fmla="*/ 8672423 w 9149451"/>
              <a:gd name="connsiteY124" fmla="*/ 51758 h 1265207"/>
              <a:gd name="connsiteX125" fmla="*/ 8735683 w 9149451"/>
              <a:gd name="connsiteY125" fmla="*/ 34505 h 1265207"/>
              <a:gd name="connsiteX126" fmla="*/ 8798943 w 9149451"/>
              <a:gd name="connsiteY126" fmla="*/ 28754 h 1265207"/>
              <a:gd name="connsiteX127" fmla="*/ 8867955 w 9149451"/>
              <a:gd name="connsiteY127" fmla="*/ 34505 h 1265207"/>
              <a:gd name="connsiteX128" fmla="*/ 8965721 w 9149451"/>
              <a:gd name="connsiteY128" fmla="*/ 23004 h 1265207"/>
              <a:gd name="connsiteX129" fmla="*/ 9028981 w 9149451"/>
              <a:gd name="connsiteY129" fmla="*/ 5751 h 1265207"/>
              <a:gd name="connsiteX130" fmla="*/ 9144000 w 9149451"/>
              <a:gd name="connsiteY130" fmla="*/ 0 h 1265207"/>
              <a:gd name="connsiteX131" fmla="*/ 9144000 w 9149451"/>
              <a:gd name="connsiteY131" fmla="*/ 1265207 h 1265207"/>
              <a:gd name="connsiteX0" fmla="*/ 0 w 9149451"/>
              <a:gd name="connsiteY0" fmla="*/ 1219200 h 1265207"/>
              <a:gd name="connsiteX1" fmla="*/ 799381 w 9149451"/>
              <a:gd name="connsiteY1" fmla="*/ 28754 h 1265207"/>
              <a:gd name="connsiteX2" fmla="*/ 885645 w 9149451"/>
              <a:gd name="connsiteY2" fmla="*/ 46007 h 1265207"/>
              <a:gd name="connsiteX3" fmla="*/ 971909 w 9149451"/>
              <a:gd name="connsiteY3" fmla="*/ 69011 h 1265207"/>
              <a:gd name="connsiteX4" fmla="*/ 1023668 w 9149451"/>
              <a:gd name="connsiteY4" fmla="*/ 74762 h 1265207"/>
              <a:gd name="connsiteX5" fmla="*/ 1040921 w 9149451"/>
              <a:gd name="connsiteY5" fmla="*/ 80513 h 1265207"/>
              <a:gd name="connsiteX6" fmla="*/ 1190445 w 9149451"/>
              <a:gd name="connsiteY6" fmla="*/ 109268 h 1265207"/>
              <a:gd name="connsiteX7" fmla="*/ 1293962 w 9149451"/>
              <a:gd name="connsiteY7" fmla="*/ 126521 h 1265207"/>
              <a:gd name="connsiteX8" fmla="*/ 1357223 w 9149451"/>
              <a:gd name="connsiteY8" fmla="*/ 143773 h 1265207"/>
              <a:gd name="connsiteX9" fmla="*/ 1397479 w 9149451"/>
              <a:gd name="connsiteY9" fmla="*/ 149524 h 1265207"/>
              <a:gd name="connsiteX10" fmla="*/ 1489494 w 9149451"/>
              <a:gd name="connsiteY10" fmla="*/ 172528 h 1265207"/>
              <a:gd name="connsiteX11" fmla="*/ 1535502 w 9149451"/>
              <a:gd name="connsiteY11" fmla="*/ 184030 h 1265207"/>
              <a:gd name="connsiteX12" fmla="*/ 1621766 w 9149451"/>
              <a:gd name="connsiteY12" fmla="*/ 195532 h 1265207"/>
              <a:gd name="connsiteX13" fmla="*/ 1690777 w 9149451"/>
              <a:gd name="connsiteY13" fmla="*/ 212785 h 1265207"/>
              <a:gd name="connsiteX14" fmla="*/ 1713781 w 9149451"/>
              <a:gd name="connsiteY14" fmla="*/ 218536 h 1265207"/>
              <a:gd name="connsiteX15" fmla="*/ 1759789 w 9149451"/>
              <a:gd name="connsiteY15" fmla="*/ 224287 h 1265207"/>
              <a:gd name="connsiteX16" fmla="*/ 1869057 w 9149451"/>
              <a:gd name="connsiteY16" fmla="*/ 241539 h 1265207"/>
              <a:gd name="connsiteX17" fmla="*/ 1961072 w 9149451"/>
              <a:gd name="connsiteY17" fmla="*/ 253041 h 1265207"/>
              <a:gd name="connsiteX18" fmla="*/ 2012830 w 9149451"/>
              <a:gd name="connsiteY18" fmla="*/ 258792 h 1265207"/>
              <a:gd name="connsiteX19" fmla="*/ 2047336 w 9149451"/>
              <a:gd name="connsiteY19" fmla="*/ 264543 h 1265207"/>
              <a:gd name="connsiteX20" fmla="*/ 2237117 w 9149451"/>
              <a:gd name="connsiteY20" fmla="*/ 276045 h 1265207"/>
              <a:gd name="connsiteX21" fmla="*/ 2467155 w 9149451"/>
              <a:gd name="connsiteY21" fmla="*/ 270294 h 1265207"/>
              <a:gd name="connsiteX22" fmla="*/ 2495909 w 9149451"/>
              <a:gd name="connsiteY22" fmla="*/ 264543 h 1265207"/>
              <a:gd name="connsiteX23" fmla="*/ 2559170 w 9149451"/>
              <a:gd name="connsiteY23" fmla="*/ 258792 h 1265207"/>
              <a:gd name="connsiteX24" fmla="*/ 2587925 w 9149451"/>
              <a:gd name="connsiteY24" fmla="*/ 253041 h 1265207"/>
              <a:gd name="connsiteX25" fmla="*/ 2633932 w 9149451"/>
              <a:gd name="connsiteY25" fmla="*/ 247290 h 1265207"/>
              <a:gd name="connsiteX26" fmla="*/ 2656936 w 9149451"/>
              <a:gd name="connsiteY26" fmla="*/ 235788 h 1265207"/>
              <a:gd name="connsiteX27" fmla="*/ 2679940 w 9149451"/>
              <a:gd name="connsiteY27" fmla="*/ 230037 h 1265207"/>
              <a:gd name="connsiteX28" fmla="*/ 2697192 w 9149451"/>
              <a:gd name="connsiteY28" fmla="*/ 224287 h 1265207"/>
              <a:gd name="connsiteX29" fmla="*/ 2743200 w 9149451"/>
              <a:gd name="connsiteY29" fmla="*/ 212785 h 1265207"/>
              <a:gd name="connsiteX30" fmla="*/ 2766204 w 9149451"/>
              <a:gd name="connsiteY30" fmla="*/ 207034 h 1265207"/>
              <a:gd name="connsiteX31" fmla="*/ 2794958 w 9149451"/>
              <a:gd name="connsiteY31" fmla="*/ 189781 h 1265207"/>
              <a:gd name="connsiteX32" fmla="*/ 2829464 w 9149451"/>
              <a:gd name="connsiteY32" fmla="*/ 178279 h 1265207"/>
              <a:gd name="connsiteX33" fmla="*/ 2846717 w 9149451"/>
              <a:gd name="connsiteY33" fmla="*/ 172528 h 1265207"/>
              <a:gd name="connsiteX34" fmla="*/ 2909977 w 9149451"/>
              <a:gd name="connsiteY34" fmla="*/ 155275 h 1265207"/>
              <a:gd name="connsiteX35" fmla="*/ 2961736 w 9149451"/>
              <a:gd name="connsiteY35" fmla="*/ 132271 h 1265207"/>
              <a:gd name="connsiteX36" fmla="*/ 2978989 w 9149451"/>
              <a:gd name="connsiteY36" fmla="*/ 126521 h 1265207"/>
              <a:gd name="connsiteX37" fmla="*/ 3001992 w 9149451"/>
              <a:gd name="connsiteY37" fmla="*/ 115019 h 1265207"/>
              <a:gd name="connsiteX38" fmla="*/ 3019245 w 9149451"/>
              <a:gd name="connsiteY38" fmla="*/ 109268 h 1265207"/>
              <a:gd name="connsiteX39" fmla="*/ 3042249 w 9149451"/>
              <a:gd name="connsiteY39" fmla="*/ 97766 h 1265207"/>
              <a:gd name="connsiteX40" fmla="*/ 3076755 w 9149451"/>
              <a:gd name="connsiteY40" fmla="*/ 92015 h 1265207"/>
              <a:gd name="connsiteX41" fmla="*/ 3111260 w 9149451"/>
              <a:gd name="connsiteY41" fmla="*/ 80513 h 1265207"/>
              <a:gd name="connsiteX42" fmla="*/ 3145766 w 9149451"/>
              <a:gd name="connsiteY42" fmla="*/ 74762 h 1265207"/>
              <a:gd name="connsiteX43" fmla="*/ 3168770 w 9149451"/>
              <a:gd name="connsiteY43" fmla="*/ 69011 h 1265207"/>
              <a:gd name="connsiteX44" fmla="*/ 3375804 w 9149451"/>
              <a:gd name="connsiteY44" fmla="*/ 63260 h 1265207"/>
              <a:gd name="connsiteX45" fmla="*/ 3559834 w 9149451"/>
              <a:gd name="connsiteY45" fmla="*/ 69011 h 1265207"/>
              <a:gd name="connsiteX46" fmla="*/ 3594340 w 9149451"/>
              <a:gd name="connsiteY46" fmla="*/ 86264 h 1265207"/>
              <a:gd name="connsiteX47" fmla="*/ 3634596 w 9149451"/>
              <a:gd name="connsiteY47" fmla="*/ 97766 h 1265207"/>
              <a:gd name="connsiteX48" fmla="*/ 3657600 w 9149451"/>
              <a:gd name="connsiteY48" fmla="*/ 109268 h 1265207"/>
              <a:gd name="connsiteX49" fmla="*/ 3680604 w 9149451"/>
              <a:gd name="connsiteY49" fmla="*/ 115019 h 1265207"/>
              <a:gd name="connsiteX50" fmla="*/ 3715109 w 9149451"/>
              <a:gd name="connsiteY50" fmla="*/ 126521 h 1265207"/>
              <a:gd name="connsiteX51" fmla="*/ 3732362 w 9149451"/>
              <a:gd name="connsiteY51" fmla="*/ 132271 h 1265207"/>
              <a:gd name="connsiteX52" fmla="*/ 3784121 w 9149451"/>
              <a:gd name="connsiteY52" fmla="*/ 138022 h 1265207"/>
              <a:gd name="connsiteX53" fmla="*/ 3847381 w 9149451"/>
              <a:gd name="connsiteY53" fmla="*/ 149524 h 1265207"/>
              <a:gd name="connsiteX54" fmla="*/ 3910642 w 9149451"/>
              <a:gd name="connsiteY54" fmla="*/ 155275 h 1265207"/>
              <a:gd name="connsiteX55" fmla="*/ 3979653 w 9149451"/>
              <a:gd name="connsiteY55" fmla="*/ 166777 h 1265207"/>
              <a:gd name="connsiteX56" fmla="*/ 4042913 w 9149451"/>
              <a:gd name="connsiteY56" fmla="*/ 172528 h 1265207"/>
              <a:gd name="connsiteX57" fmla="*/ 4106174 w 9149451"/>
              <a:gd name="connsiteY57" fmla="*/ 189781 h 1265207"/>
              <a:gd name="connsiteX58" fmla="*/ 4146430 w 9149451"/>
              <a:gd name="connsiteY58" fmla="*/ 201283 h 1265207"/>
              <a:gd name="connsiteX59" fmla="*/ 4169434 w 9149451"/>
              <a:gd name="connsiteY59" fmla="*/ 212785 h 1265207"/>
              <a:gd name="connsiteX60" fmla="*/ 4203940 w 9149451"/>
              <a:gd name="connsiteY60" fmla="*/ 218536 h 1265207"/>
              <a:gd name="connsiteX61" fmla="*/ 4232694 w 9149451"/>
              <a:gd name="connsiteY61" fmla="*/ 224287 h 1265207"/>
              <a:gd name="connsiteX62" fmla="*/ 4255698 w 9149451"/>
              <a:gd name="connsiteY62" fmla="*/ 230037 h 1265207"/>
              <a:gd name="connsiteX63" fmla="*/ 4433977 w 9149451"/>
              <a:gd name="connsiteY63" fmla="*/ 235788 h 1265207"/>
              <a:gd name="connsiteX64" fmla="*/ 4502989 w 9149451"/>
              <a:gd name="connsiteY64" fmla="*/ 241539 h 1265207"/>
              <a:gd name="connsiteX65" fmla="*/ 4525992 w 9149451"/>
              <a:gd name="connsiteY65" fmla="*/ 253041 h 1265207"/>
              <a:gd name="connsiteX66" fmla="*/ 4577751 w 9149451"/>
              <a:gd name="connsiteY66" fmla="*/ 276045 h 1265207"/>
              <a:gd name="connsiteX67" fmla="*/ 4629509 w 9149451"/>
              <a:gd name="connsiteY67" fmla="*/ 299049 h 1265207"/>
              <a:gd name="connsiteX68" fmla="*/ 4681268 w 9149451"/>
              <a:gd name="connsiteY68" fmla="*/ 322053 h 1265207"/>
              <a:gd name="connsiteX69" fmla="*/ 4704272 w 9149451"/>
              <a:gd name="connsiteY69" fmla="*/ 333554 h 1265207"/>
              <a:gd name="connsiteX70" fmla="*/ 4756030 w 9149451"/>
              <a:gd name="connsiteY70" fmla="*/ 350807 h 1265207"/>
              <a:gd name="connsiteX71" fmla="*/ 4773283 w 9149451"/>
              <a:gd name="connsiteY71" fmla="*/ 356558 h 1265207"/>
              <a:gd name="connsiteX72" fmla="*/ 4802038 w 9149451"/>
              <a:gd name="connsiteY72" fmla="*/ 373811 h 1265207"/>
              <a:gd name="connsiteX73" fmla="*/ 4842294 w 9149451"/>
              <a:gd name="connsiteY73" fmla="*/ 385313 h 1265207"/>
              <a:gd name="connsiteX74" fmla="*/ 4876800 w 9149451"/>
              <a:gd name="connsiteY74" fmla="*/ 396815 h 1265207"/>
              <a:gd name="connsiteX75" fmla="*/ 4917057 w 9149451"/>
              <a:gd name="connsiteY75" fmla="*/ 402566 h 1265207"/>
              <a:gd name="connsiteX76" fmla="*/ 5072332 w 9149451"/>
              <a:gd name="connsiteY76" fmla="*/ 414068 h 1265207"/>
              <a:gd name="connsiteX77" fmla="*/ 5262113 w 9149451"/>
              <a:gd name="connsiteY77" fmla="*/ 425570 h 1265207"/>
              <a:gd name="connsiteX78" fmla="*/ 5382883 w 9149451"/>
              <a:gd name="connsiteY78" fmla="*/ 437071 h 1265207"/>
              <a:gd name="connsiteX79" fmla="*/ 5520906 w 9149451"/>
              <a:gd name="connsiteY79" fmla="*/ 448573 h 1265207"/>
              <a:gd name="connsiteX80" fmla="*/ 5578415 w 9149451"/>
              <a:gd name="connsiteY80" fmla="*/ 454324 h 1265207"/>
              <a:gd name="connsiteX81" fmla="*/ 5762445 w 9149451"/>
              <a:gd name="connsiteY81" fmla="*/ 465826 h 1265207"/>
              <a:gd name="connsiteX82" fmla="*/ 6003985 w 9149451"/>
              <a:gd name="connsiteY82" fmla="*/ 477328 h 1265207"/>
              <a:gd name="connsiteX83" fmla="*/ 6308785 w 9149451"/>
              <a:gd name="connsiteY83" fmla="*/ 471577 h 1265207"/>
              <a:gd name="connsiteX84" fmla="*/ 6349042 w 9149451"/>
              <a:gd name="connsiteY84" fmla="*/ 460075 h 1265207"/>
              <a:gd name="connsiteX85" fmla="*/ 6400800 w 9149451"/>
              <a:gd name="connsiteY85" fmla="*/ 448573 h 1265207"/>
              <a:gd name="connsiteX86" fmla="*/ 6429555 w 9149451"/>
              <a:gd name="connsiteY86" fmla="*/ 442822 h 1265207"/>
              <a:gd name="connsiteX87" fmla="*/ 6458309 w 9149451"/>
              <a:gd name="connsiteY87" fmla="*/ 431321 h 1265207"/>
              <a:gd name="connsiteX88" fmla="*/ 6521570 w 9149451"/>
              <a:gd name="connsiteY88" fmla="*/ 419819 h 1265207"/>
              <a:gd name="connsiteX89" fmla="*/ 6567577 w 9149451"/>
              <a:gd name="connsiteY89" fmla="*/ 408317 h 1265207"/>
              <a:gd name="connsiteX90" fmla="*/ 6630838 w 9149451"/>
              <a:gd name="connsiteY90" fmla="*/ 391064 h 1265207"/>
              <a:gd name="connsiteX91" fmla="*/ 6648091 w 9149451"/>
              <a:gd name="connsiteY91" fmla="*/ 379562 h 1265207"/>
              <a:gd name="connsiteX92" fmla="*/ 6688347 w 9149451"/>
              <a:gd name="connsiteY92" fmla="*/ 368060 h 1265207"/>
              <a:gd name="connsiteX93" fmla="*/ 6751608 w 9149451"/>
              <a:gd name="connsiteY93" fmla="*/ 345056 h 1265207"/>
              <a:gd name="connsiteX94" fmla="*/ 6786113 w 9149451"/>
              <a:gd name="connsiteY94" fmla="*/ 333554 h 1265207"/>
              <a:gd name="connsiteX95" fmla="*/ 6809117 w 9149451"/>
              <a:gd name="connsiteY95" fmla="*/ 322053 h 1265207"/>
              <a:gd name="connsiteX96" fmla="*/ 6855125 w 9149451"/>
              <a:gd name="connsiteY96" fmla="*/ 316302 h 1265207"/>
              <a:gd name="connsiteX97" fmla="*/ 6906883 w 9149451"/>
              <a:gd name="connsiteY97" fmla="*/ 304800 h 1265207"/>
              <a:gd name="connsiteX98" fmla="*/ 6935638 w 9149451"/>
              <a:gd name="connsiteY98" fmla="*/ 299049 h 1265207"/>
              <a:gd name="connsiteX99" fmla="*/ 6970143 w 9149451"/>
              <a:gd name="connsiteY99" fmla="*/ 293298 h 1265207"/>
              <a:gd name="connsiteX100" fmla="*/ 7125419 w 9149451"/>
              <a:gd name="connsiteY100" fmla="*/ 287547 h 1265207"/>
              <a:gd name="connsiteX101" fmla="*/ 7924800 w 9149451"/>
              <a:gd name="connsiteY101" fmla="*/ 281796 h 1265207"/>
              <a:gd name="connsiteX102" fmla="*/ 7982309 w 9149451"/>
              <a:gd name="connsiteY102" fmla="*/ 276045 h 1265207"/>
              <a:gd name="connsiteX103" fmla="*/ 8120332 w 9149451"/>
              <a:gd name="connsiteY103" fmla="*/ 247290 h 1265207"/>
              <a:gd name="connsiteX104" fmla="*/ 8143336 w 9149451"/>
              <a:gd name="connsiteY104" fmla="*/ 241539 h 1265207"/>
              <a:gd name="connsiteX105" fmla="*/ 8166340 w 9149451"/>
              <a:gd name="connsiteY105" fmla="*/ 230037 h 1265207"/>
              <a:gd name="connsiteX106" fmla="*/ 8189343 w 9149451"/>
              <a:gd name="connsiteY106" fmla="*/ 224287 h 1265207"/>
              <a:gd name="connsiteX107" fmla="*/ 8223849 w 9149451"/>
              <a:gd name="connsiteY107" fmla="*/ 212785 h 1265207"/>
              <a:gd name="connsiteX108" fmla="*/ 8241102 w 9149451"/>
              <a:gd name="connsiteY108" fmla="*/ 207034 h 1265207"/>
              <a:gd name="connsiteX109" fmla="*/ 8264106 w 9149451"/>
              <a:gd name="connsiteY109" fmla="*/ 201283 h 1265207"/>
              <a:gd name="connsiteX110" fmla="*/ 8292860 w 9149451"/>
              <a:gd name="connsiteY110" fmla="*/ 184030 h 1265207"/>
              <a:gd name="connsiteX111" fmla="*/ 8327366 w 9149451"/>
              <a:gd name="connsiteY111" fmla="*/ 172528 h 1265207"/>
              <a:gd name="connsiteX112" fmla="*/ 8367623 w 9149451"/>
              <a:gd name="connsiteY112" fmla="*/ 155275 h 1265207"/>
              <a:gd name="connsiteX113" fmla="*/ 8390626 w 9149451"/>
              <a:gd name="connsiteY113" fmla="*/ 143773 h 1265207"/>
              <a:gd name="connsiteX114" fmla="*/ 8407879 w 9149451"/>
              <a:gd name="connsiteY114" fmla="*/ 138022 h 1265207"/>
              <a:gd name="connsiteX115" fmla="*/ 8436634 w 9149451"/>
              <a:gd name="connsiteY115" fmla="*/ 126521 h 1265207"/>
              <a:gd name="connsiteX116" fmla="*/ 8482642 w 9149451"/>
              <a:gd name="connsiteY116" fmla="*/ 103517 h 1265207"/>
              <a:gd name="connsiteX117" fmla="*/ 8511396 w 9149451"/>
              <a:gd name="connsiteY117" fmla="*/ 97766 h 1265207"/>
              <a:gd name="connsiteX118" fmla="*/ 8528649 w 9149451"/>
              <a:gd name="connsiteY118" fmla="*/ 92015 h 1265207"/>
              <a:gd name="connsiteX119" fmla="*/ 8551653 w 9149451"/>
              <a:gd name="connsiteY119" fmla="*/ 86264 h 1265207"/>
              <a:gd name="connsiteX120" fmla="*/ 8568906 w 9149451"/>
              <a:gd name="connsiteY120" fmla="*/ 74762 h 1265207"/>
              <a:gd name="connsiteX121" fmla="*/ 8597660 w 9149451"/>
              <a:gd name="connsiteY121" fmla="*/ 69011 h 1265207"/>
              <a:gd name="connsiteX122" fmla="*/ 8643668 w 9149451"/>
              <a:gd name="connsiteY122" fmla="*/ 57509 h 1265207"/>
              <a:gd name="connsiteX123" fmla="*/ 8672423 w 9149451"/>
              <a:gd name="connsiteY123" fmla="*/ 51758 h 1265207"/>
              <a:gd name="connsiteX124" fmla="*/ 8735683 w 9149451"/>
              <a:gd name="connsiteY124" fmla="*/ 34505 h 1265207"/>
              <a:gd name="connsiteX125" fmla="*/ 8798943 w 9149451"/>
              <a:gd name="connsiteY125" fmla="*/ 28754 h 1265207"/>
              <a:gd name="connsiteX126" fmla="*/ 8867955 w 9149451"/>
              <a:gd name="connsiteY126" fmla="*/ 34505 h 1265207"/>
              <a:gd name="connsiteX127" fmla="*/ 8965721 w 9149451"/>
              <a:gd name="connsiteY127" fmla="*/ 23004 h 1265207"/>
              <a:gd name="connsiteX128" fmla="*/ 9028981 w 9149451"/>
              <a:gd name="connsiteY128" fmla="*/ 5751 h 1265207"/>
              <a:gd name="connsiteX129" fmla="*/ 9144000 w 9149451"/>
              <a:gd name="connsiteY129" fmla="*/ 0 h 1265207"/>
              <a:gd name="connsiteX130" fmla="*/ 9144000 w 9149451"/>
              <a:gd name="connsiteY130" fmla="*/ 1265207 h 1265207"/>
              <a:gd name="connsiteX0" fmla="*/ 0 w 9149451"/>
              <a:gd name="connsiteY0" fmla="*/ 1219200 h 1265207"/>
              <a:gd name="connsiteX1" fmla="*/ 799381 w 9149451"/>
              <a:gd name="connsiteY1" fmla="*/ 28754 h 1265207"/>
              <a:gd name="connsiteX2" fmla="*/ 885645 w 9149451"/>
              <a:gd name="connsiteY2" fmla="*/ 46007 h 1265207"/>
              <a:gd name="connsiteX3" fmla="*/ 971909 w 9149451"/>
              <a:gd name="connsiteY3" fmla="*/ 69011 h 1265207"/>
              <a:gd name="connsiteX4" fmla="*/ 1023668 w 9149451"/>
              <a:gd name="connsiteY4" fmla="*/ 74762 h 1265207"/>
              <a:gd name="connsiteX5" fmla="*/ 1040921 w 9149451"/>
              <a:gd name="connsiteY5" fmla="*/ 80513 h 1265207"/>
              <a:gd name="connsiteX6" fmla="*/ 1190445 w 9149451"/>
              <a:gd name="connsiteY6" fmla="*/ 109268 h 1265207"/>
              <a:gd name="connsiteX7" fmla="*/ 1293962 w 9149451"/>
              <a:gd name="connsiteY7" fmla="*/ 126521 h 1265207"/>
              <a:gd name="connsiteX8" fmla="*/ 1357223 w 9149451"/>
              <a:gd name="connsiteY8" fmla="*/ 143773 h 1265207"/>
              <a:gd name="connsiteX9" fmla="*/ 1397479 w 9149451"/>
              <a:gd name="connsiteY9" fmla="*/ 149524 h 1265207"/>
              <a:gd name="connsiteX10" fmla="*/ 1489494 w 9149451"/>
              <a:gd name="connsiteY10" fmla="*/ 172528 h 1265207"/>
              <a:gd name="connsiteX11" fmla="*/ 1535502 w 9149451"/>
              <a:gd name="connsiteY11" fmla="*/ 184030 h 1265207"/>
              <a:gd name="connsiteX12" fmla="*/ 1621766 w 9149451"/>
              <a:gd name="connsiteY12" fmla="*/ 195532 h 1265207"/>
              <a:gd name="connsiteX13" fmla="*/ 1690777 w 9149451"/>
              <a:gd name="connsiteY13" fmla="*/ 212785 h 1265207"/>
              <a:gd name="connsiteX14" fmla="*/ 1713781 w 9149451"/>
              <a:gd name="connsiteY14" fmla="*/ 218536 h 1265207"/>
              <a:gd name="connsiteX15" fmla="*/ 1869057 w 9149451"/>
              <a:gd name="connsiteY15" fmla="*/ 241539 h 1265207"/>
              <a:gd name="connsiteX16" fmla="*/ 1961072 w 9149451"/>
              <a:gd name="connsiteY16" fmla="*/ 253041 h 1265207"/>
              <a:gd name="connsiteX17" fmla="*/ 2012830 w 9149451"/>
              <a:gd name="connsiteY17" fmla="*/ 258792 h 1265207"/>
              <a:gd name="connsiteX18" fmla="*/ 2047336 w 9149451"/>
              <a:gd name="connsiteY18" fmla="*/ 264543 h 1265207"/>
              <a:gd name="connsiteX19" fmla="*/ 2237117 w 9149451"/>
              <a:gd name="connsiteY19" fmla="*/ 276045 h 1265207"/>
              <a:gd name="connsiteX20" fmla="*/ 2467155 w 9149451"/>
              <a:gd name="connsiteY20" fmla="*/ 270294 h 1265207"/>
              <a:gd name="connsiteX21" fmla="*/ 2495909 w 9149451"/>
              <a:gd name="connsiteY21" fmla="*/ 264543 h 1265207"/>
              <a:gd name="connsiteX22" fmla="*/ 2559170 w 9149451"/>
              <a:gd name="connsiteY22" fmla="*/ 258792 h 1265207"/>
              <a:gd name="connsiteX23" fmla="*/ 2587925 w 9149451"/>
              <a:gd name="connsiteY23" fmla="*/ 253041 h 1265207"/>
              <a:gd name="connsiteX24" fmla="*/ 2633932 w 9149451"/>
              <a:gd name="connsiteY24" fmla="*/ 247290 h 1265207"/>
              <a:gd name="connsiteX25" fmla="*/ 2656936 w 9149451"/>
              <a:gd name="connsiteY25" fmla="*/ 235788 h 1265207"/>
              <a:gd name="connsiteX26" fmla="*/ 2679940 w 9149451"/>
              <a:gd name="connsiteY26" fmla="*/ 230037 h 1265207"/>
              <a:gd name="connsiteX27" fmla="*/ 2697192 w 9149451"/>
              <a:gd name="connsiteY27" fmla="*/ 224287 h 1265207"/>
              <a:gd name="connsiteX28" fmla="*/ 2743200 w 9149451"/>
              <a:gd name="connsiteY28" fmla="*/ 212785 h 1265207"/>
              <a:gd name="connsiteX29" fmla="*/ 2766204 w 9149451"/>
              <a:gd name="connsiteY29" fmla="*/ 207034 h 1265207"/>
              <a:gd name="connsiteX30" fmla="*/ 2794958 w 9149451"/>
              <a:gd name="connsiteY30" fmla="*/ 189781 h 1265207"/>
              <a:gd name="connsiteX31" fmla="*/ 2829464 w 9149451"/>
              <a:gd name="connsiteY31" fmla="*/ 178279 h 1265207"/>
              <a:gd name="connsiteX32" fmla="*/ 2846717 w 9149451"/>
              <a:gd name="connsiteY32" fmla="*/ 172528 h 1265207"/>
              <a:gd name="connsiteX33" fmla="*/ 2909977 w 9149451"/>
              <a:gd name="connsiteY33" fmla="*/ 155275 h 1265207"/>
              <a:gd name="connsiteX34" fmla="*/ 2961736 w 9149451"/>
              <a:gd name="connsiteY34" fmla="*/ 132271 h 1265207"/>
              <a:gd name="connsiteX35" fmla="*/ 2978989 w 9149451"/>
              <a:gd name="connsiteY35" fmla="*/ 126521 h 1265207"/>
              <a:gd name="connsiteX36" fmla="*/ 3001992 w 9149451"/>
              <a:gd name="connsiteY36" fmla="*/ 115019 h 1265207"/>
              <a:gd name="connsiteX37" fmla="*/ 3019245 w 9149451"/>
              <a:gd name="connsiteY37" fmla="*/ 109268 h 1265207"/>
              <a:gd name="connsiteX38" fmla="*/ 3042249 w 9149451"/>
              <a:gd name="connsiteY38" fmla="*/ 97766 h 1265207"/>
              <a:gd name="connsiteX39" fmla="*/ 3076755 w 9149451"/>
              <a:gd name="connsiteY39" fmla="*/ 92015 h 1265207"/>
              <a:gd name="connsiteX40" fmla="*/ 3111260 w 9149451"/>
              <a:gd name="connsiteY40" fmla="*/ 80513 h 1265207"/>
              <a:gd name="connsiteX41" fmla="*/ 3145766 w 9149451"/>
              <a:gd name="connsiteY41" fmla="*/ 74762 h 1265207"/>
              <a:gd name="connsiteX42" fmla="*/ 3168770 w 9149451"/>
              <a:gd name="connsiteY42" fmla="*/ 69011 h 1265207"/>
              <a:gd name="connsiteX43" fmla="*/ 3375804 w 9149451"/>
              <a:gd name="connsiteY43" fmla="*/ 63260 h 1265207"/>
              <a:gd name="connsiteX44" fmla="*/ 3559834 w 9149451"/>
              <a:gd name="connsiteY44" fmla="*/ 69011 h 1265207"/>
              <a:gd name="connsiteX45" fmla="*/ 3594340 w 9149451"/>
              <a:gd name="connsiteY45" fmla="*/ 86264 h 1265207"/>
              <a:gd name="connsiteX46" fmla="*/ 3634596 w 9149451"/>
              <a:gd name="connsiteY46" fmla="*/ 97766 h 1265207"/>
              <a:gd name="connsiteX47" fmla="*/ 3657600 w 9149451"/>
              <a:gd name="connsiteY47" fmla="*/ 109268 h 1265207"/>
              <a:gd name="connsiteX48" fmla="*/ 3680604 w 9149451"/>
              <a:gd name="connsiteY48" fmla="*/ 115019 h 1265207"/>
              <a:gd name="connsiteX49" fmla="*/ 3715109 w 9149451"/>
              <a:gd name="connsiteY49" fmla="*/ 126521 h 1265207"/>
              <a:gd name="connsiteX50" fmla="*/ 3732362 w 9149451"/>
              <a:gd name="connsiteY50" fmla="*/ 132271 h 1265207"/>
              <a:gd name="connsiteX51" fmla="*/ 3784121 w 9149451"/>
              <a:gd name="connsiteY51" fmla="*/ 138022 h 1265207"/>
              <a:gd name="connsiteX52" fmla="*/ 3847381 w 9149451"/>
              <a:gd name="connsiteY52" fmla="*/ 149524 h 1265207"/>
              <a:gd name="connsiteX53" fmla="*/ 3910642 w 9149451"/>
              <a:gd name="connsiteY53" fmla="*/ 155275 h 1265207"/>
              <a:gd name="connsiteX54" fmla="*/ 3979653 w 9149451"/>
              <a:gd name="connsiteY54" fmla="*/ 166777 h 1265207"/>
              <a:gd name="connsiteX55" fmla="*/ 4042913 w 9149451"/>
              <a:gd name="connsiteY55" fmla="*/ 172528 h 1265207"/>
              <a:gd name="connsiteX56" fmla="*/ 4106174 w 9149451"/>
              <a:gd name="connsiteY56" fmla="*/ 189781 h 1265207"/>
              <a:gd name="connsiteX57" fmla="*/ 4146430 w 9149451"/>
              <a:gd name="connsiteY57" fmla="*/ 201283 h 1265207"/>
              <a:gd name="connsiteX58" fmla="*/ 4169434 w 9149451"/>
              <a:gd name="connsiteY58" fmla="*/ 212785 h 1265207"/>
              <a:gd name="connsiteX59" fmla="*/ 4203940 w 9149451"/>
              <a:gd name="connsiteY59" fmla="*/ 218536 h 1265207"/>
              <a:gd name="connsiteX60" fmla="*/ 4232694 w 9149451"/>
              <a:gd name="connsiteY60" fmla="*/ 224287 h 1265207"/>
              <a:gd name="connsiteX61" fmla="*/ 4255698 w 9149451"/>
              <a:gd name="connsiteY61" fmla="*/ 230037 h 1265207"/>
              <a:gd name="connsiteX62" fmla="*/ 4433977 w 9149451"/>
              <a:gd name="connsiteY62" fmla="*/ 235788 h 1265207"/>
              <a:gd name="connsiteX63" fmla="*/ 4502989 w 9149451"/>
              <a:gd name="connsiteY63" fmla="*/ 241539 h 1265207"/>
              <a:gd name="connsiteX64" fmla="*/ 4525992 w 9149451"/>
              <a:gd name="connsiteY64" fmla="*/ 253041 h 1265207"/>
              <a:gd name="connsiteX65" fmla="*/ 4577751 w 9149451"/>
              <a:gd name="connsiteY65" fmla="*/ 276045 h 1265207"/>
              <a:gd name="connsiteX66" fmla="*/ 4629509 w 9149451"/>
              <a:gd name="connsiteY66" fmla="*/ 299049 h 1265207"/>
              <a:gd name="connsiteX67" fmla="*/ 4681268 w 9149451"/>
              <a:gd name="connsiteY67" fmla="*/ 322053 h 1265207"/>
              <a:gd name="connsiteX68" fmla="*/ 4704272 w 9149451"/>
              <a:gd name="connsiteY68" fmla="*/ 333554 h 1265207"/>
              <a:gd name="connsiteX69" fmla="*/ 4756030 w 9149451"/>
              <a:gd name="connsiteY69" fmla="*/ 350807 h 1265207"/>
              <a:gd name="connsiteX70" fmla="*/ 4773283 w 9149451"/>
              <a:gd name="connsiteY70" fmla="*/ 356558 h 1265207"/>
              <a:gd name="connsiteX71" fmla="*/ 4802038 w 9149451"/>
              <a:gd name="connsiteY71" fmla="*/ 373811 h 1265207"/>
              <a:gd name="connsiteX72" fmla="*/ 4842294 w 9149451"/>
              <a:gd name="connsiteY72" fmla="*/ 385313 h 1265207"/>
              <a:gd name="connsiteX73" fmla="*/ 4876800 w 9149451"/>
              <a:gd name="connsiteY73" fmla="*/ 396815 h 1265207"/>
              <a:gd name="connsiteX74" fmla="*/ 4917057 w 9149451"/>
              <a:gd name="connsiteY74" fmla="*/ 402566 h 1265207"/>
              <a:gd name="connsiteX75" fmla="*/ 5072332 w 9149451"/>
              <a:gd name="connsiteY75" fmla="*/ 414068 h 1265207"/>
              <a:gd name="connsiteX76" fmla="*/ 5262113 w 9149451"/>
              <a:gd name="connsiteY76" fmla="*/ 425570 h 1265207"/>
              <a:gd name="connsiteX77" fmla="*/ 5382883 w 9149451"/>
              <a:gd name="connsiteY77" fmla="*/ 437071 h 1265207"/>
              <a:gd name="connsiteX78" fmla="*/ 5520906 w 9149451"/>
              <a:gd name="connsiteY78" fmla="*/ 448573 h 1265207"/>
              <a:gd name="connsiteX79" fmla="*/ 5578415 w 9149451"/>
              <a:gd name="connsiteY79" fmla="*/ 454324 h 1265207"/>
              <a:gd name="connsiteX80" fmla="*/ 5762445 w 9149451"/>
              <a:gd name="connsiteY80" fmla="*/ 465826 h 1265207"/>
              <a:gd name="connsiteX81" fmla="*/ 6003985 w 9149451"/>
              <a:gd name="connsiteY81" fmla="*/ 477328 h 1265207"/>
              <a:gd name="connsiteX82" fmla="*/ 6308785 w 9149451"/>
              <a:gd name="connsiteY82" fmla="*/ 471577 h 1265207"/>
              <a:gd name="connsiteX83" fmla="*/ 6349042 w 9149451"/>
              <a:gd name="connsiteY83" fmla="*/ 460075 h 1265207"/>
              <a:gd name="connsiteX84" fmla="*/ 6400800 w 9149451"/>
              <a:gd name="connsiteY84" fmla="*/ 448573 h 1265207"/>
              <a:gd name="connsiteX85" fmla="*/ 6429555 w 9149451"/>
              <a:gd name="connsiteY85" fmla="*/ 442822 h 1265207"/>
              <a:gd name="connsiteX86" fmla="*/ 6458309 w 9149451"/>
              <a:gd name="connsiteY86" fmla="*/ 431321 h 1265207"/>
              <a:gd name="connsiteX87" fmla="*/ 6521570 w 9149451"/>
              <a:gd name="connsiteY87" fmla="*/ 419819 h 1265207"/>
              <a:gd name="connsiteX88" fmla="*/ 6567577 w 9149451"/>
              <a:gd name="connsiteY88" fmla="*/ 408317 h 1265207"/>
              <a:gd name="connsiteX89" fmla="*/ 6630838 w 9149451"/>
              <a:gd name="connsiteY89" fmla="*/ 391064 h 1265207"/>
              <a:gd name="connsiteX90" fmla="*/ 6648091 w 9149451"/>
              <a:gd name="connsiteY90" fmla="*/ 379562 h 1265207"/>
              <a:gd name="connsiteX91" fmla="*/ 6688347 w 9149451"/>
              <a:gd name="connsiteY91" fmla="*/ 368060 h 1265207"/>
              <a:gd name="connsiteX92" fmla="*/ 6751608 w 9149451"/>
              <a:gd name="connsiteY92" fmla="*/ 345056 h 1265207"/>
              <a:gd name="connsiteX93" fmla="*/ 6786113 w 9149451"/>
              <a:gd name="connsiteY93" fmla="*/ 333554 h 1265207"/>
              <a:gd name="connsiteX94" fmla="*/ 6809117 w 9149451"/>
              <a:gd name="connsiteY94" fmla="*/ 322053 h 1265207"/>
              <a:gd name="connsiteX95" fmla="*/ 6855125 w 9149451"/>
              <a:gd name="connsiteY95" fmla="*/ 316302 h 1265207"/>
              <a:gd name="connsiteX96" fmla="*/ 6906883 w 9149451"/>
              <a:gd name="connsiteY96" fmla="*/ 304800 h 1265207"/>
              <a:gd name="connsiteX97" fmla="*/ 6935638 w 9149451"/>
              <a:gd name="connsiteY97" fmla="*/ 299049 h 1265207"/>
              <a:gd name="connsiteX98" fmla="*/ 6970143 w 9149451"/>
              <a:gd name="connsiteY98" fmla="*/ 293298 h 1265207"/>
              <a:gd name="connsiteX99" fmla="*/ 7125419 w 9149451"/>
              <a:gd name="connsiteY99" fmla="*/ 287547 h 1265207"/>
              <a:gd name="connsiteX100" fmla="*/ 7924800 w 9149451"/>
              <a:gd name="connsiteY100" fmla="*/ 281796 h 1265207"/>
              <a:gd name="connsiteX101" fmla="*/ 7982309 w 9149451"/>
              <a:gd name="connsiteY101" fmla="*/ 276045 h 1265207"/>
              <a:gd name="connsiteX102" fmla="*/ 8120332 w 9149451"/>
              <a:gd name="connsiteY102" fmla="*/ 247290 h 1265207"/>
              <a:gd name="connsiteX103" fmla="*/ 8143336 w 9149451"/>
              <a:gd name="connsiteY103" fmla="*/ 241539 h 1265207"/>
              <a:gd name="connsiteX104" fmla="*/ 8166340 w 9149451"/>
              <a:gd name="connsiteY104" fmla="*/ 230037 h 1265207"/>
              <a:gd name="connsiteX105" fmla="*/ 8189343 w 9149451"/>
              <a:gd name="connsiteY105" fmla="*/ 224287 h 1265207"/>
              <a:gd name="connsiteX106" fmla="*/ 8223849 w 9149451"/>
              <a:gd name="connsiteY106" fmla="*/ 212785 h 1265207"/>
              <a:gd name="connsiteX107" fmla="*/ 8241102 w 9149451"/>
              <a:gd name="connsiteY107" fmla="*/ 207034 h 1265207"/>
              <a:gd name="connsiteX108" fmla="*/ 8264106 w 9149451"/>
              <a:gd name="connsiteY108" fmla="*/ 201283 h 1265207"/>
              <a:gd name="connsiteX109" fmla="*/ 8292860 w 9149451"/>
              <a:gd name="connsiteY109" fmla="*/ 184030 h 1265207"/>
              <a:gd name="connsiteX110" fmla="*/ 8327366 w 9149451"/>
              <a:gd name="connsiteY110" fmla="*/ 172528 h 1265207"/>
              <a:gd name="connsiteX111" fmla="*/ 8367623 w 9149451"/>
              <a:gd name="connsiteY111" fmla="*/ 155275 h 1265207"/>
              <a:gd name="connsiteX112" fmla="*/ 8390626 w 9149451"/>
              <a:gd name="connsiteY112" fmla="*/ 143773 h 1265207"/>
              <a:gd name="connsiteX113" fmla="*/ 8407879 w 9149451"/>
              <a:gd name="connsiteY113" fmla="*/ 138022 h 1265207"/>
              <a:gd name="connsiteX114" fmla="*/ 8436634 w 9149451"/>
              <a:gd name="connsiteY114" fmla="*/ 126521 h 1265207"/>
              <a:gd name="connsiteX115" fmla="*/ 8482642 w 9149451"/>
              <a:gd name="connsiteY115" fmla="*/ 103517 h 1265207"/>
              <a:gd name="connsiteX116" fmla="*/ 8511396 w 9149451"/>
              <a:gd name="connsiteY116" fmla="*/ 97766 h 1265207"/>
              <a:gd name="connsiteX117" fmla="*/ 8528649 w 9149451"/>
              <a:gd name="connsiteY117" fmla="*/ 92015 h 1265207"/>
              <a:gd name="connsiteX118" fmla="*/ 8551653 w 9149451"/>
              <a:gd name="connsiteY118" fmla="*/ 86264 h 1265207"/>
              <a:gd name="connsiteX119" fmla="*/ 8568906 w 9149451"/>
              <a:gd name="connsiteY119" fmla="*/ 74762 h 1265207"/>
              <a:gd name="connsiteX120" fmla="*/ 8597660 w 9149451"/>
              <a:gd name="connsiteY120" fmla="*/ 69011 h 1265207"/>
              <a:gd name="connsiteX121" fmla="*/ 8643668 w 9149451"/>
              <a:gd name="connsiteY121" fmla="*/ 57509 h 1265207"/>
              <a:gd name="connsiteX122" fmla="*/ 8672423 w 9149451"/>
              <a:gd name="connsiteY122" fmla="*/ 51758 h 1265207"/>
              <a:gd name="connsiteX123" fmla="*/ 8735683 w 9149451"/>
              <a:gd name="connsiteY123" fmla="*/ 34505 h 1265207"/>
              <a:gd name="connsiteX124" fmla="*/ 8798943 w 9149451"/>
              <a:gd name="connsiteY124" fmla="*/ 28754 h 1265207"/>
              <a:gd name="connsiteX125" fmla="*/ 8867955 w 9149451"/>
              <a:gd name="connsiteY125" fmla="*/ 34505 h 1265207"/>
              <a:gd name="connsiteX126" fmla="*/ 8965721 w 9149451"/>
              <a:gd name="connsiteY126" fmla="*/ 23004 h 1265207"/>
              <a:gd name="connsiteX127" fmla="*/ 9028981 w 9149451"/>
              <a:gd name="connsiteY127" fmla="*/ 5751 h 1265207"/>
              <a:gd name="connsiteX128" fmla="*/ 9144000 w 9149451"/>
              <a:gd name="connsiteY128" fmla="*/ 0 h 1265207"/>
              <a:gd name="connsiteX129" fmla="*/ 9144000 w 9149451"/>
              <a:gd name="connsiteY129" fmla="*/ 1265207 h 1265207"/>
              <a:gd name="connsiteX0" fmla="*/ 0 w 9149451"/>
              <a:gd name="connsiteY0" fmla="*/ 1219200 h 1265207"/>
              <a:gd name="connsiteX1" fmla="*/ 799381 w 9149451"/>
              <a:gd name="connsiteY1" fmla="*/ 28754 h 1265207"/>
              <a:gd name="connsiteX2" fmla="*/ 885645 w 9149451"/>
              <a:gd name="connsiteY2" fmla="*/ 46007 h 1265207"/>
              <a:gd name="connsiteX3" fmla="*/ 971909 w 9149451"/>
              <a:gd name="connsiteY3" fmla="*/ 69011 h 1265207"/>
              <a:gd name="connsiteX4" fmla="*/ 1023668 w 9149451"/>
              <a:gd name="connsiteY4" fmla="*/ 74762 h 1265207"/>
              <a:gd name="connsiteX5" fmla="*/ 1040921 w 9149451"/>
              <a:gd name="connsiteY5" fmla="*/ 80513 h 1265207"/>
              <a:gd name="connsiteX6" fmla="*/ 1190445 w 9149451"/>
              <a:gd name="connsiteY6" fmla="*/ 109268 h 1265207"/>
              <a:gd name="connsiteX7" fmla="*/ 1293962 w 9149451"/>
              <a:gd name="connsiteY7" fmla="*/ 126521 h 1265207"/>
              <a:gd name="connsiteX8" fmla="*/ 1357223 w 9149451"/>
              <a:gd name="connsiteY8" fmla="*/ 143773 h 1265207"/>
              <a:gd name="connsiteX9" fmla="*/ 1397479 w 9149451"/>
              <a:gd name="connsiteY9" fmla="*/ 149524 h 1265207"/>
              <a:gd name="connsiteX10" fmla="*/ 1489494 w 9149451"/>
              <a:gd name="connsiteY10" fmla="*/ 172528 h 1265207"/>
              <a:gd name="connsiteX11" fmla="*/ 1535502 w 9149451"/>
              <a:gd name="connsiteY11" fmla="*/ 184030 h 1265207"/>
              <a:gd name="connsiteX12" fmla="*/ 1621766 w 9149451"/>
              <a:gd name="connsiteY12" fmla="*/ 195532 h 1265207"/>
              <a:gd name="connsiteX13" fmla="*/ 1690777 w 9149451"/>
              <a:gd name="connsiteY13" fmla="*/ 212785 h 1265207"/>
              <a:gd name="connsiteX14" fmla="*/ 1869057 w 9149451"/>
              <a:gd name="connsiteY14" fmla="*/ 241539 h 1265207"/>
              <a:gd name="connsiteX15" fmla="*/ 1961072 w 9149451"/>
              <a:gd name="connsiteY15" fmla="*/ 253041 h 1265207"/>
              <a:gd name="connsiteX16" fmla="*/ 2012830 w 9149451"/>
              <a:gd name="connsiteY16" fmla="*/ 258792 h 1265207"/>
              <a:gd name="connsiteX17" fmla="*/ 2047336 w 9149451"/>
              <a:gd name="connsiteY17" fmla="*/ 264543 h 1265207"/>
              <a:gd name="connsiteX18" fmla="*/ 2237117 w 9149451"/>
              <a:gd name="connsiteY18" fmla="*/ 276045 h 1265207"/>
              <a:gd name="connsiteX19" fmla="*/ 2467155 w 9149451"/>
              <a:gd name="connsiteY19" fmla="*/ 270294 h 1265207"/>
              <a:gd name="connsiteX20" fmla="*/ 2495909 w 9149451"/>
              <a:gd name="connsiteY20" fmla="*/ 264543 h 1265207"/>
              <a:gd name="connsiteX21" fmla="*/ 2559170 w 9149451"/>
              <a:gd name="connsiteY21" fmla="*/ 258792 h 1265207"/>
              <a:gd name="connsiteX22" fmla="*/ 2587925 w 9149451"/>
              <a:gd name="connsiteY22" fmla="*/ 253041 h 1265207"/>
              <a:gd name="connsiteX23" fmla="*/ 2633932 w 9149451"/>
              <a:gd name="connsiteY23" fmla="*/ 247290 h 1265207"/>
              <a:gd name="connsiteX24" fmla="*/ 2656936 w 9149451"/>
              <a:gd name="connsiteY24" fmla="*/ 235788 h 1265207"/>
              <a:gd name="connsiteX25" fmla="*/ 2679940 w 9149451"/>
              <a:gd name="connsiteY25" fmla="*/ 230037 h 1265207"/>
              <a:gd name="connsiteX26" fmla="*/ 2697192 w 9149451"/>
              <a:gd name="connsiteY26" fmla="*/ 224287 h 1265207"/>
              <a:gd name="connsiteX27" fmla="*/ 2743200 w 9149451"/>
              <a:gd name="connsiteY27" fmla="*/ 212785 h 1265207"/>
              <a:gd name="connsiteX28" fmla="*/ 2766204 w 9149451"/>
              <a:gd name="connsiteY28" fmla="*/ 207034 h 1265207"/>
              <a:gd name="connsiteX29" fmla="*/ 2794958 w 9149451"/>
              <a:gd name="connsiteY29" fmla="*/ 189781 h 1265207"/>
              <a:gd name="connsiteX30" fmla="*/ 2829464 w 9149451"/>
              <a:gd name="connsiteY30" fmla="*/ 178279 h 1265207"/>
              <a:gd name="connsiteX31" fmla="*/ 2846717 w 9149451"/>
              <a:gd name="connsiteY31" fmla="*/ 172528 h 1265207"/>
              <a:gd name="connsiteX32" fmla="*/ 2909977 w 9149451"/>
              <a:gd name="connsiteY32" fmla="*/ 155275 h 1265207"/>
              <a:gd name="connsiteX33" fmla="*/ 2961736 w 9149451"/>
              <a:gd name="connsiteY33" fmla="*/ 132271 h 1265207"/>
              <a:gd name="connsiteX34" fmla="*/ 2978989 w 9149451"/>
              <a:gd name="connsiteY34" fmla="*/ 126521 h 1265207"/>
              <a:gd name="connsiteX35" fmla="*/ 3001992 w 9149451"/>
              <a:gd name="connsiteY35" fmla="*/ 115019 h 1265207"/>
              <a:gd name="connsiteX36" fmla="*/ 3019245 w 9149451"/>
              <a:gd name="connsiteY36" fmla="*/ 109268 h 1265207"/>
              <a:gd name="connsiteX37" fmla="*/ 3042249 w 9149451"/>
              <a:gd name="connsiteY37" fmla="*/ 97766 h 1265207"/>
              <a:gd name="connsiteX38" fmla="*/ 3076755 w 9149451"/>
              <a:gd name="connsiteY38" fmla="*/ 92015 h 1265207"/>
              <a:gd name="connsiteX39" fmla="*/ 3111260 w 9149451"/>
              <a:gd name="connsiteY39" fmla="*/ 80513 h 1265207"/>
              <a:gd name="connsiteX40" fmla="*/ 3145766 w 9149451"/>
              <a:gd name="connsiteY40" fmla="*/ 74762 h 1265207"/>
              <a:gd name="connsiteX41" fmla="*/ 3168770 w 9149451"/>
              <a:gd name="connsiteY41" fmla="*/ 69011 h 1265207"/>
              <a:gd name="connsiteX42" fmla="*/ 3375804 w 9149451"/>
              <a:gd name="connsiteY42" fmla="*/ 63260 h 1265207"/>
              <a:gd name="connsiteX43" fmla="*/ 3559834 w 9149451"/>
              <a:gd name="connsiteY43" fmla="*/ 69011 h 1265207"/>
              <a:gd name="connsiteX44" fmla="*/ 3594340 w 9149451"/>
              <a:gd name="connsiteY44" fmla="*/ 86264 h 1265207"/>
              <a:gd name="connsiteX45" fmla="*/ 3634596 w 9149451"/>
              <a:gd name="connsiteY45" fmla="*/ 97766 h 1265207"/>
              <a:gd name="connsiteX46" fmla="*/ 3657600 w 9149451"/>
              <a:gd name="connsiteY46" fmla="*/ 109268 h 1265207"/>
              <a:gd name="connsiteX47" fmla="*/ 3680604 w 9149451"/>
              <a:gd name="connsiteY47" fmla="*/ 115019 h 1265207"/>
              <a:gd name="connsiteX48" fmla="*/ 3715109 w 9149451"/>
              <a:gd name="connsiteY48" fmla="*/ 126521 h 1265207"/>
              <a:gd name="connsiteX49" fmla="*/ 3732362 w 9149451"/>
              <a:gd name="connsiteY49" fmla="*/ 132271 h 1265207"/>
              <a:gd name="connsiteX50" fmla="*/ 3784121 w 9149451"/>
              <a:gd name="connsiteY50" fmla="*/ 138022 h 1265207"/>
              <a:gd name="connsiteX51" fmla="*/ 3847381 w 9149451"/>
              <a:gd name="connsiteY51" fmla="*/ 149524 h 1265207"/>
              <a:gd name="connsiteX52" fmla="*/ 3910642 w 9149451"/>
              <a:gd name="connsiteY52" fmla="*/ 155275 h 1265207"/>
              <a:gd name="connsiteX53" fmla="*/ 3979653 w 9149451"/>
              <a:gd name="connsiteY53" fmla="*/ 166777 h 1265207"/>
              <a:gd name="connsiteX54" fmla="*/ 4042913 w 9149451"/>
              <a:gd name="connsiteY54" fmla="*/ 172528 h 1265207"/>
              <a:gd name="connsiteX55" fmla="*/ 4106174 w 9149451"/>
              <a:gd name="connsiteY55" fmla="*/ 189781 h 1265207"/>
              <a:gd name="connsiteX56" fmla="*/ 4146430 w 9149451"/>
              <a:gd name="connsiteY56" fmla="*/ 201283 h 1265207"/>
              <a:gd name="connsiteX57" fmla="*/ 4169434 w 9149451"/>
              <a:gd name="connsiteY57" fmla="*/ 212785 h 1265207"/>
              <a:gd name="connsiteX58" fmla="*/ 4203940 w 9149451"/>
              <a:gd name="connsiteY58" fmla="*/ 218536 h 1265207"/>
              <a:gd name="connsiteX59" fmla="*/ 4232694 w 9149451"/>
              <a:gd name="connsiteY59" fmla="*/ 224287 h 1265207"/>
              <a:gd name="connsiteX60" fmla="*/ 4255698 w 9149451"/>
              <a:gd name="connsiteY60" fmla="*/ 230037 h 1265207"/>
              <a:gd name="connsiteX61" fmla="*/ 4433977 w 9149451"/>
              <a:gd name="connsiteY61" fmla="*/ 235788 h 1265207"/>
              <a:gd name="connsiteX62" fmla="*/ 4502989 w 9149451"/>
              <a:gd name="connsiteY62" fmla="*/ 241539 h 1265207"/>
              <a:gd name="connsiteX63" fmla="*/ 4525992 w 9149451"/>
              <a:gd name="connsiteY63" fmla="*/ 253041 h 1265207"/>
              <a:gd name="connsiteX64" fmla="*/ 4577751 w 9149451"/>
              <a:gd name="connsiteY64" fmla="*/ 276045 h 1265207"/>
              <a:gd name="connsiteX65" fmla="*/ 4629509 w 9149451"/>
              <a:gd name="connsiteY65" fmla="*/ 299049 h 1265207"/>
              <a:gd name="connsiteX66" fmla="*/ 4681268 w 9149451"/>
              <a:gd name="connsiteY66" fmla="*/ 322053 h 1265207"/>
              <a:gd name="connsiteX67" fmla="*/ 4704272 w 9149451"/>
              <a:gd name="connsiteY67" fmla="*/ 333554 h 1265207"/>
              <a:gd name="connsiteX68" fmla="*/ 4756030 w 9149451"/>
              <a:gd name="connsiteY68" fmla="*/ 350807 h 1265207"/>
              <a:gd name="connsiteX69" fmla="*/ 4773283 w 9149451"/>
              <a:gd name="connsiteY69" fmla="*/ 356558 h 1265207"/>
              <a:gd name="connsiteX70" fmla="*/ 4802038 w 9149451"/>
              <a:gd name="connsiteY70" fmla="*/ 373811 h 1265207"/>
              <a:gd name="connsiteX71" fmla="*/ 4842294 w 9149451"/>
              <a:gd name="connsiteY71" fmla="*/ 385313 h 1265207"/>
              <a:gd name="connsiteX72" fmla="*/ 4876800 w 9149451"/>
              <a:gd name="connsiteY72" fmla="*/ 396815 h 1265207"/>
              <a:gd name="connsiteX73" fmla="*/ 4917057 w 9149451"/>
              <a:gd name="connsiteY73" fmla="*/ 402566 h 1265207"/>
              <a:gd name="connsiteX74" fmla="*/ 5072332 w 9149451"/>
              <a:gd name="connsiteY74" fmla="*/ 414068 h 1265207"/>
              <a:gd name="connsiteX75" fmla="*/ 5262113 w 9149451"/>
              <a:gd name="connsiteY75" fmla="*/ 425570 h 1265207"/>
              <a:gd name="connsiteX76" fmla="*/ 5382883 w 9149451"/>
              <a:gd name="connsiteY76" fmla="*/ 437071 h 1265207"/>
              <a:gd name="connsiteX77" fmla="*/ 5520906 w 9149451"/>
              <a:gd name="connsiteY77" fmla="*/ 448573 h 1265207"/>
              <a:gd name="connsiteX78" fmla="*/ 5578415 w 9149451"/>
              <a:gd name="connsiteY78" fmla="*/ 454324 h 1265207"/>
              <a:gd name="connsiteX79" fmla="*/ 5762445 w 9149451"/>
              <a:gd name="connsiteY79" fmla="*/ 465826 h 1265207"/>
              <a:gd name="connsiteX80" fmla="*/ 6003985 w 9149451"/>
              <a:gd name="connsiteY80" fmla="*/ 477328 h 1265207"/>
              <a:gd name="connsiteX81" fmla="*/ 6308785 w 9149451"/>
              <a:gd name="connsiteY81" fmla="*/ 471577 h 1265207"/>
              <a:gd name="connsiteX82" fmla="*/ 6349042 w 9149451"/>
              <a:gd name="connsiteY82" fmla="*/ 460075 h 1265207"/>
              <a:gd name="connsiteX83" fmla="*/ 6400800 w 9149451"/>
              <a:gd name="connsiteY83" fmla="*/ 448573 h 1265207"/>
              <a:gd name="connsiteX84" fmla="*/ 6429555 w 9149451"/>
              <a:gd name="connsiteY84" fmla="*/ 442822 h 1265207"/>
              <a:gd name="connsiteX85" fmla="*/ 6458309 w 9149451"/>
              <a:gd name="connsiteY85" fmla="*/ 431321 h 1265207"/>
              <a:gd name="connsiteX86" fmla="*/ 6521570 w 9149451"/>
              <a:gd name="connsiteY86" fmla="*/ 419819 h 1265207"/>
              <a:gd name="connsiteX87" fmla="*/ 6567577 w 9149451"/>
              <a:gd name="connsiteY87" fmla="*/ 408317 h 1265207"/>
              <a:gd name="connsiteX88" fmla="*/ 6630838 w 9149451"/>
              <a:gd name="connsiteY88" fmla="*/ 391064 h 1265207"/>
              <a:gd name="connsiteX89" fmla="*/ 6648091 w 9149451"/>
              <a:gd name="connsiteY89" fmla="*/ 379562 h 1265207"/>
              <a:gd name="connsiteX90" fmla="*/ 6688347 w 9149451"/>
              <a:gd name="connsiteY90" fmla="*/ 368060 h 1265207"/>
              <a:gd name="connsiteX91" fmla="*/ 6751608 w 9149451"/>
              <a:gd name="connsiteY91" fmla="*/ 345056 h 1265207"/>
              <a:gd name="connsiteX92" fmla="*/ 6786113 w 9149451"/>
              <a:gd name="connsiteY92" fmla="*/ 333554 h 1265207"/>
              <a:gd name="connsiteX93" fmla="*/ 6809117 w 9149451"/>
              <a:gd name="connsiteY93" fmla="*/ 322053 h 1265207"/>
              <a:gd name="connsiteX94" fmla="*/ 6855125 w 9149451"/>
              <a:gd name="connsiteY94" fmla="*/ 316302 h 1265207"/>
              <a:gd name="connsiteX95" fmla="*/ 6906883 w 9149451"/>
              <a:gd name="connsiteY95" fmla="*/ 304800 h 1265207"/>
              <a:gd name="connsiteX96" fmla="*/ 6935638 w 9149451"/>
              <a:gd name="connsiteY96" fmla="*/ 299049 h 1265207"/>
              <a:gd name="connsiteX97" fmla="*/ 6970143 w 9149451"/>
              <a:gd name="connsiteY97" fmla="*/ 293298 h 1265207"/>
              <a:gd name="connsiteX98" fmla="*/ 7125419 w 9149451"/>
              <a:gd name="connsiteY98" fmla="*/ 287547 h 1265207"/>
              <a:gd name="connsiteX99" fmla="*/ 7924800 w 9149451"/>
              <a:gd name="connsiteY99" fmla="*/ 281796 h 1265207"/>
              <a:gd name="connsiteX100" fmla="*/ 7982309 w 9149451"/>
              <a:gd name="connsiteY100" fmla="*/ 276045 h 1265207"/>
              <a:gd name="connsiteX101" fmla="*/ 8120332 w 9149451"/>
              <a:gd name="connsiteY101" fmla="*/ 247290 h 1265207"/>
              <a:gd name="connsiteX102" fmla="*/ 8143336 w 9149451"/>
              <a:gd name="connsiteY102" fmla="*/ 241539 h 1265207"/>
              <a:gd name="connsiteX103" fmla="*/ 8166340 w 9149451"/>
              <a:gd name="connsiteY103" fmla="*/ 230037 h 1265207"/>
              <a:gd name="connsiteX104" fmla="*/ 8189343 w 9149451"/>
              <a:gd name="connsiteY104" fmla="*/ 224287 h 1265207"/>
              <a:gd name="connsiteX105" fmla="*/ 8223849 w 9149451"/>
              <a:gd name="connsiteY105" fmla="*/ 212785 h 1265207"/>
              <a:gd name="connsiteX106" fmla="*/ 8241102 w 9149451"/>
              <a:gd name="connsiteY106" fmla="*/ 207034 h 1265207"/>
              <a:gd name="connsiteX107" fmla="*/ 8264106 w 9149451"/>
              <a:gd name="connsiteY107" fmla="*/ 201283 h 1265207"/>
              <a:gd name="connsiteX108" fmla="*/ 8292860 w 9149451"/>
              <a:gd name="connsiteY108" fmla="*/ 184030 h 1265207"/>
              <a:gd name="connsiteX109" fmla="*/ 8327366 w 9149451"/>
              <a:gd name="connsiteY109" fmla="*/ 172528 h 1265207"/>
              <a:gd name="connsiteX110" fmla="*/ 8367623 w 9149451"/>
              <a:gd name="connsiteY110" fmla="*/ 155275 h 1265207"/>
              <a:gd name="connsiteX111" fmla="*/ 8390626 w 9149451"/>
              <a:gd name="connsiteY111" fmla="*/ 143773 h 1265207"/>
              <a:gd name="connsiteX112" fmla="*/ 8407879 w 9149451"/>
              <a:gd name="connsiteY112" fmla="*/ 138022 h 1265207"/>
              <a:gd name="connsiteX113" fmla="*/ 8436634 w 9149451"/>
              <a:gd name="connsiteY113" fmla="*/ 126521 h 1265207"/>
              <a:gd name="connsiteX114" fmla="*/ 8482642 w 9149451"/>
              <a:gd name="connsiteY114" fmla="*/ 103517 h 1265207"/>
              <a:gd name="connsiteX115" fmla="*/ 8511396 w 9149451"/>
              <a:gd name="connsiteY115" fmla="*/ 97766 h 1265207"/>
              <a:gd name="connsiteX116" fmla="*/ 8528649 w 9149451"/>
              <a:gd name="connsiteY116" fmla="*/ 92015 h 1265207"/>
              <a:gd name="connsiteX117" fmla="*/ 8551653 w 9149451"/>
              <a:gd name="connsiteY117" fmla="*/ 86264 h 1265207"/>
              <a:gd name="connsiteX118" fmla="*/ 8568906 w 9149451"/>
              <a:gd name="connsiteY118" fmla="*/ 74762 h 1265207"/>
              <a:gd name="connsiteX119" fmla="*/ 8597660 w 9149451"/>
              <a:gd name="connsiteY119" fmla="*/ 69011 h 1265207"/>
              <a:gd name="connsiteX120" fmla="*/ 8643668 w 9149451"/>
              <a:gd name="connsiteY120" fmla="*/ 57509 h 1265207"/>
              <a:gd name="connsiteX121" fmla="*/ 8672423 w 9149451"/>
              <a:gd name="connsiteY121" fmla="*/ 51758 h 1265207"/>
              <a:gd name="connsiteX122" fmla="*/ 8735683 w 9149451"/>
              <a:gd name="connsiteY122" fmla="*/ 34505 h 1265207"/>
              <a:gd name="connsiteX123" fmla="*/ 8798943 w 9149451"/>
              <a:gd name="connsiteY123" fmla="*/ 28754 h 1265207"/>
              <a:gd name="connsiteX124" fmla="*/ 8867955 w 9149451"/>
              <a:gd name="connsiteY124" fmla="*/ 34505 h 1265207"/>
              <a:gd name="connsiteX125" fmla="*/ 8965721 w 9149451"/>
              <a:gd name="connsiteY125" fmla="*/ 23004 h 1265207"/>
              <a:gd name="connsiteX126" fmla="*/ 9028981 w 9149451"/>
              <a:gd name="connsiteY126" fmla="*/ 5751 h 1265207"/>
              <a:gd name="connsiteX127" fmla="*/ 9144000 w 9149451"/>
              <a:gd name="connsiteY127" fmla="*/ 0 h 1265207"/>
              <a:gd name="connsiteX128" fmla="*/ 9144000 w 9149451"/>
              <a:gd name="connsiteY128" fmla="*/ 1265207 h 1265207"/>
              <a:gd name="connsiteX0" fmla="*/ 0 w 9149451"/>
              <a:gd name="connsiteY0" fmla="*/ 1219200 h 1265207"/>
              <a:gd name="connsiteX1" fmla="*/ 799381 w 9149451"/>
              <a:gd name="connsiteY1" fmla="*/ 28754 h 1265207"/>
              <a:gd name="connsiteX2" fmla="*/ 885645 w 9149451"/>
              <a:gd name="connsiteY2" fmla="*/ 46007 h 1265207"/>
              <a:gd name="connsiteX3" fmla="*/ 971909 w 9149451"/>
              <a:gd name="connsiteY3" fmla="*/ 69011 h 1265207"/>
              <a:gd name="connsiteX4" fmla="*/ 1023668 w 9149451"/>
              <a:gd name="connsiteY4" fmla="*/ 74762 h 1265207"/>
              <a:gd name="connsiteX5" fmla="*/ 1040921 w 9149451"/>
              <a:gd name="connsiteY5" fmla="*/ 80513 h 1265207"/>
              <a:gd name="connsiteX6" fmla="*/ 1190445 w 9149451"/>
              <a:gd name="connsiteY6" fmla="*/ 109268 h 1265207"/>
              <a:gd name="connsiteX7" fmla="*/ 1293962 w 9149451"/>
              <a:gd name="connsiteY7" fmla="*/ 126521 h 1265207"/>
              <a:gd name="connsiteX8" fmla="*/ 1357223 w 9149451"/>
              <a:gd name="connsiteY8" fmla="*/ 143773 h 1265207"/>
              <a:gd name="connsiteX9" fmla="*/ 1397479 w 9149451"/>
              <a:gd name="connsiteY9" fmla="*/ 149524 h 1265207"/>
              <a:gd name="connsiteX10" fmla="*/ 1489494 w 9149451"/>
              <a:gd name="connsiteY10" fmla="*/ 172528 h 1265207"/>
              <a:gd name="connsiteX11" fmla="*/ 1535502 w 9149451"/>
              <a:gd name="connsiteY11" fmla="*/ 184030 h 1265207"/>
              <a:gd name="connsiteX12" fmla="*/ 1621766 w 9149451"/>
              <a:gd name="connsiteY12" fmla="*/ 195532 h 1265207"/>
              <a:gd name="connsiteX13" fmla="*/ 1869057 w 9149451"/>
              <a:gd name="connsiteY13" fmla="*/ 241539 h 1265207"/>
              <a:gd name="connsiteX14" fmla="*/ 1961072 w 9149451"/>
              <a:gd name="connsiteY14" fmla="*/ 253041 h 1265207"/>
              <a:gd name="connsiteX15" fmla="*/ 2012830 w 9149451"/>
              <a:gd name="connsiteY15" fmla="*/ 258792 h 1265207"/>
              <a:gd name="connsiteX16" fmla="*/ 2047336 w 9149451"/>
              <a:gd name="connsiteY16" fmla="*/ 264543 h 1265207"/>
              <a:gd name="connsiteX17" fmla="*/ 2237117 w 9149451"/>
              <a:gd name="connsiteY17" fmla="*/ 276045 h 1265207"/>
              <a:gd name="connsiteX18" fmla="*/ 2467155 w 9149451"/>
              <a:gd name="connsiteY18" fmla="*/ 270294 h 1265207"/>
              <a:gd name="connsiteX19" fmla="*/ 2495909 w 9149451"/>
              <a:gd name="connsiteY19" fmla="*/ 264543 h 1265207"/>
              <a:gd name="connsiteX20" fmla="*/ 2559170 w 9149451"/>
              <a:gd name="connsiteY20" fmla="*/ 258792 h 1265207"/>
              <a:gd name="connsiteX21" fmla="*/ 2587925 w 9149451"/>
              <a:gd name="connsiteY21" fmla="*/ 253041 h 1265207"/>
              <a:gd name="connsiteX22" fmla="*/ 2633932 w 9149451"/>
              <a:gd name="connsiteY22" fmla="*/ 247290 h 1265207"/>
              <a:gd name="connsiteX23" fmla="*/ 2656936 w 9149451"/>
              <a:gd name="connsiteY23" fmla="*/ 235788 h 1265207"/>
              <a:gd name="connsiteX24" fmla="*/ 2679940 w 9149451"/>
              <a:gd name="connsiteY24" fmla="*/ 230037 h 1265207"/>
              <a:gd name="connsiteX25" fmla="*/ 2697192 w 9149451"/>
              <a:gd name="connsiteY25" fmla="*/ 224287 h 1265207"/>
              <a:gd name="connsiteX26" fmla="*/ 2743200 w 9149451"/>
              <a:gd name="connsiteY26" fmla="*/ 212785 h 1265207"/>
              <a:gd name="connsiteX27" fmla="*/ 2766204 w 9149451"/>
              <a:gd name="connsiteY27" fmla="*/ 207034 h 1265207"/>
              <a:gd name="connsiteX28" fmla="*/ 2794958 w 9149451"/>
              <a:gd name="connsiteY28" fmla="*/ 189781 h 1265207"/>
              <a:gd name="connsiteX29" fmla="*/ 2829464 w 9149451"/>
              <a:gd name="connsiteY29" fmla="*/ 178279 h 1265207"/>
              <a:gd name="connsiteX30" fmla="*/ 2846717 w 9149451"/>
              <a:gd name="connsiteY30" fmla="*/ 172528 h 1265207"/>
              <a:gd name="connsiteX31" fmla="*/ 2909977 w 9149451"/>
              <a:gd name="connsiteY31" fmla="*/ 155275 h 1265207"/>
              <a:gd name="connsiteX32" fmla="*/ 2961736 w 9149451"/>
              <a:gd name="connsiteY32" fmla="*/ 132271 h 1265207"/>
              <a:gd name="connsiteX33" fmla="*/ 2978989 w 9149451"/>
              <a:gd name="connsiteY33" fmla="*/ 126521 h 1265207"/>
              <a:gd name="connsiteX34" fmla="*/ 3001992 w 9149451"/>
              <a:gd name="connsiteY34" fmla="*/ 115019 h 1265207"/>
              <a:gd name="connsiteX35" fmla="*/ 3019245 w 9149451"/>
              <a:gd name="connsiteY35" fmla="*/ 109268 h 1265207"/>
              <a:gd name="connsiteX36" fmla="*/ 3042249 w 9149451"/>
              <a:gd name="connsiteY36" fmla="*/ 97766 h 1265207"/>
              <a:gd name="connsiteX37" fmla="*/ 3076755 w 9149451"/>
              <a:gd name="connsiteY37" fmla="*/ 92015 h 1265207"/>
              <a:gd name="connsiteX38" fmla="*/ 3111260 w 9149451"/>
              <a:gd name="connsiteY38" fmla="*/ 80513 h 1265207"/>
              <a:gd name="connsiteX39" fmla="*/ 3145766 w 9149451"/>
              <a:gd name="connsiteY39" fmla="*/ 74762 h 1265207"/>
              <a:gd name="connsiteX40" fmla="*/ 3168770 w 9149451"/>
              <a:gd name="connsiteY40" fmla="*/ 69011 h 1265207"/>
              <a:gd name="connsiteX41" fmla="*/ 3375804 w 9149451"/>
              <a:gd name="connsiteY41" fmla="*/ 63260 h 1265207"/>
              <a:gd name="connsiteX42" fmla="*/ 3559834 w 9149451"/>
              <a:gd name="connsiteY42" fmla="*/ 69011 h 1265207"/>
              <a:gd name="connsiteX43" fmla="*/ 3594340 w 9149451"/>
              <a:gd name="connsiteY43" fmla="*/ 86264 h 1265207"/>
              <a:gd name="connsiteX44" fmla="*/ 3634596 w 9149451"/>
              <a:gd name="connsiteY44" fmla="*/ 97766 h 1265207"/>
              <a:gd name="connsiteX45" fmla="*/ 3657600 w 9149451"/>
              <a:gd name="connsiteY45" fmla="*/ 109268 h 1265207"/>
              <a:gd name="connsiteX46" fmla="*/ 3680604 w 9149451"/>
              <a:gd name="connsiteY46" fmla="*/ 115019 h 1265207"/>
              <a:gd name="connsiteX47" fmla="*/ 3715109 w 9149451"/>
              <a:gd name="connsiteY47" fmla="*/ 126521 h 1265207"/>
              <a:gd name="connsiteX48" fmla="*/ 3732362 w 9149451"/>
              <a:gd name="connsiteY48" fmla="*/ 132271 h 1265207"/>
              <a:gd name="connsiteX49" fmla="*/ 3784121 w 9149451"/>
              <a:gd name="connsiteY49" fmla="*/ 138022 h 1265207"/>
              <a:gd name="connsiteX50" fmla="*/ 3847381 w 9149451"/>
              <a:gd name="connsiteY50" fmla="*/ 149524 h 1265207"/>
              <a:gd name="connsiteX51" fmla="*/ 3910642 w 9149451"/>
              <a:gd name="connsiteY51" fmla="*/ 155275 h 1265207"/>
              <a:gd name="connsiteX52" fmla="*/ 3979653 w 9149451"/>
              <a:gd name="connsiteY52" fmla="*/ 166777 h 1265207"/>
              <a:gd name="connsiteX53" fmla="*/ 4042913 w 9149451"/>
              <a:gd name="connsiteY53" fmla="*/ 172528 h 1265207"/>
              <a:gd name="connsiteX54" fmla="*/ 4106174 w 9149451"/>
              <a:gd name="connsiteY54" fmla="*/ 189781 h 1265207"/>
              <a:gd name="connsiteX55" fmla="*/ 4146430 w 9149451"/>
              <a:gd name="connsiteY55" fmla="*/ 201283 h 1265207"/>
              <a:gd name="connsiteX56" fmla="*/ 4169434 w 9149451"/>
              <a:gd name="connsiteY56" fmla="*/ 212785 h 1265207"/>
              <a:gd name="connsiteX57" fmla="*/ 4203940 w 9149451"/>
              <a:gd name="connsiteY57" fmla="*/ 218536 h 1265207"/>
              <a:gd name="connsiteX58" fmla="*/ 4232694 w 9149451"/>
              <a:gd name="connsiteY58" fmla="*/ 224287 h 1265207"/>
              <a:gd name="connsiteX59" fmla="*/ 4255698 w 9149451"/>
              <a:gd name="connsiteY59" fmla="*/ 230037 h 1265207"/>
              <a:gd name="connsiteX60" fmla="*/ 4433977 w 9149451"/>
              <a:gd name="connsiteY60" fmla="*/ 235788 h 1265207"/>
              <a:gd name="connsiteX61" fmla="*/ 4502989 w 9149451"/>
              <a:gd name="connsiteY61" fmla="*/ 241539 h 1265207"/>
              <a:gd name="connsiteX62" fmla="*/ 4525992 w 9149451"/>
              <a:gd name="connsiteY62" fmla="*/ 253041 h 1265207"/>
              <a:gd name="connsiteX63" fmla="*/ 4577751 w 9149451"/>
              <a:gd name="connsiteY63" fmla="*/ 276045 h 1265207"/>
              <a:gd name="connsiteX64" fmla="*/ 4629509 w 9149451"/>
              <a:gd name="connsiteY64" fmla="*/ 299049 h 1265207"/>
              <a:gd name="connsiteX65" fmla="*/ 4681268 w 9149451"/>
              <a:gd name="connsiteY65" fmla="*/ 322053 h 1265207"/>
              <a:gd name="connsiteX66" fmla="*/ 4704272 w 9149451"/>
              <a:gd name="connsiteY66" fmla="*/ 333554 h 1265207"/>
              <a:gd name="connsiteX67" fmla="*/ 4756030 w 9149451"/>
              <a:gd name="connsiteY67" fmla="*/ 350807 h 1265207"/>
              <a:gd name="connsiteX68" fmla="*/ 4773283 w 9149451"/>
              <a:gd name="connsiteY68" fmla="*/ 356558 h 1265207"/>
              <a:gd name="connsiteX69" fmla="*/ 4802038 w 9149451"/>
              <a:gd name="connsiteY69" fmla="*/ 373811 h 1265207"/>
              <a:gd name="connsiteX70" fmla="*/ 4842294 w 9149451"/>
              <a:gd name="connsiteY70" fmla="*/ 385313 h 1265207"/>
              <a:gd name="connsiteX71" fmla="*/ 4876800 w 9149451"/>
              <a:gd name="connsiteY71" fmla="*/ 396815 h 1265207"/>
              <a:gd name="connsiteX72" fmla="*/ 4917057 w 9149451"/>
              <a:gd name="connsiteY72" fmla="*/ 402566 h 1265207"/>
              <a:gd name="connsiteX73" fmla="*/ 5072332 w 9149451"/>
              <a:gd name="connsiteY73" fmla="*/ 414068 h 1265207"/>
              <a:gd name="connsiteX74" fmla="*/ 5262113 w 9149451"/>
              <a:gd name="connsiteY74" fmla="*/ 425570 h 1265207"/>
              <a:gd name="connsiteX75" fmla="*/ 5382883 w 9149451"/>
              <a:gd name="connsiteY75" fmla="*/ 437071 h 1265207"/>
              <a:gd name="connsiteX76" fmla="*/ 5520906 w 9149451"/>
              <a:gd name="connsiteY76" fmla="*/ 448573 h 1265207"/>
              <a:gd name="connsiteX77" fmla="*/ 5578415 w 9149451"/>
              <a:gd name="connsiteY77" fmla="*/ 454324 h 1265207"/>
              <a:gd name="connsiteX78" fmla="*/ 5762445 w 9149451"/>
              <a:gd name="connsiteY78" fmla="*/ 465826 h 1265207"/>
              <a:gd name="connsiteX79" fmla="*/ 6003985 w 9149451"/>
              <a:gd name="connsiteY79" fmla="*/ 477328 h 1265207"/>
              <a:gd name="connsiteX80" fmla="*/ 6308785 w 9149451"/>
              <a:gd name="connsiteY80" fmla="*/ 471577 h 1265207"/>
              <a:gd name="connsiteX81" fmla="*/ 6349042 w 9149451"/>
              <a:gd name="connsiteY81" fmla="*/ 460075 h 1265207"/>
              <a:gd name="connsiteX82" fmla="*/ 6400800 w 9149451"/>
              <a:gd name="connsiteY82" fmla="*/ 448573 h 1265207"/>
              <a:gd name="connsiteX83" fmla="*/ 6429555 w 9149451"/>
              <a:gd name="connsiteY83" fmla="*/ 442822 h 1265207"/>
              <a:gd name="connsiteX84" fmla="*/ 6458309 w 9149451"/>
              <a:gd name="connsiteY84" fmla="*/ 431321 h 1265207"/>
              <a:gd name="connsiteX85" fmla="*/ 6521570 w 9149451"/>
              <a:gd name="connsiteY85" fmla="*/ 419819 h 1265207"/>
              <a:gd name="connsiteX86" fmla="*/ 6567577 w 9149451"/>
              <a:gd name="connsiteY86" fmla="*/ 408317 h 1265207"/>
              <a:gd name="connsiteX87" fmla="*/ 6630838 w 9149451"/>
              <a:gd name="connsiteY87" fmla="*/ 391064 h 1265207"/>
              <a:gd name="connsiteX88" fmla="*/ 6648091 w 9149451"/>
              <a:gd name="connsiteY88" fmla="*/ 379562 h 1265207"/>
              <a:gd name="connsiteX89" fmla="*/ 6688347 w 9149451"/>
              <a:gd name="connsiteY89" fmla="*/ 368060 h 1265207"/>
              <a:gd name="connsiteX90" fmla="*/ 6751608 w 9149451"/>
              <a:gd name="connsiteY90" fmla="*/ 345056 h 1265207"/>
              <a:gd name="connsiteX91" fmla="*/ 6786113 w 9149451"/>
              <a:gd name="connsiteY91" fmla="*/ 333554 h 1265207"/>
              <a:gd name="connsiteX92" fmla="*/ 6809117 w 9149451"/>
              <a:gd name="connsiteY92" fmla="*/ 322053 h 1265207"/>
              <a:gd name="connsiteX93" fmla="*/ 6855125 w 9149451"/>
              <a:gd name="connsiteY93" fmla="*/ 316302 h 1265207"/>
              <a:gd name="connsiteX94" fmla="*/ 6906883 w 9149451"/>
              <a:gd name="connsiteY94" fmla="*/ 304800 h 1265207"/>
              <a:gd name="connsiteX95" fmla="*/ 6935638 w 9149451"/>
              <a:gd name="connsiteY95" fmla="*/ 299049 h 1265207"/>
              <a:gd name="connsiteX96" fmla="*/ 6970143 w 9149451"/>
              <a:gd name="connsiteY96" fmla="*/ 293298 h 1265207"/>
              <a:gd name="connsiteX97" fmla="*/ 7125419 w 9149451"/>
              <a:gd name="connsiteY97" fmla="*/ 287547 h 1265207"/>
              <a:gd name="connsiteX98" fmla="*/ 7924800 w 9149451"/>
              <a:gd name="connsiteY98" fmla="*/ 281796 h 1265207"/>
              <a:gd name="connsiteX99" fmla="*/ 7982309 w 9149451"/>
              <a:gd name="connsiteY99" fmla="*/ 276045 h 1265207"/>
              <a:gd name="connsiteX100" fmla="*/ 8120332 w 9149451"/>
              <a:gd name="connsiteY100" fmla="*/ 247290 h 1265207"/>
              <a:gd name="connsiteX101" fmla="*/ 8143336 w 9149451"/>
              <a:gd name="connsiteY101" fmla="*/ 241539 h 1265207"/>
              <a:gd name="connsiteX102" fmla="*/ 8166340 w 9149451"/>
              <a:gd name="connsiteY102" fmla="*/ 230037 h 1265207"/>
              <a:gd name="connsiteX103" fmla="*/ 8189343 w 9149451"/>
              <a:gd name="connsiteY103" fmla="*/ 224287 h 1265207"/>
              <a:gd name="connsiteX104" fmla="*/ 8223849 w 9149451"/>
              <a:gd name="connsiteY104" fmla="*/ 212785 h 1265207"/>
              <a:gd name="connsiteX105" fmla="*/ 8241102 w 9149451"/>
              <a:gd name="connsiteY105" fmla="*/ 207034 h 1265207"/>
              <a:gd name="connsiteX106" fmla="*/ 8264106 w 9149451"/>
              <a:gd name="connsiteY106" fmla="*/ 201283 h 1265207"/>
              <a:gd name="connsiteX107" fmla="*/ 8292860 w 9149451"/>
              <a:gd name="connsiteY107" fmla="*/ 184030 h 1265207"/>
              <a:gd name="connsiteX108" fmla="*/ 8327366 w 9149451"/>
              <a:gd name="connsiteY108" fmla="*/ 172528 h 1265207"/>
              <a:gd name="connsiteX109" fmla="*/ 8367623 w 9149451"/>
              <a:gd name="connsiteY109" fmla="*/ 155275 h 1265207"/>
              <a:gd name="connsiteX110" fmla="*/ 8390626 w 9149451"/>
              <a:gd name="connsiteY110" fmla="*/ 143773 h 1265207"/>
              <a:gd name="connsiteX111" fmla="*/ 8407879 w 9149451"/>
              <a:gd name="connsiteY111" fmla="*/ 138022 h 1265207"/>
              <a:gd name="connsiteX112" fmla="*/ 8436634 w 9149451"/>
              <a:gd name="connsiteY112" fmla="*/ 126521 h 1265207"/>
              <a:gd name="connsiteX113" fmla="*/ 8482642 w 9149451"/>
              <a:gd name="connsiteY113" fmla="*/ 103517 h 1265207"/>
              <a:gd name="connsiteX114" fmla="*/ 8511396 w 9149451"/>
              <a:gd name="connsiteY114" fmla="*/ 97766 h 1265207"/>
              <a:gd name="connsiteX115" fmla="*/ 8528649 w 9149451"/>
              <a:gd name="connsiteY115" fmla="*/ 92015 h 1265207"/>
              <a:gd name="connsiteX116" fmla="*/ 8551653 w 9149451"/>
              <a:gd name="connsiteY116" fmla="*/ 86264 h 1265207"/>
              <a:gd name="connsiteX117" fmla="*/ 8568906 w 9149451"/>
              <a:gd name="connsiteY117" fmla="*/ 74762 h 1265207"/>
              <a:gd name="connsiteX118" fmla="*/ 8597660 w 9149451"/>
              <a:gd name="connsiteY118" fmla="*/ 69011 h 1265207"/>
              <a:gd name="connsiteX119" fmla="*/ 8643668 w 9149451"/>
              <a:gd name="connsiteY119" fmla="*/ 57509 h 1265207"/>
              <a:gd name="connsiteX120" fmla="*/ 8672423 w 9149451"/>
              <a:gd name="connsiteY120" fmla="*/ 51758 h 1265207"/>
              <a:gd name="connsiteX121" fmla="*/ 8735683 w 9149451"/>
              <a:gd name="connsiteY121" fmla="*/ 34505 h 1265207"/>
              <a:gd name="connsiteX122" fmla="*/ 8798943 w 9149451"/>
              <a:gd name="connsiteY122" fmla="*/ 28754 h 1265207"/>
              <a:gd name="connsiteX123" fmla="*/ 8867955 w 9149451"/>
              <a:gd name="connsiteY123" fmla="*/ 34505 h 1265207"/>
              <a:gd name="connsiteX124" fmla="*/ 8965721 w 9149451"/>
              <a:gd name="connsiteY124" fmla="*/ 23004 h 1265207"/>
              <a:gd name="connsiteX125" fmla="*/ 9028981 w 9149451"/>
              <a:gd name="connsiteY125" fmla="*/ 5751 h 1265207"/>
              <a:gd name="connsiteX126" fmla="*/ 9144000 w 9149451"/>
              <a:gd name="connsiteY126" fmla="*/ 0 h 1265207"/>
              <a:gd name="connsiteX127" fmla="*/ 9144000 w 9149451"/>
              <a:gd name="connsiteY127" fmla="*/ 1265207 h 1265207"/>
              <a:gd name="connsiteX0" fmla="*/ 1158718 w 8497677"/>
              <a:gd name="connsiteY0" fmla="*/ 1241989 h 1265207"/>
              <a:gd name="connsiteX1" fmla="*/ 147607 w 8497677"/>
              <a:gd name="connsiteY1" fmla="*/ 28754 h 1265207"/>
              <a:gd name="connsiteX2" fmla="*/ 233871 w 8497677"/>
              <a:gd name="connsiteY2" fmla="*/ 46007 h 1265207"/>
              <a:gd name="connsiteX3" fmla="*/ 320135 w 8497677"/>
              <a:gd name="connsiteY3" fmla="*/ 69011 h 1265207"/>
              <a:gd name="connsiteX4" fmla="*/ 371894 w 8497677"/>
              <a:gd name="connsiteY4" fmla="*/ 74762 h 1265207"/>
              <a:gd name="connsiteX5" fmla="*/ 389147 w 8497677"/>
              <a:gd name="connsiteY5" fmla="*/ 80513 h 1265207"/>
              <a:gd name="connsiteX6" fmla="*/ 538671 w 8497677"/>
              <a:gd name="connsiteY6" fmla="*/ 109268 h 1265207"/>
              <a:gd name="connsiteX7" fmla="*/ 642188 w 8497677"/>
              <a:gd name="connsiteY7" fmla="*/ 126521 h 1265207"/>
              <a:gd name="connsiteX8" fmla="*/ 705449 w 8497677"/>
              <a:gd name="connsiteY8" fmla="*/ 143773 h 1265207"/>
              <a:gd name="connsiteX9" fmla="*/ 745705 w 8497677"/>
              <a:gd name="connsiteY9" fmla="*/ 149524 h 1265207"/>
              <a:gd name="connsiteX10" fmla="*/ 837720 w 8497677"/>
              <a:gd name="connsiteY10" fmla="*/ 172528 h 1265207"/>
              <a:gd name="connsiteX11" fmla="*/ 883728 w 8497677"/>
              <a:gd name="connsiteY11" fmla="*/ 184030 h 1265207"/>
              <a:gd name="connsiteX12" fmla="*/ 969992 w 8497677"/>
              <a:gd name="connsiteY12" fmla="*/ 195532 h 1265207"/>
              <a:gd name="connsiteX13" fmla="*/ 1217283 w 8497677"/>
              <a:gd name="connsiteY13" fmla="*/ 241539 h 1265207"/>
              <a:gd name="connsiteX14" fmla="*/ 1309298 w 8497677"/>
              <a:gd name="connsiteY14" fmla="*/ 253041 h 1265207"/>
              <a:gd name="connsiteX15" fmla="*/ 1361056 w 8497677"/>
              <a:gd name="connsiteY15" fmla="*/ 258792 h 1265207"/>
              <a:gd name="connsiteX16" fmla="*/ 1395562 w 8497677"/>
              <a:gd name="connsiteY16" fmla="*/ 264543 h 1265207"/>
              <a:gd name="connsiteX17" fmla="*/ 1585343 w 8497677"/>
              <a:gd name="connsiteY17" fmla="*/ 276045 h 1265207"/>
              <a:gd name="connsiteX18" fmla="*/ 1815381 w 8497677"/>
              <a:gd name="connsiteY18" fmla="*/ 270294 h 1265207"/>
              <a:gd name="connsiteX19" fmla="*/ 1844135 w 8497677"/>
              <a:gd name="connsiteY19" fmla="*/ 264543 h 1265207"/>
              <a:gd name="connsiteX20" fmla="*/ 1907396 w 8497677"/>
              <a:gd name="connsiteY20" fmla="*/ 258792 h 1265207"/>
              <a:gd name="connsiteX21" fmla="*/ 1936151 w 8497677"/>
              <a:gd name="connsiteY21" fmla="*/ 253041 h 1265207"/>
              <a:gd name="connsiteX22" fmla="*/ 1982158 w 8497677"/>
              <a:gd name="connsiteY22" fmla="*/ 247290 h 1265207"/>
              <a:gd name="connsiteX23" fmla="*/ 2005162 w 8497677"/>
              <a:gd name="connsiteY23" fmla="*/ 235788 h 1265207"/>
              <a:gd name="connsiteX24" fmla="*/ 2028166 w 8497677"/>
              <a:gd name="connsiteY24" fmla="*/ 230037 h 1265207"/>
              <a:gd name="connsiteX25" fmla="*/ 2045418 w 8497677"/>
              <a:gd name="connsiteY25" fmla="*/ 224287 h 1265207"/>
              <a:gd name="connsiteX26" fmla="*/ 2091426 w 8497677"/>
              <a:gd name="connsiteY26" fmla="*/ 212785 h 1265207"/>
              <a:gd name="connsiteX27" fmla="*/ 2114430 w 8497677"/>
              <a:gd name="connsiteY27" fmla="*/ 207034 h 1265207"/>
              <a:gd name="connsiteX28" fmla="*/ 2143184 w 8497677"/>
              <a:gd name="connsiteY28" fmla="*/ 189781 h 1265207"/>
              <a:gd name="connsiteX29" fmla="*/ 2177690 w 8497677"/>
              <a:gd name="connsiteY29" fmla="*/ 178279 h 1265207"/>
              <a:gd name="connsiteX30" fmla="*/ 2194943 w 8497677"/>
              <a:gd name="connsiteY30" fmla="*/ 172528 h 1265207"/>
              <a:gd name="connsiteX31" fmla="*/ 2258203 w 8497677"/>
              <a:gd name="connsiteY31" fmla="*/ 155275 h 1265207"/>
              <a:gd name="connsiteX32" fmla="*/ 2309962 w 8497677"/>
              <a:gd name="connsiteY32" fmla="*/ 132271 h 1265207"/>
              <a:gd name="connsiteX33" fmla="*/ 2327215 w 8497677"/>
              <a:gd name="connsiteY33" fmla="*/ 126521 h 1265207"/>
              <a:gd name="connsiteX34" fmla="*/ 2350218 w 8497677"/>
              <a:gd name="connsiteY34" fmla="*/ 115019 h 1265207"/>
              <a:gd name="connsiteX35" fmla="*/ 2367471 w 8497677"/>
              <a:gd name="connsiteY35" fmla="*/ 109268 h 1265207"/>
              <a:gd name="connsiteX36" fmla="*/ 2390475 w 8497677"/>
              <a:gd name="connsiteY36" fmla="*/ 97766 h 1265207"/>
              <a:gd name="connsiteX37" fmla="*/ 2424981 w 8497677"/>
              <a:gd name="connsiteY37" fmla="*/ 92015 h 1265207"/>
              <a:gd name="connsiteX38" fmla="*/ 2459486 w 8497677"/>
              <a:gd name="connsiteY38" fmla="*/ 80513 h 1265207"/>
              <a:gd name="connsiteX39" fmla="*/ 2493992 w 8497677"/>
              <a:gd name="connsiteY39" fmla="*/ 74762 h 1265207"/>
              <a:gd name="connsiteX40" fmla="*/ 2516996 w 8497677"/>
              <a:gd name="connsiteY40" fmla="*/ 69011 h 1265207"/>
              <a:gd name="connsiteX41" fmla="*/ 2724030 w 8497677"/>
              <a:gd name="connsiteY41" fmla="*/ 63260 h 1265207"/>
              <a:gd name="connsiteX42" fmla="*/ 2908060 w 8497677"/>
              <a:gd name="connsiteY42" fmla="*/ 69011 h 1265207"/>
              <a:gd name="connsiteX43" fmla="*/ 2942566 w 8497677"/>
              <a:gd name="connsiteY43" fmla="*/ 86264 h 1265207"/>
              <a:gd name="connsiteX44" fmla="*/ 2982822 w 8497677"/>
              <a:gd name="connsiteY44" fmla="*/ 97766 h 1265207"/>
              <a:gd name="connsiteX45" fmla="*/ 3005826 w 8497677"/>
              <a:gd name="connsiteY45" fmla="*/ 109268 h 1265207"/>
              <a:gd name="connsiteX46" fmla="*/ 3028830 w 8497677"/>
              <a:gd name="connsiteY46" fmla="*/ 115019 h 1265207"/>
              <a:gd name="connsiteX47" fmla="*/ 3063335 w 8497677"/>
              <a:gd name="connsiteY47" fmla="*/ 126521 h 1265207"/>
              <a:gd name="connsiteX48" fmla="*/ 3080588 w 8497677"/>
              <a:gd name="connsiteY48" fmla="*/ 132271 h 1265207"/>
              <a:gd name="connsiteX49" fmla="*/ 3132347 w 8497677"/>
              <a:gd name="connsiteY49" fmla="*/ 138022 h 1265207"/>
              <a:gd name="connsiteX50" fmla="*/ 3195607 w 8497677"/>
              <a:gd name="connsiteY50" fmla="*/ 149524 h 1265207"/>
              <a:gd name="connsiteX51" fmla="*/ 3258868 w 8497677"/>
              <a:gd name="connsiteY51" fmla="*/ 155275 h 1265207"/>
              <a:gd name="connsiteX52" fmla="*/ 3327879 w 8497677"/>
              <a:gd name="connsiteY52" fmla="*/ 166777 h 1265207"/>
              <a:gd name="connsiteX53" fmla="*/ 3391139 w 8497677"/>
              <a:gd name="connsiteY53" fmla="*/ 172528 h 1265207"/>
              <a:gd name="connsiteX54" fmla="*/ 3454400 w 8497677"/>
              <a:gd name="connsiteY54" fmla="*/ 189781 h 1265207"/>
              <a:gd name="connsiteX55" fmla="*/ 3494656 w 8497677"/>
              <a:gd name="connsiteY55" fmla="*/ 201283 h 1265207"/>
              <a:gd name="connsiteX56" fmla="*/ 3517660 w 8497677"/>
              <a:gd name="connsiteY56" fmla="*/ 212785 h 1265207"/>
              <a:gd name="connsiteX57" fmla="*/ 3552166 w 8497677"/>
              <a:gd name="connsiteY57" fmla="*/ 218536 h 1265207"/>
              <a:gd name="connsiteX58" fmla="*/ 3580920 w 8497677"/>
              <a:gd name="connsiteY58" fmla="*/ 224287 h 1265207"/>
              <a:gd name="connsiteX59" fmla="*/ 3603924 w 8497677"/>
              <a:gd name="connsiteY59" fmla="*/ 230037 h 1265207"/>
              <a:gd name="connsiteX60" fmla="*/ 3782203 w 8497677"/>
              <a:gd name="connsiteY60" fmla="*/ 235788 h 1265207"/>
              <a:gd name="connsiteX61" fmla="*/ 3851215 w 8497677"/>
              <a:gd name="connsiteY61" fmla="*/ 241539 h 1265207"/>
              <a:gd name="connsiteX62" fmla="*/ 3874218 w 8497677"/>
              <a:gd name="connsiteY62" fmla="*/ 253041 h 1265207"/>
              <a:gd name="connsiteX63" fmla="*/ 3925977 w 8497677"/>
              <a:gd name="connsiteY63" fmla="*/ 276045 h 1265207"/>
              <a:gd name="connsiteX64" fmla="*/ 3977735 w 8497677"/>
              <a:gd name="connsiteY64" fmla="*/ 299049 h 1265207"/>
              <a:gd name="connsiteX65" fmla="*/ 4029494 w 8497677"/>
              <a:gd name="connsiteY65" fmla="*/ 322053 h 1265207"/>
              <a:gd name="connsiteX66" fmla="*/ 4052498 w 8497677"/>
              <a:gd name="connsiteY66" fmla="*/ 333554 h 1265207"/>
              <a:gd name="connsiteX67" fmla="*/ 4104256 w 8497677"/>
              <a:gd name="connsiteY67" fmla="*/ 350807 h 1265207"/>
              <a:gd name="connsiteX68" fmla="*/ 4121509 w 8497677"/>
              <a:gd name="connsiteY68" fmla="*/ 356558 h 1265207"/>
              <a:gd name="connsiteX69" fmla="*/ 4150264 w 8497677"/>
              <a:gd name="connsiteY69" fmla="*/ 373811 h 1265207"/>
              <a:gd name="connsiteX70" fmla="*/ 4190520 w 8497677"/>
              <a:gd name="connsiteY70" fmla="*/ 385313 h 1265207"/>
              <a:gd name="connsiteX71" fmla="*/ 4225026 w 8497677"/>
              <a:gd name="connsiteY71" fmla="*/ 396815 h 1265207"/>
              <a:gd name="connsiteX72" fmla="*/ 4265283 w 8497677"/>
              <a:gd name="connsiteY72" fmla="*/ 402566 h 1265207"/>
              <a:gd name="connsiteX73" fmla="*/ 4420558 w 8497677"/>
              <a:gd name="connsiteY73" fmla="*/ 414068 h 1265207"/>
              <a:gd name="connsiteX74" fmla="*/ 4610339 w 8497677"/>
              <a:gd name="connsiteY74" fmla="*/ 425570 h 1265207"/>
              <a:gd name="connsiteX75" fmla="*/ 4731109 w 8497677"/>
              <a:gd name="connsiteY75" fmla="*/ 437071 h 1265207"/>
              <a:gd name="connsiteX76" fmla="*/ 4869132 w 8497677"/>
              <a:gd name="connsiteY76" fmla="*/ 448573 h 1265207"/>
              <a:gd name="connsiteX77" fmla="*/ 4926641 w 8497677"/>
              <a:gd name="connsiteY77" fmla="*/ 454324 h 1265207"/>
              <a:gd name="connsiteX78" fmla="*/ 5110671 w 8497677"/>
              <a:gd name="connsiteY78" fmla="*/ 465826 h 1265207"/>
              <a:gd name="connsiteX79" fmla="*/ 5352211 w 8497677"/>
              <a:gd name="connsiteY79" fmla="*/ 477328 h 1265207"/>
              <a:gd name="connsiteX80" fmla="*/ 5657011 w 8497677"/>
              <a:gd name="connsiteY80" fmla="*/ 471577 h 1265207"/>
              <a:gd name="connsiteX81" fmla="*/ 5697268 w 8497677"/>
              <a:gd name="connsiteY81" fmla="*/ 460075 h 1265207"/>
              <a:gd name="connsiteX82" fmla="*/ 5749026 w 8497677"/>
              <a:gd name="connsiteY82" fmla="*/ 448573 h 1265207"/>
              <a:gd name="connsiteX83" fmla="*/ 5777781 w 8497677"/>
              <a:gd name="connsiteY83" fmla="*/ 442822 h 1265207"/>
              <a:gd name="connsiteX84" fmla="*/ 5806535 w 8497677"/>
              <a:gd name="connsiteY84" fmla="*/ 431321 h 1265207"/>
              <a:gd name="connsiteX85" fmla="*/ 5869796 w 8497677"/>
              <a:gd name="connsiteY85" fmla="*/ 419819 h 1265207"/>
              <a:gd name="connsiteX86" fmla="*/ 5915803 w 8497677"/>
              <a:gd name="connsiteY86" fmla="*/ 408317 h 1265207"/>
              <a:gd name="connsiteX87" fmla="*/ 5979064 w 8497677"/>
              <a:gd name="connsiteY87" fmla="*/ 391064 h 1265207"/>
              <a:gd name="connsiteX88" fmla="*/ 5996317 w 8497677"/>
              <a:gd name="connsiteY88" fmla="*/ 379562 h 1265207"/>
              <a:gd name="connsiteX89" fmla="*/ 6036573 w 8497677"/>
              <a:gd name="connsiteY89" fmla="*/ 368060 h 1265207"/>
              <a:gd name="connsiteX90" fmla="*/ 6099834 w 8497677"/>
              <a:gd name="connsiteY90" fmla="*/ 345056 h 1265207"/>
              <a:gd name="connsiteX91" fmla="*/ 6134339 w 8497677"/>
              <a:gd name="connsiteY91" fmla="*/ 333554 h 1265207"/>
              <a:gd name="connsiteX92" fmla="*/ 6157343 w 8497677"/>
              <a:gd name="connsiteY92" fmla="*/ 322053 h 1265207"/>
              <a:gd name="connsiteX93" fmla="*/ 6203351 w 8497677"/>
              <a:gd name="connsiteY93" fmla="*/ 316302 h 1265207"/>
              <a:gd name="connsiteX94" fmla="*/ 6255109 w 8497677"/>
              <a:gd name="connsiteY94" fmla="*/ 304800 h 1265207"/>
              <a:gd name="connsiteX95" fmla="*/ 6283864 w 8497677"/>
              <a:gd name="connsiteY95" fmla="*/ 299049 h 1265207"/>
              <a:gd name="connsiteX96" fmla="*/ 6318369 w 8497677"/>
              <a:gd name="connsiteY96" fmla="*/ 293298 h 1265207"/>
              <a:gd name="connsiteX97" fmla="*/ 6473645 w 8497677"/>
              <a:gd name="connsiteY97" fmla="*/ 287547 h 1265207"/>
              <a:gd name="connsiteX98" fmla="*/ 7273026 w 8497677"/>
              <a:gd name="connsiteY98" fmla="*/ 281796 h 1265207"/>
              <a:gd name="connsiteX99" fmla="*/ 7330535 w 8497677"/>
              <a:gd name="connsiteY99" fmla="*/ 276045 h 1265207"/>
              <a:gd name="connsiteX100" fmla="*/ 7468558 w 8497677"/>
              <a:gd name="connsiteY100" fmla="*/ 247290 h 1265207"/>
              <a:gd name="connsiteX101" fmla="*/ 7491562 w 8497677"/>
              <a:gd name="connsiteY101" fmla="*/ 241539 h 1265207"/>
              <a:gd name="connsiteX102" fmla="*/ 7514566 w 8497677"/>
              <a:gd name="connsiteY102" fmla="*/ 230037 h 1265207"/>
              <a:gd name="connsiteX103" fmla="*/ 7537569 w 8497677"/>
              <a:gd name="connsiteY103" fmla="*/ 224287 h 1265207"/>
              <a:gd name="connsiteX104" fmla="*/ 7572075 w 8497677"/>
              <a:gd name="connsiteY104" fmla="*/ 212785 h 1265207"/>
              <a:gd name="connsiteX105" fmla="*/ 7589328 w 8497677"/>
              <a:gd name="connsiteY105" fmla="*/ 207034 h 1265207"/>
              <a:gd name="connsiteX106" fmla="*/ 7612332 w 8497677"/>
              <a:gd name="connsiteY106" fmla="*/ 201283 h 1265207"/>
              <a:gd name="connsiteX107" fmla="*/ 7641086 w 8497677"/>
              <a:gd name="connsiteY107" fmla="*/ 184030 h 1265207"/>
              <a:gd name="connsiteX108" fmla="*/ 7675592 w 8497677"/>
              <a:gd name="connsiteY108" fmla="*/ 172528 h 1265207"/>
              <a:gd name="connsiteX109" fmla="*/ 7715849 w 8497677"/>
              <a:gd name="connsiteY109" fmla="*/ 155275 h 1265207"/>
              <a:gd name="connsiteX110" fmla="*/ 7738852 w 8497677"/>
              <a:gd name="connsiteY110" fmla="*/ 143773 h 1265207"/>
              <a:gd name="connsiteX111" fmla="*/ 7756105 w 8497677"/>
              <a:gd name="connsiteY111" fmla="*/ 138022 h 1265207"/>
              <a:gd name="connsiteX112" fmla="*/ 7784860 w 8497677"/>
              <a:gd name="connsiteY112" fmla="*/ 126521 h 1265207"/>
              <a:gd name="connsiteX113" fmla="*/ 7830868 w 8497677"/>
              <a:gd name="connsiteY113" fmla="*/ 103517 h 1265207"/>
              <a:gd name="connsiteX114" fmla="*/ 7859622 w 8497677"/>
              <a:gd name="connsiteY114" fmla="*/ 97766 h 1265207"/>
              <a:gd name="connsiteX115" fmla="*/ 7876875 w 8497677"/>
              <a:gd name="connsiteY115" fmla="*/ 92015 h 1265207"/>
              <a:gd name="connsiteX116" fmla="*/ 7899879 w 8497677"/>
              <a:gd name="connsiteY116" fmla="*/ 86264 h 1265207"/>
              <a:gd name="connsiteX117" fmla="*/ 7917132 w 8497677"/>
              <a:gd name="connsiteY117" fmla="*/ 74762 h 1265207"/>
              <a:gd name="connsiteX118" fmla="*/ 7945886 w 8497677"/>
              <a:gd name="connsiteY118" fmla="*/ 69011 h 1265207"/>
              <a:gd name="connsiteX119" fmla="*/ 7991894 w 8497677"/>
              <a:gd name="connsiteY119" fmla="*/ 57509 h 1265207"/>
              <a:gd name="connsiteX120" fmla="*/ 8020649 w 8497677"/>
              <a:gd name="connsiteY120" fmla="*/ 51758 h 1265207"/>
              <a:gd name="connsiteX121" fmla="*/ 8083909 w 8497677"/>
              <a:gd name="connsiteY121" fmla="*/ 34505 h 1265207"/>
              <a:gd name="connsiteX122" fmla="*/ 8147169 w 8497677"/>
              <a:gd name="connsiteY122" fmla="*/ 28754 h 1265207"/>
              <a:gd name="connsiteX123" fmla="*/ 8216181 w 8497677"/>
              <a:gd name="connsiteY123" fmla="*/ 34505 h 1265207"/>
              <a:gd name="connsiteX124" fmla="*/ 8313947 w 8497677"/>
              <a:gd name="connsiteY124" fmla="*/ 23004 h 1265207"/>
              <a:gd name="connsiteX125" fmla="*/ 8377207 w 8497677"/>
              <a:gd name="connsiteY125" fmla="*/ 5751 h 1265207"/>
              <a:gd name="connsiteX126" fmla="*/ 8492226 w 8497677"/>
              <a:gd name="connsiteY126" fmla="*/ 0 h 1265207"/>
              <a:gd name="connsiteX127" fmla="*/ 8492226 w 8497677"/>
              <a:gd name="connsiteY127" fmla="*/ 1265207 h 1265207"/>
              <a:gd name="connsiteX0" fmla="*/ 1158718 w 8497677"/>
              <a:gd name="connsiteY0" fmla="*/ 1241989 h 1265207"/>
              <a:gd name="connsiteX1" fmla="*/ 147607 w 8497677"/>
              <a:gd name="connsiteY1" fmla="*/ 28754 h 1265207"/>
              <a:gd name="connsiteX2" fmla="*/ 233871 w 8497677"/>
              <a:gd name="connsiteY2" fmla="*/ 46007 h 1265207"/>
              <a:gd name="connsiteX3" fmla="*/ 320135 w 8497677"/>
              <a:gd name="connsiteY3" fmla="*/ 69011 h 1265207"/>
              <a:gd name="connsiteX4" fmla="*/ 371894 w 8497677"/>
              <a:gd name="connsiteY4" fmla="*/ 74762 h 1265207"/>
              <a:gd name="connsiteX5" fmla="*/ 389147 w 8497677"/>
              <a:gd name="connsiteY5" fmla="*/ 80513 h 1265207"/>
              <a:gd name="connsiteX6" fmla="*/ 538671 w 8497677"/>
              <a:gd name="connsiteY6" fmla="*/ 109268 h 1265207"/>
              <a:gd name="connsiteX7" fmla="*/ 642188 w 8497677"/>
              <a:gd name="connsiteY7" fmla="*/ 126521 h 1265207"/>
              <a:gd name="connsiteX8" fmla="*/ 705449 w 8497677"/>
              <a:gd name="connsiteY8" fmla="*/ 143773 h 1265207"/>
              <a:gd name="connsiteX9" fmla="*/ 745705 w 8497677"/>
              <a:gd name="connsiteY9" fmla="*/ 149524 h 1265207"/>
              <a:gd name="connsiteX10" fmla="*/ 837720 w 8497677"/>
              <a:gd name="connsiteY10" fmla="*/ 172528 h 1265207"/>
              <a:gd name="connsiteX11" fmla="*/ 883728 w 8497677"/>
              <a:gd name="connsiteY11" fmla="*/ 184030 h 1265207"/>
              <a:gd name="connsiteX12" fmla="*/ 969992 w 8497677"/>
              <a:gd name="connsiteY12" fmla="*/ 195532 h 1265207"/>
              <a:gd name="connsiteX13" fmla="*/ 1217283 w 8497677"/>
              <a:gd name="connsiteY13" fmla="*/ 241539 h 1265207"/>
              <a:gd name="connsiteX14" fmla="*/ 1309298 w 8497677"/>
              <a:gd name="connsiteY14" fmla="*/ 253041 h 1265207"/>
              <a:gd name="connsiteX15" fmla="*/ 1361056 w 8497677"/>
              <a:gd name="connsiteY15" fmla="*/ 258792 h 1265207"/>
              <a:gd name="connsiteX16" fmla="*/ 1395562 w 8497677"/>
              <a:gd name="connsiteY16" fmla="*/ 264543 h 1265207"/>
              <a:gd name="connsiteX17" fmla="*/ 1585343 w 8497677"/>
              <a:gd name="connsiteY17" fmla="*/ 276045 h 1265207"/>
              <a:gd name="connsiteX18" fmla="*/ 1815381 w 8497677"/>
              <a:gd name="connsiteY18" fmla="*/ 270294 h 1265207"/>
              <a:gd name="connsiteX19" fmla="*/ 1844135 w 8497677"/>
              <a:gd name="connsiteY19" fmla="*/ 264543 h 1265207"/>
              <a:gd name="connsiteX20" fmla="*/ 1907396 w 8497677"/>
              <a:gd name="connsiteY20" fmla="*/ 258792 h 1265207"/>
              <a:gd name="connsiteX21" fmla="*/ 1936151 w 8497677"/>
              <a:gd name="connsiteY21" fmla="*/ 253041 h 1265207"/>
              <a:gd name="connsiteX22" fmla="*/ 1982158 w 8497677"/>
              <a:gd name="connsiteY22" fmla="*/ 247290 h 1265207"/>
              <a:gd name="connsiteX23" fmla="*/ 2005162 w 8497677"/>
              <a:gd name="connsiteY23" fmla="*/ 235788 h 1265207"/>
              <a:gd name="connsiteX24" fmla="*/ 2028166 w 8497677"/>
              <a:gd name="connsiteY24" fmla="*/ 230037 h 1265207"/>
              <a:gd name="connsiteX25" fmla="*/ 2045418 w 8497677"/>
              <a:gd name="connsiteY25" fmla="*/ 224287 h 1265207"/>
              <a:gd name="connsiteX26" fmla="*/ 2091426 w 8497677"/>
              <a:gd name="connsiteY26" fmla="*/ 212785 h 1265207"/>
              <a:gd name="connsiteX27" fmla="*/ 2114430 w 8497677"/>
              <a:gd name="connsiteY27" fmla="*/ 207034 h 1265207"/>
              <a:gd name="connsiteX28" fmla="*/ 2143184 w 8497677"/>
              <a:gd name="connsiteY28" fmla="*/ 189781 h 1265207"/>
              <a:gd name="connsiteX29" fmla="*/ 2177690 w 8497677"/>
              <a:gd name="connsiteY29" fmla="*/ 178279 h 1265207"/>
              <a:gd name="connsiteX30" fmla="*/ 2194943 w 8497677"/>
              <a:gd name="connsiteY30" fmla="*/ 172528 h 1265207"/>
              <a:gd name="connsiteX31" fmla="*/ 2258203 w 8497677"/>
              <a:gd name="connsiteY31" fmla="*/ 155275 h 1265207"/>
              <a:gd name="connsiteX32" fmla="*/ 2309962 w 8497677"/>
              <a:gd name="connsiteY32" fmla="*/ 132271 h 1265207"/>
              <a:gd name="connsiteX33" fmla="*/ 2327215 w 8497677"/>
              <a:gd name="connsiteY33" fmla="*/ 126521 h 1265207"/>
              <a:gd name="connsiteX34" fmla="*/ 2350218 w 8497677"/>
              <a:gd name="connsiteY34" fmla="*/ 115019 h 1265207"/>
              <a:gd name="connsiteX35" fmla="*/ 2367471 w 8497677"/>
              <a:gd name="connsiteY35" fmla="*/ 109268 h 1265207"/>
              <a:gd name="connsiteX36" fmla="*/ 2390475 w 8497677"/>
              <a:gd name="connsiteY36" fmla="*/ 97766 h 1265207"/>
              <a:gd name="connsiteX37" fmla="*/ 2424981 w 8497677"/>
              <a:gd name="connsiteY37" fmla="*/ 92015 h 1265207"/>
              <a:gd name="connsiteX38" fmla="*/ 2459486 w 8497677"/>
              <a:gd name="connsiteY38" fmla="*/ 80513 h 1265207"/>
              <a:gd name="connsiteX39" fmla="*/ 2493992 w 8497677"/>
              <a:gd name="connsiteY39" fmla="*/ 74762 h 1265207"/>
              <a:gd name="connsiteX40" fmla="*/ 2516996 w 8497677"/>
              <a:gd name="connsiteY40" fmla="*/ 69011 h 1265207"/>
              <a:gd name="connsiteX41" fmla="*/ 2724030 w 8497677"/>
              <a:gd name="connsiteY41" fmla="*/ 63260 h 1265207"/>
              <a:gd name="connsiteX42" fmla="*/ 2908060 w 8497677"/>
              <a:gd name="connsiteY42" fmla="*/ 69011 h 1265207"/>
              <a:gd name="connsiteX43" fmla="*/ 2942566 w 8497677"/>
              <a:gd name="connsiteY43" fmla="*/ 86264 h 1265207"/>
              <a:gd name="connsiteX44" fmla="*/ 2982822 w 8497677"/>
              <a:gd name="connsiteY44" fmla="*/ 97766 h 1265207"/>
              <a:gd name="connsiteX45" fmla="*/ 3005826 w 8497677"/>
              <a:gd name="connsiteY45" fmla="*/ 109268 h 1265207"/>
              <a:gd name="connsiteX46" fmla="*/ 3028830 w 8497677"/>
              <a:gd name="connsiteY46" fmla="*/ 115019 h 1265207"/>
              <a:gd name="connsiteX47" fmla="*/ 3063335 w 8497677"/>
              <a:gd name="connsiteY47" fmla="*/ 126521 h 1265207"/>
              <a:gd name="connsiteX48" fmla="*/ 3080588 w 8497677"/>
              <a:gd name="connsiteY48" fmla="*/ 132271 h 1265207"/>
              <a:gd name="connsiteX49" fmla="*/ 3132347 w 8497677"/>
              <a:gd name="connsiteY49" fmla="*/ 138022 h 1265207"/>
              <a:gd name="connsiteX50" fmla="*/ 3195607 w 8497677"/>
              <a:gd name="connsiteY50" fmla="*/ 149524 h 1265207"/>
              <a:gd name="connsiteX51" fmla="*/ 3258868 w 8497677"/>
              <a:gd name="connsiteY51" fmla="*/ 155275 h 1265207"/>
              <a:gd name="connsiteX52" fmla="*/ 3327879 w 8497677"/>
              <a:gd name="connsiteY52" fmla="*/ 166777 h 1265207"/>
              <a:gd name="connsiteX53" fmla="*/ 3391139 w 8497677"/>
              <a:gd name="connsiteY53" fmla="*/ 172528 h 1265207"/>
              <a:gd name="connsiteX54" fmla="*/ 3454400 w 8497677"/>
              <a:gd name="connsiteY54" fmla="*/ 189781 h 1265207"/>
              <a:gd name="connsiteX55" fmla="*/ 3494656 w 8497677"/>
              <a:gd name="connsiteY55" fmla="*/ 201283 h 1265207"/>
              <a:gd name="connsiteX56" fmla="*/ 3517660 w 8497677"/>
              <a:gd name="connsiteY56" fmla="*/ 212785 h 1265207"/>
              <a:gd name="connsiteX57" fmla="*/ 3552166 w 8497677"/>
              <a:gd name="connsiteY57" fmla="*/ 218536 h 1265207"/>
              <a:gd name="connsiteX58" fmla="*/ 3580920 w 8497677"/>
              <a:gd name="connsiteY58" fmla="*/ 224287 h 1265207"/>
              <a:gd name="connsiteX59" fmla="*/ 3603924 w 8497677"/>
              <a:gd name="connsiteY59" fmla="*/ 230037 h 1265207"/>
              <a:gd name="connsiteX60" fmla="*/ 3782203 w 8497677"/>
              <a:gd name="connsiteY60" fmla="*/ 235788 h 1265207"/>
              <a:gd name="connsiteX61" fmla="*/ 3851215 w 8497677"/>
              <a:gd name="connsiteY61" fmla="*/ 241539 h 1265207"/>
              <a:gd name="connsiteX62" fmla="*/ 3874218 w 8497677"/>
              <a:gd name="connsiteY62" fmla="*/ 253041 h 1265207"/>
              <a:gd name="connsiteX63" fmla="*/ 3925977 w 8497677"/>
              <a:gd name="connsiteY63" fmla="*/ 276045 h 1265207"/>
              <a:gd name="connsiteX64" fmla="*/ 3977735 w 8497677"/>
              <a:gd name="connsiteY64" fmla="*/ 299049 h 1265207"/>
              <a:gd name="connsiteX65" fmla="*/ 4029494 w 8497677"/>
              <a:gd name="connsiteY65" fmla="*/ 322053 h 1265207"/>
              <a:gd name="connsiteX66" fmla="*/ 4052498 w 8497677"/>
              <a:gd name="connsiteY66" fmla="*/ 333554 h 1265207"/>
              <a:gd name="connsiteX67" fmla="*/ 4104256 w 8497677"/>
              <a:gd name="connsiteY67" fmla="*/ 350807 h 1265207"/>
              <a:gd name="connsiteX68" fmla="*/ 4121509 w 8497677"/>
              <a:gd name="connsiteY68" fmla="*/ 356558 h 1265207"/>
              <a:gd name="connsiteX69" fmla="*/ 4150264 w 8497677"/>
              <a:gd name="connsiteY69" fmla="*/ 373811 h 1265207"/>
              <a:gd name="connsiteX70" fmla="*/ 4190520 w 8497677"/>
              <a:gd name="connsiteY70" fmla="*/ 385313 h 1265207"/>
              <a:gd name="connsiteX71" fmla="*/ 4225026 w 8497677"/>
              <a:gd name="connsiteY71" fmla="*/ 396815 h 1265207"/>
              <a:gd name="connsiteX72" fmla="*/ 4265283 w 8497677"/>
              <a:gd name="connsiteY72" fmla="*/ 402566 h 1265207"/>
              <a:gd name="connsiteX73" fmla="*/ 4420558 w 8497677"/>
              <a:gd name="connsiteY73" fmla="*/ 414068 h 1265207"/>
              <a:gd name="connsiteX74" fmla="*/ 4610339 w 8497677"/>
              <a:gd name="connsiteY74" fmla="*/ 425570 h 1265207"/>
              <a:gd name="connsiteX75" fmla="*/ 4731109 w 8497677"/>
              <a:gd name="connsiteY75" fmla="*/ 437071 h 1265207"/>
              <a:gd name="connsiteX76" fmla="*/ 4869132 w 8497677"/>
              <a:gd name="connsiteY76" fmla="*/ 448573 h 1265207"/>
              <a:gd name="connsiteX77" fmla="*/ 4926641 w 8497677"/>
              <a:gd name="connsiteY77" fmla="*/ 454324 h 1265207"/>
              <a:gd name="connsiteX78" fmla="*/ 5110671 w 8497677"/>
              <a:gd name="connsiteY78" fmla="*/ 465826 h 1265207"/>
              <a:gd name="connsiteX79" fmla="*/ 5352211 w 8497677"/>
              <a:gd name="connsiteY79" fmla="*/ 477328 h 1265207"/>
              <a:gd name="connsiteX80" fmla="*/ 5657011 w 8497677"/>
              <a:gd name="connsiteY80" fmla="*/ 471577 h 1265207"/>
              <a:gd name="connsiteX81" fmla="*/ 5697268 w 8497677"/>
              <a:gd name="connsiteY81" fmla="*/ 460075 h 1265207"/>
              <a:gd name="connsiteX82" fmla="*/ 5749026 w 8497677"/>
              <a:gd name="connsiteY82" fmla="*/ 448573 h 1265207"/>
              <a:gd name="connsiteX83" fmla="*/ 5777781 w 8497677"/>
              <a:gd name="connsiteY83" fmla="*/ 442822 h 1265207"/>
              <a:gd name="connsiteX84" fmla="*/ 5806535 w 8497677"/>
              <a:gd name="connsiteY84" fmla="*/ 431321 h 1265207"/>
              <a:gd name="connsiteX85" fmla="*/ 5869796 w 8497677"/>
              <a:gd name="connsiteY85" fmla="*/ 419819 h 1265207"/>
              <a:gd name="connsiteX86" fmla="*/ 5915803 w 8497677"/>
              <a:gd name="connsiteY86" fmla="*/ 408317 h 1265207"/>
              <a:gd name="connsiteX87" fmla="*/ 5979064 w 8497677"/>
              <a:gd name="connsiteY87" fmla="*/ 391064 h 1265207"/>
              <a:gd name="connsiteX88" fmla="*/ 5996317 w 8497677"/>
              <a:gd name="connsiteY88" fmla="*/ 379562 h 1265207"/>
              <a:gd name="connsiteX89" fmla="*/ 6036573 w 8497677"/>
              <a:gd name="connsiteY89" fmla="*/ 368060 h 1265207"/>
              <a:gd name="connsiteX90" fmla="*/ 6099834 w 8497677"/>
              <a:gd name="connsiteY90" fmla="*/ 345056 h 1265207"/>
              <a:gd name="connsiteX91" fmla="*/ 6134339 w 8497677"/>
              <a:gd name="connsiteY91" fmla="*/ 333554 h 1265207"/>
              <a:gd name="connsiteX92" fmla="*/ 6157343 w 8497677"/>
              <a:gd name="connsiteY92" fmla="*/ 322053 h 1265207"/>
              <a:gd name="connsiteX93" fmla="*/ 6203351 w 8497677"/>
              <a:gd name="connsiteY93" fmla="*/ 316302 h 1265207"/>
              <a:gd name="connsiteX94" fmla="*/ 6255109 w 8497677"/>
              <a:gd name="connsiteY94" fmla="*/ 304800 h 1265207"/>
              <a:gd name="connsiteX95" fmla="*/ 6283864 w 8497677"/>
              <a:gd name="connsiteY95" fmla="*/ 299049 h 1265207"/>
              <a:gd name="connsiteX96" fmla="*/ 6318369 w 8497677"/>
              <a:gd name="connsiteY96" fmla="*/ 293298 h 1265207"/>
              <a:gd name="connsiteX97" fmla="*/ 6473645 w 8497677"/>
              <a:gd name="connsiteY97" fmla="*/ 287547 h 1265207"/>
              <a:gd name="connsiteX98" fmla="*/ 7273026 w 8497677"/>
              <a:gd name="connsiteY98" fmla="*/ 281796 h 1265207"/>
              <a:gd name="connsiteX99" fmla="*/ 7330535 w 8497677"/>
              <a:gd name="connsiteY99" fmla="*/ 276045 h 1265207"/>
              <a:gd name="connsiteX100" fmla="*/ 7468558 w 8497677"/>
              <a:gd name="connsiteY100" fmla="*/ 247290 h 1265207"/>
              <a:gd name="connsiteX101" fmla="*/ 7491562 w 8497677"/>
              <a:gd name="connsiteY101" fmla="*/ 241539 h 1265207"/>
              <a:gd name="connsiteX102" fmla="*/ 7514566 w 8497677"/>
              <a:gd name="connsiteY102" fmla="*/ 230037 h 1265207"/>
              <a:gd name="connsiteX103" fmla="*/ 7537569 w 8497677"/>
              <a:gd name="connsiteY103" fmla="*/ 224287 h 1265207"/>
              <a:gd name="connsiteX104" fmla="*/ 7572075 w 8497677"/>
              <a:gd name="connsiteY104" fmla="*/ 212785 h 1265207"/>
              <a:gd name="connsiteX105" fmla="*/ 7589328 w 8497677"/>
              <a:gd name="connsiteY105" fmla="*/ 207034 h 1265207"/>
              <a:gd name="connsiteX106" fmla="*/ 7612332 w 8497677"/>
              <a:gd name="connsiteY106" fmla="*/ 201283 h 1265207"/>
              <a:gd name="connsiteX107" fmla="*/ 7641086 w 8497677"/>
              <a:gd name="connsiteY107" fmla="*/ 184030 h 1265207"/>
              <a:gd name="connsiteX108" fmla="*/ 7675592 w 8497677"/>
              <a:gd name="connsiteY108" fmla="*/ 172528 h 1265207"/>
              <a:gd name="connsiteX109" fmla="*/ 7715849 w 8497677"/>
              <a:gd name="connsiteY109" fmla="*/ 155275 h 1265207"/>
              <a:gd name="connsiteX110" fmla="*/ 7738852 w 8497677"/>
              <a:gd name="connsiteY110" fmla="*/ 143773 h 1265207"/>
              <a:gd name="connsiteX111" fmla="*/ 7756105 w 8497677"/>
              <a:gd name="connsiteY111" fmla="*/ 138022 h 1265207"/>
              <a:gd name="connsiteX112" fmla="*/ 7784860 w 8497677"/>
              <a:gd name="connsiteY112" fmla="*/ 126521 h 1265207"/>
              <a:gd name="connsiteX113" fmla="*/ 7830868 w 8497677"/>
              <a:gd name="connsiteY113" fmla="*/ 103517 h 1265207"/>
              <a:gd name="connsiteX114" fmla="*/ 7859622 w 8497677"/>
              <a:gd name="connsiteY114" fmla="*/ 97766 h 1265207"/>
              <a:gd name="connsiteX115" fmla="*/ 7876875 w 8497677"/>
              <a:gd name="connsiteY115" fmla="*/ 92015 h 1265207"/>
              <a:gd name="connsiteX116" fmla="*/ 7899879 w 8497677"/>
              <a:gd name="connsiteY116" fmla="*/ 86264 h 1265207"/>
              <a:gd name="connsiteX117" fmla="*/ 7917132 w 8497677"/>
              <a:gd name="connsiteY117" fmla="*/ 74762 h 1265207"/>
              <a:gd name="connsiteX118" fmla="*/ 7945886 w 8497677"/>
              <a:gd name="connsiteY118" fmla="*/ 69011 h 1265207"/>
              <a:gd name="connsiteX119" fmla="*/ 7991894 w 8497677"/>
              <a:gd name="connsiteY119" fmla="*/ 57509 h 1265207"/>
              <a:gd name="connsiteX120" fmla="*/ 8020649 w 8497677"/>
              <a:gd name="connsiteY120" fmla="*/ 51758 h 1265207"/>
              <a:gd name="connsiteX121" fmla="*/ 8083909 w 8497677"/>
              <a:gd name="connsiteY121" fmla="*/ 34505 h 1265207"/>
              <a:gd name="connsiteX122" fmla="*/ 8147169 w 8497677"/>
              <a:gd name="connsiteY122" fmla="*/ 28754 h 1265207"/>
              <a:gd name="connsiteX123" fmla="*/ 8216181 w 8497677"/>
              <a:gd name="connsiteY123" fmla="*/ 34505 h 1265207"/>
              <a:gd name="connsiteX124" fmla="*/ 8313947 w 8497677"/>
              <a:gd name="connsiteY124" fmla="*/ 23004 h 1265207"/>
              <a:gd name="connsiteX125" fmla="*/ 8377207 w 8497677"/>
              <a:gd name="connsiteY125" fmla="*/ 5751 h 1265207"/>
              <a:gd name="connsiteX126" fmla="*/ 8492226 w 8497677"/>
              <a:gd name="connsiteY126" fmla="*/ 0 h 1265207"/>
              <a:gd name="connsiteX127" fmla="*/ 8492226 w 8497677"/>
              <a:gd name="connsiteY127" fmla="*/ 1265207 h 1265207"/>
              <a:gd name="connsiteX0" fmla="*/ 945212 w 8284171"/>
              <a:gd name="connsiteY0" fmla="*/ 1241989 h 1265207"/>
              <a:gd name="connsiteX1" fmla="*/ 20365 w 8284171"/>
              <a:gd name="connsiteY1" fmla="*/ 46007 h 1265207"/>
              <a:gd name="connsiteX2" fmla="*/ 106629 w 8284171"/>
              <a:gd name="connsiteY2" fmla="*/ 69011 h 1265207"/>
              <a:gd name="connsiteX3" fmla="*/ 158388 w 8284171"/>
              <a:gd name="connsiteY3" fmla="*/ 74762 h 1265207"/>
              <a:gd name="connsiteX4" fmla="*/ 175641 w 8284171"/>
              <a:gd name="connsiteY4" fmla="*/ 80513 h 1265207"/>
              <a:gd name="connsiteX5" fmla="*/ 325165 w 8284171"/>
              <a:gd name="connsiteY5" fmla="*/ 109268 h 1265207"/>
              <a:gd name="connsiteX6" fmla="*/ 428682 w 8284171"/>
              <a:gd name="connsiteY6" fmla="*/ 126521 h 1265207"/>
              <a:gd name="connsiteX7" fmla="*/ 491943 w 8284171"/>
              <a:gd name="connsiteY7" fmla="*/ 143773 h 1265207"/>
              <a:gd name="connsiteX8" fmla="*/ 532199 w 8284171"/>
              <a:gd name="connsiteY8" fmla="*/ 149524 h 1265207"/>
              <a:gd name="connsiteX9" fmla="*/ 624214 w 8284171"/>
              <a:gd name="connsiteY9" fmla="*/ 172528 h 1265207"/>
              <a:gd name="connsiteX10" fmla="*/ 670222 w 8284171"/>
              <a:gd name="connsiteY10" fmla="*/ 184030 h 1265207"/>
              <a:gd name="connsiteX11" fmla="*/ 756486 w 8284171"/>
              <a:gd name="connsiteY11" fmla="*/ 195532 h 1265207"/>
              <a:gd name="connsiteX12" fmla="*/ 1003777 w 8284171"/>
              <a:gd name="connsiteY12" fmla="*/ 241539 h 1265207"/>
              <a:gd name="connsiteX13" fmla="*/ 1095792 w 8284171"/>
              <a:gd name="connsiteY13" fmla="*/ 253041 h 1265207"/>
              <a:gd name="connsiteX14" fmla="*/ 1147550 w 8284171"/>
              <a:gd name="connsiteY14" fmla="*/ 258792 h 1265207"/>
              <a:gd name="connsiteX15" fmla="*/ 1182056 w 8284171"/>
              <a:gd name="connsiteY15" fmla="*/ 264543 h 1265207"/>
              <a:gd name="connsiteX16" fmla="*/ 1371837 w 8284171"/>
              <a:gd name="connsiteY16" fmla="*/ 276045 h 1265207"/>
              <a:gd name="connsiteX17" fmla="*/ 1601875 w 8284171"/>
              <a:gd name="connsiteY17" fmla="*/ 270294 h 1265207"/>
              <a:gd name="connsiteX18" fmla="*/ 1630629 w 8284171"/>
              <a:gd name="connsiteY18" fmla="*/ 264543 h 1265207"/>
              <a:gd name="connsiteX19" fmla="*/ 1693890 w 8284171"/>
              <a:gd name="connsiteY19" fmla="*/ 258792 h 1265207"/>
              <a:gd name="connsiteX20" fmla="*/ 1722645 w 8284171"/>
              <a:gd name="connsiteY20" fmla="*/ 253041 h 1265207"/>
              <a:gd name="connsiteX21" fmla="*/ 1768652 w 8284171"/>
              <a:gd name="connsiteY21" fmla="*/ 247290 h 1265207"/>
              <a:gd name="connsiteX22" fmla="*/ 1791656 w 8284171"/>
              <a:gd name="connsiteY22" fmla="*/ 235788 h 1265207"/>
              <a:gd name="connsiteX23" fmla="*/ 1814660 w 8284171"/>
              <a:gd name="connsiteY23" fmla="*/ 230037 h 1265207"/>
              <a:gd name="connsiteX24" fmla="*/ 1831912 w 8284171"/>
              <a:gd name="connsiteY24" fmla="*/ 224287 h 1265207"/>
              <a:gd name="connsiteX25" fmla="*/ 1877920 w 8284171"/>
              <a:gd name="connsiteY25" fmla="*/ 212785 h 1265207"/>
              <a:gd name="connsiteX26" fmla="*/ 1900924 w 8284171"/>
              <a:gd name="connsiteY26" fmla="*/ 207034 h 1265207"/>
              <a:gd name="connsiteX27" fmla="*/ 1929678 w 8284171"/>
              <a:gd name="connsiteY27" fmla="*/ 189781 h 1265207"/>
              <a:gd name="connsiteX28" fmla="*/ 1964184 w 8284171"/>
              <a:gd name="connsiteY28" fmla="*/ 178279 h 1265207"/>
              <a:gd name="connsiteX29" fmla="*/ 1981437 w 8284171"/>
              <a:gd name="connsiteY29" fmla="*/ 172528 h 1265207"/>
              <a:gd name="connsiteX30" fmla="*/ 2044697 w 8284171"/>
              <a:gd name="connsiteY30" fmla="*/ 155275 h 1265207"/>
              <a:gd name="connsiteX31" fmla="*/ 2096456 w 8284171"/>
              <a:gd name="connsiteY31" fmla="*/ 132271 h 1265207"/>
              <a:gd name="connsiteX32" fmla="*/ 2113709 w 8284171"/>
              <a:gd name="connsiteY32" fmla="*/ 126521 h 1265207"/>
              <a:gd name="connsiteX33" fmla="*/ 2136712 w 8284171"/>
              <a:gd name="connsiteY33" fmla="*/ 115019 h 1265207"/>
              <a:gd name="connsiteX34" fmla="*/ 2153965 w 8284171"/>
              <a:gd name="connsiteY34" fmla="*/ 109268 h 1265207"/>
              <a:gd name="connsiteX35" fmla="*/ 2176969 w 8284171"/>
              <a:gd name="connsiteY35" fmla="*/ 97766 h 1265207"/>
              <a:gd name="connsiteX36" fmla="*/ 2211475 w 8284171"/>
              <a:gd name="connsiteY36" fmla="*/ 92015 h 1265207"/>
              <a:gd name="connsiteX37" fmla="*/ 2245980 w 8284171"/>
              <a:gd name="connsiteY37" fmla="*/ 80513 h 1265207"/>
              <a:gd name="connsiteX38" fmla="*/ 2280486 w 8284171"/>
              <a:gd name="connsiteY38" fmla="*/ 74762 h 1265207"/>
              <a:gd name="connsiteX39" fmla="*/ 2303490 w 8284171"/>
              <a:gd name="connsiteY39" fmla="*/ 69011 h 1265207"/>
              <a:gd name="connsiteX40" fmla="*/ 2510524 w 8284171"/>
              <a:gd name="connsiteY40" fmla="*/ 63260 h 1265207"/>
              <a:gd name="connsiteX41" fmla="*/ 2694554 w 8284171"/>
              <a:gd name="connsiteY41" fmla="*/ 69011 h 1265207"/>
              <a:gd name="connsiteX42" fmla="*/ 2729060 w 8284171"/>
              <a:gd name="connsiteY42" fmla="*/ 86264 h 1265207"/>
              <a:gd name="connsiteX43" fmla="*/ 2769316 w 8284171"/>
              <a:gd name="connsiteY43" fmla="*/ 97766 h 1265207"/>
              <a:gd name="connsiteX44" fmla="*/ 2792320 w 8284171"/>
              <a:gd name="connsiteY44" fmla="*/ 109268 h 1265207"/>
              <a:gd name="connsiteX45" fmla="*/ 2815324 w 8284171"/>
              <a:gd name="connsiteY45" fmla="*/ 115019 h 1265207"/>
              <a:gd name="connsiteX46" fmla="*/ 2849829 w 8284171"/>
              <a:gd name="connsiteY46" fmla="*/ 126521 h 1265207"/>
              <a:gd name="connsiteX47" fmla="*/ 2867082 w 8284171"/>
              <a:gd name="connsiteY47" fmla="*/ 132271 h 1265207"/>
              <a:gd name="connsiteX48" fmla="*/ 2918841 w 8284171"/>
              <a:gd name="connsiteY48" fmla="*/ 138022 h 1265207"/>
              <a:gd name="connsiteX49" fmla="*/ 2982101 w 8284171"/>
              <a:gd name="connsiteY49" fmla="*/ 149524 h 1265207"/>
              <a:gd name="connsiteX50" fmla="*/ 3045362 w 8284171"/>
              <a:gd name="connsiteY50" fmla="*/ 155275 h 1265207"/>
              <a:gd name="connsiteX51" fmla="*/ 3114373 w 8284171"/>
              <a:gd name="connsiteY51" fmla="*/ 166777 h 1265207"/>
              <a:gd name="connsiteX52" fmla="*/ 3177633 w 8284171"/>
              <a:gd name="connsiteY52" fmla="*/ 172528 h 1265207"/>
              <a:gd name="connsiteX53" fmla="*/ 3240894 w 8284171"/>
              <a:gd name="connsiteY53" fmla="*/ 189781 h 1265207"/>
              <a:gd name="connsiteX54" fmla="*/ 3281150 w 8284171"/>
              <a:gd name="connsiteY54" fmla="*/ 201283 h 1265207"/>
              <a:gd name="connsiteX55" fmla="*/ 3304154 w 8284171"/>
              <a:gd name="connsiteY55" fmla="*/ 212785 h 1265207"/>
              <a:gd name="connsiteX56" fmla="*/ 3338660 w 8284171"/>
              <a:gd name="connsiteY56" fmla="*/ 218536 h 1265207"/>
              <a:gd name="connsiteX57" fmla="*/ 3367414 w 8284171"/>
              <a:gd name="connsiteY57" fmla="*/ 224287 h 1265207"/>
              <a:gd name="connsiteX58" fmla="*/ 3390418 w 8284171"/>
              <a:gd name="connsiteY58" fmla="*/ 230037 h 1265207"/>
              <a:gd name="connsiteX59" fmla="*/ 3568697 w 8284171"/>
              <a:gd name="connsiteY59" fmla="*/ 235788 h 1265207"/>
              <a:gd name="connsiteX60" fmla="*/ 3637709 w 8284171"/>
              <a:gd name="connsiteY60" fmla="*/ 241539 h 1265207"/>
              <a:gd name="connsiteX61" fmla="*/ 3660712 w 8284171"/>
              <a:gd name="connsiteY61" fmla="*/ 253041 h 1265207"/>
              <a:gd name="connsiteX62" fmla="*/ 3712471 w 8284171"/>
              <a:gd name="connsiteY62" fmla="*/ 276045 h 1265207"/>
              <a:gd name="connsiteX63" fmla="*/ 3764229 w 8284171"/>
              <a:gd name="connsiteY63" fmla="*/ 299049 h 1265207"/>
              <a:gd name="connsiteX64" fmla="*/ 3815988 w 8284171"/>
              <a:gd name="connsiteY64" fmla="*/ 322053 h 1265207"/>
              <a:gd name="connsiteX65" fmla="*/ 3838992 w 8284171"/>
              <a:gd name="connsiteY65" fmla="*/ 333554 h 1265207"/>
              <a:gd name="connsiteX66" fmla="*/ 3890750 w 8284171"/>
              <a:gd name="connsiteY66" fmla="*/ 350807 h 1265207"/>
              <a:gd name="connsiteX67" fmla="*/ 3908003 w 8284171"/>
              <a:gd name="connsiteY67" fmla="*/ 356558 h 1265207"/>
              <a:gd name="connsiteX68" fmla="*/ 3936758 w 8284171"/>
              <a:gd name="connsiteY68" fmla="*/ 373811 h 1265207"/>
              <a:gd name="connsiteX69" fmla="*/ 3977014 w 8284171"/>
              <a:gd name="connsiteY69" fmla="*/ 385313 h 1265207"/>
              <a:gd name="connsiteX70" fmla="*/ 4011520 w 8284171"/>
              <a:gd name="connsiteY70" fmla="*/ 396815 h 1265207"/>
              <a:gd name="connsiteX71" fmla="*/ 4051777 w 8284171"/>
              <a:gd name="connsiteY71" fmla="*/ 402566 h 1265207"/>
              <a:gd name="connsiteX72" fmla="*/ 4207052 w 8284171"/>
              <a:gd name="connsiteY72" fmla="*/ 414068 h 1265207"/>
              <a:gd name="connsiteX73" fmla="*/ 4396833 w 8284171"/>
              <a:gd name="connsiteY73" fmla="*/ 425570 h 1265207"/>
              <a:gd name="connsiteX74" fmla="*/ 4517603 w 8284171"/>
              <a:gd name="connsiteY74" fmla="*/ 437071 h 1265207"/>
              <a:gd name="connsiteX75" fmla="*/ 4655626 w 8284171"/>
              <a:gd name="connsiteY75" fmla="*/ 448573 h 1265207"/>
              <a:gd name="connsiteX76" fmla="*/ 4713135 w 8284171"/>
              <a:gd name="connsiteY76" fmla="*/ 454324 h 1265207"/>
              <a:gd name="connsiteX77" fmla="*/ 4897165 w 8284171"/>
              <a:gd name="connsiteY77" fmla="*/ 465826 h 1265207"/>
              <a:gd name="connsiteX78" fmla="*/ 5138705 w 8284171"/>
              <a:gd name="connsiteY78" fmla="*/ 477328 h 1265207"/>
              <a:gd name="connsiteX79" fmla="*/ 5443505 w 8284171"/>
              <a:gd name="connsiteY79" fmla="*/ 471577 h 1265207"/>
              <a:gd name="connsiteX80" fmla="*/ 5483762 w 8284171"/>
              <a:gd name="connsiteY80" fmla="*/ 460075 h 1265207"/>
              <a:gd name="connsiteX81" fmla="*/ 5535520 w 8284171"/>
              <a:gd name="connsiteY81" fmla="*/ 448573 h 1265207"/>
              <a:gd name="connsiteX82" fmla="*/ 5564275 w 8284171"/>
              <a:gd name="connsiteY82" fmla="*/ 442822 h 1265207"/>
              <a:gd name="connsiteX83" fmla="*/ 5593029 w 8284171"/>
              <a:gd name="connsiteY83" fmla="*/ 431321 h 1265207"/>
              <a:gd name="connsiteX84" fmla="*/ 5656290 w 8284171"/>
              <a:gd name="connsiteY84" fmla="*/ 419819 h 1265207"/>
              <a:gd name="connsiteX85" fmla="*/ 5702297 w 8284171"/>
              <a:gd name="connsiteY85" fmla="*/ 408317 h 1265207"/>
              <a:gd name="connsiteX86" fmla="*/ 5765558 w 8284171"/>
              <a:gd name="connsiteY86" fmla="*/ 391064 h 1265207"/>
              <a:gd name="connsiteX87" fmla="*/ 5782811 w 8284171"/>
              <a:gd name="connsiteY87" fmla="*/ 379562 h 1265207"/>
              <a:gd name="connsiteX88" fmla="*/ 5823067 w 8284171"/>
              <a:gd name="connsiteY88" fmla="*/ 368060 h 1265207"/>
              <a:gd name="connsiteX89" fmla="*/ 5886328 w 8284171"/>
              <a:gd name="connsiteY89" fmla="*/ 345056 h 1265207"/>
              <a:gd name="connsiteX90" fmla="*/ 5920833 w 8284171"/>
              <a:gd name="connsiteY90" fmla="*/ 333554 h 1265207"/>
              <a:gd name="connsiteX91" fmla="*/ 5943837 w 8284171"/>
              <a:gd name="connsiteY91" fmla="*/ 322053 h 1265207"/>
              <a:gd name="connsiteX92" fmla="*/ 5989845 w 8284171"/>
              <a:gd name="connsiteY92" fmla="*/ 316302 h 1265207"/>
              <a:gd name="connsiteX93" fmla="*/ 6041603 w 8284171"/>
              <a:gd name="connsiteY93" fmla="*/ 304800 h 1265207"/>
              <a:gd name="connsiteX94" fmla="*/ 6070358 w 8284171"/>
              <a:gd name="connsiteY94" fmla="*/ 299049 h 1265207"/>
              <a:gd name="connsiteX95" fmla="*/ 6104863 w 8284171"/>
              <a:gd name="connsiteY95" fmla="*/ 293298 h 1265207"/>
              <a:gd name="connsiteX96" fmla="*/ 6260139 w 8284171"/>
              <a:gd name="connsiteY96" fmla="*/ 287547 h 1265207"/>
              <a:gd name="connsiteX97" fmla="*/ 7059520 w 8284171"/>
              <a:gd name="connsiteY97" fmla="*/ 281796 h 1265207"/>
              <a:gd name="connsiteX98" fmla="*/ 7117029 w 8284171"/>
              <a:gd name="connsiteY98" fmla="*/ 276045 h 1265207"/>
              <a:gd name="connsiteX99" fmla="*/ 7255052 w 8284171"/>
              <a:gd name="connsiteY99" fmla="*/ 247290 h 1265207"/>
              <a:gd name="connsiteX100" fmla="*/ 7278056 w 8284171"/>
              <a:gd name="connsiteY100" fmla="*/ 241539 h 1265207"/>
              <a:gd name="connsiteX101" fmla="*/ 7301060 w 8284171"/>
              <a:gd name="connsiteY101" fmla="*/ 230037 h 1265207"/>
              <a:gd name="connsiteX102" fmla="*/ 7324063 w 8284171"/>
              <a:gd name="connsiteY102" fmla="*/ 224287 h 1265207"/>
              <a:gd name="connsiteX103" fmla="*/ 7358569 w 8284171"/>
              <a:gd name="connsiteY103" fmla="*/ 212785 h 1265207"/>
              <a:gd name="connsiteX104" fmla="*/ 7375822 w 8284171"/>
              <a:gd name="connsiteY104" fmla="*/ 207034 h 1265207"/>
              <a:gd name="connsiteX105" fmla="*/ 7398826 w 8284171"/>
              <a:gd name="connsiteY105" fmla="*/ 201283 h 1265207"/>
              <a:gd name="connsiteX106" fmla="*/ 7427580 w 8284171"/>
              <a:gd name="connsiteY106" fmla="*/ 184030 h 1265207"/>
              <a:gd name="connsiteX107" fmla="*/ 7462086 w 8284171"/>
              <a:gd name="connsiteY107" fmla="*/ 172528 h 1265207"/>
              <a:gd name="connsiteX108" fmla="*/ 7502343 w 8284171"/>
              <a:gd name="connsiteY108" fmla="*/ 155275 h 1265207"/>
              <a:gd name="connsiteX109" fmla="*/ 7525346 w 8284171"/>
              <a:gd name="connsiteY109" fmla="*/ 143773 h 1265207"/>
              <a:gd name="connsiteX110" fmla="*/ 7542599 w 8284171"/>
              <a:gd name="connsiteY110" fmla="*/ 138022 h 1265207"/>
              <a:gd name="connsiteX111" fmla="*/ 7571354 w 8284171"/>
              <a:gd name="connsiteY111" fmla="*/ 126521 h 1265207"/>
              <a:gd name="connsiteX112" fmla="*/ 7617362 w 8284171"/>
              <a:gd name="connsiteY112" fmla="*/ 103517 h 1265207"/>
              <a:gd name="connsiteX113" fmla="*/ 7646116 w 8284171"/>
              <a:gd name="connsiteY113" fmla="*/ 97766 h 1265207"/>
              <a:gd name="connsiteX114" fmla="*/ 7663369 w 8284171"/>
              <a:gd name="connsiteY114" fmla="*/ 92015 h 1265207"/>
              <a:gd name="connsiteX115" fmla="*/ 7686373 w 8284171"/>
              <a:gd name="connsiteY115" fmla="*/ 86264 h 1265207"/>
              <a:gd name="connsiteX116" fmla="*/ 7703626 w 8284171"/>
              <a:gd name="connsiteY116" fmla="*/ 74762 h 1265207"/>
              <a:gd name="connsiteX117" fmla="*/ 7732380 w 8284171"/>
              <a:gd name="connsiteY117" fmla="*/ 69011 h 1265207"/>
              <a:gd name="connsiteX118" fmla="*/ 7778388 w 8284171"/>
              <a:gd name="connsiteY118" fmla="*/ 57509 h 1265207"/>
              <a:gd name="connsiteX119" fmla="*/ 7807143 w 8284171"/>
              <a:gd name="connsiteY119" fmla="*/ 51758 h 1265207"/>
              <a:gd name="connsiteX120" fmla="*/ 7870403 w 8284171"/>
              <a:gd name="connsiteY120" fmla="*/ 34505 h 1265207"/>
              <a:gd name="connsiteX121" fmla="*/ 7933663 w 8284171"/>
              <a:gd name="connsiteY121" fmla="*/ 28754 h 1265207"/>
              <a:gd name="connsiteX122" fmla="*/ 8002675 w 8284171"/>
              <a:gd name="connsiteY122" fmla="*/ 34505 h 1265207"/>
              <a:gd name="connsiteX123" fmla="*/ 8100441 w 8284171"/>
              <a:gd name="connsiteY123" fmla="*/ 23004 h 1265207"/>
              <a:gd name="connsiteX124" fmla="*/ 8163701 w 8284171"/>
              <a:gd name="connsiteY124" fmla="*/ 5751 h 1265207"/>
              <a:gd name="connsiteX125" fmla="*/ 8278720 w 8284171"/>
              <a:gd name="connsiteY125" fmla="*/ 0 h 1265207"/>
              <a:gd name="connsiteX126" fmla="*/ 8278720 w 8284171"/>
              <a:gd name="connsiteY126" fmla="*/ 1265207 h 1265207"/>
              <a:gd name="connsiteX0" fmla="*/ 838583 w 8177542"/>
              <a:gd name="connsiteY0" fmla="*/ 1241989 h 1265207"/>
              <a:gd name="connsiteX1" fmla="*/ 0 w 8177542"/>
              <a:gd name="connsiteY1" fmla="*/ 69011 h 1265207"/>
              <a:gd name="connsiteX2" fmla="*/ 51759 w 8177542"/>
              <a:gd name="connsiteY2" fmla="*/ 74762 h 1265207"/>
              <a:gd name="connsiteX3" fmla="*/ 69012 w 8177542"/>
              <a:gd name="connsiteY3" fmla="*/ 80513 h 1265207"/>
              <a:gd name="connsiteX4" fmla="*/ 218536 w 8177542"/>
              <a:gd name="connsiteY4" fmla="*/ 109268 h 1265207"/>
              <a:gd name="connsiteX5" fmla="*/ 322053 w 8177542"/>
              <a:gd name="connsiteY5" fmla="*/ 126521 h 1265207"/>
              <a:gd name="connsiteX6" fmla="*/ 385314 w 8177542"/>
              <a:gd name="connsiteY6" fmla="*/ 143773 h 1265207"/>
              <a:gd name="connsiteX7" fmla="*/ 425570 w 8177542"/>
              <a:gd name="connsiteY7" fmla="*/ 149524 h 1265207"/>
              <a:gd name="connsiteX8" fmla="*/ 517585 w 8177542"/>
              <a:gd name="connsiteY8" fmla="*/ 172528 h 1265207"/>
              <a:gd name="connsiteX9" fmla="*/ 563593 w 8177542"/>
              <a:gd name="connsiteY9" fmla="*/ 184030 h 1265207"/>
              <a:gd name="connsiteX10" fmla="*/ 649857 w 8177542"/>
              <a:gd name="connsiteY10" fmla="*/ 195532 h 1265207"/>
              <a:gd name="connsiteX11" fmla="*/ 897148 w 8177542"/>
              <a:gd name="connsiteY11" fmla="*/ 241539 h 1265207"/>
              <a:gd name="connsiteX12" fmla="*/ 989163 w 8177542"/>
              <a:gd name="connsiteY12" fmla="*/ 253041 h 1265207"/>
              <a:gd name="connsiteX13" fmla="*/ 1040921 w 8177542"/>
              <a:gd name="connsiteY13" fmla="*/ 258792 h 1265207"/>
              <a:gd name="connsiteX14" fmla="*/ 1075427 w 8177542"/>
              <a:gd name="connsiteY14" fmla="*/ 264543 h 1265207"/>
              <a:gd name="connsiteX15" fmla="*/ 1265208 w 8177542"/>
              <a:gd name="connsiteY15" fmla="*/ 276045 h 1265207"/>
              <a:gd name="connsiteX16" fmla="*/ 1495246 w 8177542"/>
              <a:gd name="connsiteY16" fmla="*/ 270294 h 1265207"/>
              <a:gd name="connsiteX17" fmla="*/ 1524000 w 8177542"/>
              <a:gd name="connsiteY17" fmla="*/ 264543 h 1265207"/>
              <a:gd name="connsiteX18" fmla="*/ 1587261 w 8177542"/>
              <a:gd name="connsiteY18" fmla="*/ 258792 h 1265207"/>
              <a:gd name="connsiteX19" fmla="*/ 1616016 w 8177542"/>
              <a:gd name="connsiteY19" fmla="*/ 253041 h 1265207"/>
              <a:gd name="connsiteX20" fmla="*/ 1662023 w 8177542"/>
              <a:gd name="connsiteY20" fmla="*/ 247290 h 1265207"/>
              <a:gd name="connsiteX21" fmla="*/ 1685027 w 8177542"/>
              <a:gd name="connsiteY21" fmla="*/ 235788 h 1265207"/>
              <a:gd name="connsiteX22" fmla="*/ 1708031 w 8177542"/>
              <a:gd name="connsiteY22" fmla="*/ 230037 h 1265207"/>
              <a:gd name="connsiteX23" fmla="*/ 1725283 w 8177542"/>
              <a:gd name="connsiteY23" fmla="*/ 224287 h 1265207"/>
              <a:gd name="connsiteX24" fmla="*/ 1771291 w 8177542"/>
              <a:gd name="connsiteY24" fmla="*/ 212785 h 1265207"/>
              <a:gd name="connsiteX25" fmla="*/ 1794295 w 8177542"/>
              <a:gd name="connsiteY25" fmla="*/ 207034 h 1265207"/>
              <a:gd name="connsiteX26" fmla="*/ 1823049 w 8177542"/>
              <a:gd name="connsiteY26" fmla="*/ 189781 h 1265207"/>
              <a:gd name="connsiteX27" fmla="*/ 1857555 w 8177542"/>
              <a:gd name="connsiteY27" fmla="*/ 178279 h 1265207"/>
              <a:gd name="connsiteX28" fmla="*/ 1874808 w 8177542"/>
              <a:gd name="connsiteY28" fmla="*/ 172528 h 1265207"/>
              <a:gd name="connsiteX29" fmla="*/ 1938068 w 8177542"/>
              <a:gd name="connsiteY29" fmla="*/ 155275 h 1265207"/>
              <a:gd name="connsiteX30" fmla="*/ 1989827 w 8177542"/>
              <a:gd name="connsiteY30" fmla="*/ 132271 h 1265207"/>
              <a:gd name="connsiteX31" fmla="*/ 2007080 w 8177542"/>
              <a:gd name="connsiteY31" fmla="*/ 126521 h 1265207"/>
              <a:gd name="connsiteX32" fmla="*/ 2030083 w 8177542"/>
              <a:gd name="connsiteY32" fmla="*/ 115019 h 1265207"/>
              <a:gd name="connsiteX33" fmla="*/ 2047336 w 8177542"/>
              <a:gd name="connsiteY33" fmla="*/ 109268 h 1265207"/>
              <a:gd name="connsiteX34" fmla="*/ 2070340 w 8177542"/>
              <a:gd name="connsiteY34" fmla="*/ 97766 h 1265207"/>
              <a:gd name="connsiteX35" fmla="*/ 2104846 w 8177542"/>
              <a:gd name="connsiteY35" fmla="*/ 92015 h 1265207"/>
              <a:gd name="connsiteX36" fmla="*/ 2139351 w 8177542"/>
              <a:gd name="connsiteY36" fmla="*/ 80513 h 1265207"/>
              <a:gd name="connsiteX37" fmla="*/ 2173857 w 8177542"/>
              <a:gd name="connsiteY37" fmla="*/ 74762 h 1265207"/>
              <a:gd name="connsiteX38" fmla="*/ 2196861 w 8177542"/>
              <a:gd name="connsiteY38" fmla="*/ 69011 h 1265207"/>
              <a:gd name="connsiteX39" fmla="*/ 2403895 w 8177542"/>
              <a:gd name="connsiteY39" fmla="*/ 63260 h 1265207"/>
              <a:gd name="connsiteX40" fmla="*/ 2587925 w 8177542"/>
              <a:gd name="connsiteY40" fmla="*/ 69011 h 1265207"/>
              <a:gd name="connsiteX41" fmla="*/ 2622431 w 8177542"/>
              <a:gd name="connsiteY41" fmla="*/ 86264 h 1265207"/>
              <a:gd name="connsiteX42" fmla="*/ 2662687 w 8177542"/>
              <a:gd name="connsiteY42" fmla="*/ 97766 h 1265207"/>
              <a:gd name="connsiteX43" fmla="*/ 2685691 w 8177542"/>
              <a:gd name="connsiteY43" fmla="*/ 109268 h 1265207"/>
              <a:gd name="connsiteX44" fmla="*/ 2708695 w 8177542"/>
              <a:gd name="connsiteY44" fmla="*/ 115019 h 1265207"/>
              <a:gd name="connsiteX45" fmla="*/ 2743200 w 8177542"/>
              <a:gd name="connsiteY45" fmla="*/ 126521 h 1265207"/>
              <a:gd name="connsiteX46" fmla="*/ 2760453 w 8177542"/>
              <a:gd name="connsiteY46" fmla="*/ 132271 h 1265207"/>
              <a:gd name="connsiteX47" fmla="*/ 2812212 w 8177542"/>
              <a:gd name="connsiteY47" fmla="*/ 138022 h 1265207"/>
              <a:gd name="connsiteX48" fmla="*/ 2875472 w 8177542"/>
              <a:gd name="connsiteY48" fmla="*/ 149524 h 1265207"/>
              <a:gd name="connsiteX49" fmla="*/ 2938733 w 8177542"/>
              <a:gd name="connsiteY49" fmla="*/ 155275 h 1265207"/>
              <a:gd name="connsiteX50" fmla="*/ 3007744 w 8177542"/>
              <a:gd name="connsiteY50" fmla="*/ 166777 h 1265207"/>
              <a:gd name="connsiteX51" fmla="*/ 3071004 w 8177542"/>
              <a:gd name="connsiteY51" fmla="*/ 172528 h 1265207"/>
              <a:gd name="connsiteX52" fmla="*/ 3134265 w 8177542"/>
              <a:gd name="connsiteY52" fmla="*/ 189781 h 1265207"/>
              <a:gd name="connsiteX53" fmla="*/ 3174521 w 8177542"/>
              <a:gd name="connsiteY53" fmla="*/ 201283 h 1265207"/>
              <a:gd name="connsiteX54" fmla="*/ 3197525 w 8177542"/>
              <a:gd name="connsiteY54" fmla="*/ 212785 h 1265207"/>
              <a:gd name="connsiteX55" fmla="*/ 3232031 w 8177542"/>
              <a:gd name="connsiteY55" fmla="*/ 218536 h 1265207"/>
              <a:gd name="connsiteX56" fmla="*/ 3260785 w 8177542"/>
              <a:gd name="connsiteY56" fmla="*/ 224287 h 1265207"/>
              <a:gd name="connsiteX57" fmla="*/ 3283789 w 8177542"/>
              <a:gd name="connsiteY57" fmla="*/ 230037 h 1265207"/>
              <a:gd name="connsiteX58" fmla="*/ 3462068 w 8177542"/>
              <a:gd name="connsiteY58" fmla="*/ 235788 h 1265207"/>
              <a:gd name="connsiteX59" fmla="*/ 3531080 w 8177542"/>
              <a:gd name="connsiteY59" fmla="*/ 241539 h 1265207"/>
              <a:gd name="connsiteX60" fmla="*/ 3554083 w 8177542"/>
              <a:gd name="connsiteY60" fmla="*/ 253041 h 1265207"/>
              <a:gd name="connsiteX61" fmla="*/ 3605842 w 8177542"/>
              <a:gd name="connsiteY61" fmla="*/ 276045 h 1265207"/>
              <a:gd name="connsiteX62" fmla="*/ 3657600 w 8177542"/>
              <a:gd name="connsiteY62" fmla="*/ 299049 h 1265207"/>
              <a:gd name="connsiteX63" fmla="*/ 3709359 w 8177542"/>
              <a:gd name="connsiteY63" fmla="*/ 322053 h 1265207"/>
              <a:gd name="connsiteX64" fmla="*/ 3732363 w 8177542"/>
              <a:gd name="connsiteY64" fmla="*/ 333554 h 1265207"/>
              <a:gd name="connsiteX65" fmla="*/ 3784121 w 8177542"/>
              <a:gd name="connsiteY65" fmla="*/ 350807 h 1265207"/>
              <a:gd name="connsiteX66" fmla="*/ 3801374 w 8177542"/>
              <a:gd name="connsiteY66" fmla="*/ 356558 h 1265207"/>
              <a:gd name="connsiteX67" fmla="*/ 3830129 w 8177542"/>
              <a:gd name="connsiteY67" fmla="*/ 373811 h 1265207"/>
              <a:gd name="connsiteX68" fmla="*/ 3870385 w 8177542"/>
              <a:gd name="connsiteY68" fmla="*/ 385313 h 1265207"/>
              <a:gd name="connsiteX69" fmla="*/ 3904891 w 8177542"/>
              <a:gd name="connsiteY69" fmla="*/ 396815 h 1265207"/>
              <a:gd name="connsiteX70" fmla="*/ 3945148 w 8177542"/>
              <a:gd name="connsiteY70" fmla="*/ 402566 h 1265207"/>
              <a:gd name="connsiteX71" fmla="*/ 4100423 w 8177542"/>
              <a:gd name="connsiteY71" fmla="*/ 414068 h 1265207"/>
              <a:gd name="connsiteX72" fmla="*/ 4290204 w 8177542"/>
              <a:gd name="connsiteY72" fmla="*/ 425570 h 1265207"/>
              <a:gd name="connsiteX73" fmla="*/ 4410974 w 8177542"/>
              <a:gd name="connsiteY73" fmla="*/ 437071 h 1265207"/>
              <a:gd name="connsiteX74" fmla="*/ 4548997 w 8177542"/>
              <a:gd name="connsiteY74" fmla="*/ 448573 h 1265207"/>
              <a:gd name="connsiteX75" fmla="*/ 4606506 w 8177542"/>
              <a:gd name="connsiteY75" fmla="*/ 454324 h 1265207"/>
              <a:gd name="connsiteX76" fmla="*/ 4790536 w 8177542"/>
              <a:gd name="connsiteY76" fmla="*/ 465826 h 1265207"/>
              <a:gd name="connsiteX77" fmla="*/ 5032076 w 8177542"/>
              <a:gd name="connsiteY77" fmla="*/ 477328 h 1265207"/>
              <a:gd name="connsiteX78" fmla="*/ 5336876 w 8177542"/>
              <a:gd name="connsiteY78" fmla="*/ 471577 h 1265207"/>
              <a:gd name="connsiteX79" fmla="*/ 5377133 w 8177542"/>
              <a:gd name="connsiteY79" fmla="*/ 460075 h 1265207"/>
              <a:gd name="connsiteX80" fmla="*/ 5428891 w 8177542"/>
              <a:gd name="connsiteY80" fmla="*/ 448573 h 1265207"/>
              <a:gd name="connsiteX81" fmla="*/ 5457646 w 8177542"/>
              <a:gd name="connsiteY81" fmla="*/ 442822 h 1265207"/>
              <a:gd name="connsiteX82" fmla="*/ 5486400 w 8177542"/>
              <a:gd name="connsiteY82" fmla="*/ 431321 h 1265207"/>
              <a:gd name="connsiteX83" fmla="*/ 5549661 w 8177542"/>
              <a:gd name="connsiteY83" fmla="*/ 419819 h 1265207"/>
              <a:gd name="connsiteX84" fmla="*/ 5595668 w 8177542"/>
              <a:gd name="connsiteY84" fmla="*/ 408317 h 1265207"/>
              <a:gd name="connsiteX85" fmla="*/ 5658929 w 8177542"/>
              <a:gd name="connsiteY85" fmla="*/ 391064 h 1265207"/>
              <a:gd name="connsiteX86" fmla="*/ 5676182 w 8177542"/>
              <a:gd name="connsiteY86" fmla="*/ 379562 h 1265207"/>
              <a:gd name="connsiteX87" fmla="*/ 5716438 w 8177542"/>
              <a:gd name="connsiteY87" fmla="*/ 368060 h 1265207"/>
              <a:gd name="connsiteX88" fmla="*/ 5779699 w 8177542"/>
              <a:gd name="connsiteY88" fmla="*/ 345056 h 1265207"/>
              <a:gd name="connsiteX89" fmla="*/ 5814204 w 8177542"/>
              <a:gd name="connsiteY89" fmla="*/ 333554 h 1265207"/>
              <a:gd name="connsiteX90" fmla="*/ 5837208 w 8177542"/>
              <a:gd name="connsiteY90" fmla="*/ 322053 h 1265207"/>
              <a:gd name="connsiteX91" fmla="*/ 5883216 w 8177542"/>
              <a:gd name="connsiteY91" fmla="*/ 316302 h 1265207"/>
              <a:gd name="connsiteX92" fmla="*/ 5934974 w 8177542"/>
              <a:gd name="connsiteY92" fmla="*/ 304800 h 1265207"/>
              <a:gd name="connsiteX93" fmla="*/ 5963729 w 8177542"/>
              <a:gd name="connsiteY93" fmla="*/ 299049 h 1265207"/>
              <a:gd name="connsiteX94" fmla="*/ 5998234 w 8177542"/>
              <a:gd name="connsiteY94" fmla="*/ 293298 h 1265207"/>
              <a:gd name="connsiteX95" fmla="*/ 6153510 w 8177542"/>
              <a:gd name="connsiteY95" fmla="*/ 287547 h 1265207"/>
              <a:gd name="connsiteX96" fmla="*/ 6952891 w 8177542"/>
              <a:gd name="connsiteY96" fmla="*/ 281796 h 1265207"/>
              <a:gd name="connsiteX97" fmla="*/ 7010400 w 8177542"/>
              <a:gd name="connsiteY97" fmla="*/ 276045 h 1265207"/>
              <a:gd name="connsiteX98" fmla="*/ 7148423 w 8177542"/>
              <a:gd name="connsiteY98" fmla="*/ 247290 h 1265207"/>
              <a:gd name="connsiteX99" fmla="*/ 7171427 w 8177542"/>
              <a:gd name="connsiteY99" fmla="*/ 241539 h 1265207"/>
              <a:gd name="connsiteX100" fmla="*/ 7194431 w 8177542"/>
              <a:gd name="connsiteY100" fmla="*/ 230037 h 1265207"/>
              <a:gd name="connsiteX101" fmla="*/ 7217434 w 8177542"/>
              <a:gd name="connsiteY101" fmla="*/ 224287 h 1265207"/>
              <a:gd name="connsiteX102" fmla="*/ 7251940 w 8177542"/>
              <a:gd name="connsiteY102" fmla="*/ 212785 h 1265207"/>
              <a:gd name="connsiteX103" fmla="*/ 7269193 w 8177542"/>
              <a:gd name="connsiteY103" fmla="*/ 207034 h 1265207"/>
              <a:gd name="connsiteX104" fmla="*/ 7292197 w 8177542"/>
              <a:gd name="connsiteY104" fmla="*/ 201283 h 1265207"/>
              <a:gd name="connsiteX105" fmla="*/ 7320951 w 8177542"/>
              <a:gd name="connsiteY105" fmla="*/ 184030 h 1265207"/>
              <a:gd name="connsiteX106" fmla="*/ 7355457 w 8177542"/>
              <a:gd name="connsiteY106" fmla="*/ 172528 h 1265207"/>
              <a:gd name="connsiteX107" fmla="*/ 7395714 w 8177542"/>
              <a:gd name="connsiteY107" fmla="*/ 155275 h 1265207"/>
              <a:gd name="connsiteX108" fmla="*/ 7418717 w 8177542"/>
              <a:gd name="connsiteY108" fmla="*/ 143773 h 1265207"/>
              <a:gd name="connsiteX109" fmla="*/ 7435970 w 8177542"/>
              <a:gd name="connsiteY109" fmla="*/ 138022 h 1265207"/>
              <a:gd name="connsiteX110" fmla="*/ 7464725 w 8177542"/>
              <a:gd name="connsiteY110" fmla="*/ 126521 h 1265207"/>
              <a:gd name="connsiteX111" fmla="*/ 7510733 w 8177542"/>
              <a:gd name="connsiteY111" fmla="*/ 103517 h 1265207"/>
              <a:gd name="connsiteX112" fmla="*/ 7539487 w 8177542"/>
              <a:gd name="connsiteY112" fmla="*/ 97766 h 1265207"/>
              <a:gd name="connsiteX113" fmla="*/ 7556740 w 8177542"/>
              <a:gd name="connsiteY113" fmla="*/ 92015 h 1265207"/>
              <a:gd name="connsiteX114" fmla="*/ 7579744 w 8177542"/>
              <a:gd name="connsiteY114" fmla="*/ 86264 h 1265207"/>
              <a:gd name="connsiteX115" fmla="*/ 7596997 w 8177542"/>
              <a:gd name="connsiteY115" fmla="*/ 74762 h 1265207"/>
              <a:gd name="connsiteX116" fmla="*/ 7625751 w 8177542"/>
              <a:gd name="connsiteY116" fmla="*/ 69011 h 1265207"/>
              <a:gd name="connsiteX117" fmla="*/ 7671759 w 8177542"/>
              <a:gd name="connsiteY117" fmla="*/ 57509 h 1265207"/>
              <a:gd name="connsiteX118" fmla="*/ 7700514 w 8177542"/>
              <a:gd name="connsiteY118" fmla="*/ 51758 h 1265207"/>
              <a:gd name="connsiteX119" fmla="*/ 7763774 w 8177542"/>
              <a:gd name="connsiteY119" fmla="*/ 34505 h 1265207"/>
              <a:gd name="connsiteX120" fmla="*/ 7827034 w 8177542"/>
              <a:gd name="connsiteY120" fmla="*/ 28754 h 1265207"/>
              <a:gd name="connsiteX121" fmla="*/ 7896046 w 8177542"/>
              <a:gd name="connsiteY121" fmla="*/ 34505 h 1265207"/>
              <a:gd name="connsiteX122" fmla="*/ 7993812 w 8177542"/>
              <a:gd name="connsiteY122" fmla="*/ 23004 h 1265207"/>
              <a:gd name="connsiteX123" fmla="*/ 8057072 w 8177542"/>
              <a:gd name="connsiteY123" fmla="*/ 5751 h 1265207"/>
              <a:gd name="connsiteX124" fmla="*/ 8172091 w 8177542"/>
              <a:gd name="connsiteY124" fmla="*/ 0 h 1265207"/>
              <a:gd name="connsiteX125" fmla="*/ 8172091 w 8177542"/>
              <a:gd name="connsiteY125" fmla="*/ 1265207 h 1265207"/>
              <a:gd name="connsiteX0" fmla="*/ 786824 w 8125783"/>
              <a:gd name="connsiteY0" fmla="*/ 1241989 h 1265207"/>
              <a:gd name="connsiteX1" fmla="*/ 0 w 8125783"/>
              <a:gd name="connsiteY1" fmla="*/ 74762 h 1265207"/>
              <a:gd name="connsiteX2" fmla="*/ 17253 w 8125783"/>
              <a:gd name="connsiteY2" fmla="*/ 80513 h 1265207"/>
              <a:gd name="connsiteX3" fmla="*/ 166777 w 8125783"/>
              <a:gd name="connsiteY3" fmla="*/ 109268 h 1265207"/>
              <a:gd name="connsiteX4" fmla="*/ 270294 w 8125783"/>
              <a:gd name="connsiteY4" fmla="*/ 126521 h 1265207"/>
              <a:gd name="connsiteX5" fmla="*/ 333555 w 8125783"/>
              <a:gd name="connsiteY5" fmla="*/ 143773 h 1265207"/>
              <a:gd name="connsiteX6" fmla="*/ 373811 w 8125783"/>
              <a:gd name="connsiteY6" fmla="*/ 149524 h 1265207"/>
              <a:gd name="connsiteX7" fmla="*/ 465826 w 8125783"/>
              <a:gd name="connsiteY7" fmla="*/ 172528 h 1265207"/>
              <a:gd name="connsiteX8" fmla="*/ 511834 w 8125783"/>
              <a:gd name="connsiteY8" fmla="*/ 184030 h 1265207"/>
              <a:gd name="connsiteX9" fmla="*/ 598098 w 8125783"/>
              <a:gd name="connsiteY9" fmla="*/ 195532 h 1265207"/>
              <a:gd name="connsiteX10" fmla="*/ 845389 w 8125783"/>
              <a:gd name="connsiteY10" fmla="*/ 241539 h 1265207"/>
              <a:gd name="connsiteX11" fmla="*/ 937404 w 8125783"/>
              <a:gd name="connsiteY11" fmla="*/ 253041 h 1265207"/>
              <a:gd name="connsiteX12" fmla="*/ 989162 w 8125783"/>
              <a:gd name="connsiteY12" fmla="*/ 258792 h 1265207"/>
              <a:gd name="connsiteX13" fmla="*/ 1023668 w 8125783"/>
              <a:gd name="connsiteY13" fmla="*/ 264543 h 1265207"/>
              <a:gd name="connsiteX14" fmla="*/ 1213449 w 8125783"/>
              <a:gd name="connsiteY14" fmla="*/ 276045 h 1265207"/>
              <a:gd name="connsiteX15" fmla="*/ 1443487 w 8125783"/>
              <a:gd name="connsiteY15" fmla="*/ 270294 h 1265207"/>
              <a:gd name="connsiteX16" fmla="*/ 1472241 w 8125783"/>
              <a:gd name="connsiteY16" fmla="*/ 264543 h 1265207"/>
              <a:gd name="connsiteX17" fmla="*/ 1535502 w 8125783"/>
              <a:gd name="connsiteY17" fmla="*/ 258792 h 1265207"/>
              <a:gd name="connsiteX18" fmla="*/ 1564257 w 8125783"/>
              <a:gd name="connsiteY18" fmla="*/ 253041 h 1265207"/>
              <a:gd name="connsiteX19" fmla="*/ 1610264 w 8125783"/>
              <a:gd name="connsiteY19" fmla="*/ 247290 h 1265207"/>
              <a:gd name="connsiteX20" fmla="*/ 1633268 w 8125783"/>
              <a:gd name="connsiteY20" fmla="*/ 235788 h 1265207"/>
              <a:gd name="connsiteX21" fmla="*/ 1656272 w 8125783"/>
              <a:gd name="connsiteY21" fmla="*/ 230037 h 1265207"/>
              <a:gd name="connsiteX22" fmla="*/ 1673524 w 8125783"/>
              <a:gd name="connsiteY22" fmla="*/ 224287 h 1265207"/>
              <a:gd name="connsiteX23" fmla="*/ 1719532 w 8125783"/>
              <a:gd name="connsiteY23" fmla="*/ 212785 h 1265207"/>
              <a:gd name="connsiteX24" fmla="*/ 1742536 w 8125783"/>
              <a:gd name="connsiteY24" fmla="*/ 207034 h 1265207"/>
              <a:gd name="connsiteX25" fmla="*/ 1771290 w 8125783"/>
              <a:gd name="connsiteY25" fmla="*/ 189781 h 1265207"/>
              <a:gd name="connsiteX26" fmla="*/ 1805796 w 8125783"/>
              <a:gd name="connsiteY26" fmla="*/ 178279 h 1265207"/>
              <a:gd name="connsiteX27" fmla="*/ 1823049 w 8125783"/>
              <a:gd name="connsiteY27" fmla="*/ 172528 h 1265207"/>
              <a:gd name="connsiteX28" fmla="*/ 1886309 w 8125783"/>
              <a:gd name="connsiteY28" fmla="*/ 155275 h 1265207"/>
              <a:gd name="connsiteX29" fmla="*/ 1938068 w 8125783"/>
              <a:gd name="connsiteY29" fmla="*/ 132271 h 1265207"/>
              <a:gd name="connsiteX30" fmla="*/ 1955321 w 8125783"/>
              <a:gd name="connsiteY30" fmla="*/ 126521 h 1265207"/>
              <a:gd name="connsiteX31" fmla="*/ 1978324 w 8125783"/>
              <a:gd name="connsiteY31" fmla="*/ 115019 h 1265207"/>
              <a:gd name="connsiteX32" fmla="*/ 1995577 w 8125783"/>
              <a:gd name="connsiteY32" fmla="*/ 109268 h 1265207"/>
              <a:gd name="connsiteX33" fmla="*/ 2018581 w 8125783"/>
              <a:gd name="connsiteY33" fmla="*/ 97766 h 1265207"/>
              <a:gd name="connsiteX34" fmla="*/ 2053087 w 8125783"/>
              <a:gd name="connsiteY34" fmla="*/ 92015 h 1265207"/>
              <a:gd name="connsiteX35" fmla="*/ 2087592 w 8125783"/>
              <a:gd name="connsiteY35" fmla="*/ 80513 h 1265207"/>
              <a:gd name="connsiteX36" fmla="*/ 2122098 w 8125783"/>
              <a:gd name="connsiteY36" fmla="*/ 74762 h 1265207"/>
              <a:gd name="connsiteX37" fmla="*/ 2145102 w 8125783"/>
              <a:gd name="connsiteY37" fmla="*/ 69011 h 1265207"/>
              <a:gd name="connsiteX38" fmla="*/ 2352136 w 8125783"/>
              <a:gd name="connsiteY38" fmla="*/ 63260 h 1265207"/>
              <a:gd name="connsiteX39" fmla="*/ 2536166 w 8125783"/>
              <a:gd name="connsiteY39" fmla="*/ 69011 h 1265207"/>
              <a:gd name="connsiteX40" fmla="*/ 2570672 w 8125783"/>
              <a:gd name="connsiteY40" fmla="*/ 86264 h 1265207"/>
              <a:gd name="connsiteX41" fmla="*/ 2610928 w 8125783"/>
              <a:gd name="connsiteY41" fmla="*/ 97766 h 1265207"/>
              <a:gd name="connsiteX42" fmla="*/ 2633932 w 8125783"/>
              <a:gd name="connsiteY42" fmla="*/ 109268 h 1265207"/>
              <a:gd name="connsiteX43" fmla="*/ 2656936 w 8125783"/>
              <a:gd name="connsiteY43" fmla="*/ 115019 h 1265207"/>
              <a:gd name="connsiteX44" fmla="*/ 2691441 w 8125783"/>
              <a:gd name="connsiteY44" fmla="*/ 126521 h 1265207"/>
              <a:gd name="connsiteX45" fmla="*/ 2708694 w 8125783"/>
              <a:gd name="connsiteY45" fmla="*/ 132271 h 1265207"/>
              <a:gd name="connsiteX46" fmla="*/ 2760453 w 8125783"/>
              <a:gd name="connsiteY46" fmla="*/ 138022 h 1265207"/>
              <a:gd name="connsiteX47" fmla="*/ 2823713 w 8125783"/>
              <a:gd name="connsiteY47" fmla="*/ 149524 h 1265207"/>
              <a:gd name="connsiteX48" fmla="*/ 2886974 w 8125783"/>
              <a:gd name="connsiteY48" fmla="*/ 155275 h 1265207"/>
              <a:gd name="connsiteX49" fmla="*/ 2955985 w 8125783"/>
              <a:gd name="connsiteY49" fmla="*/ 166777 h 1265207"/>
              <a:gd name="connsiteX50" fmla="*/ 3019245 w 8125783"/>
              <a:gd name="connsiteY50" fmla="*/ 172528 h 1265207"/>
              <a:gd name="connsiteX51" fmla="*/ 3082506 w 8125783"/>
              <a:gd name="connsiteY51" fmla="*/ 189781 h 1265207"/>
              <a:gd name="connsiteX52" fmla="*/ 3122762 w 8125783"/>
              <a:gd name="connsiteY52" fmla="*/ 201283 h 1265207"/>
              <a:gd name="connsiteX53" fmla="*/ 3145766 w 8125783"/>
              <a:gd name="connsiteY53" fmla="*/ 212785 h 1265207"/>
              <a:gd name="connsiteX54" fmla="*/ 3180272 w 8125783"/>
              <a:gd name="connsiteY54" fmla="*/ 218536 h 1265207"/>
              <a:gd name="connsiteX55" fmla="*/ 3209026 w 8125783"/>
              <a:gd name="connsiteY55" fmla="*/ 224287 h 1265207"/>
              <a:gd name="connsiteX56" fmla="*/ 3232030 w 8125783"/>
              <a:gd name="connsiteY56" fmla="*/ 230037 h 1265207"/>
              <a:gd name="connsiteX57" fmla="*/ 3410309 w 8125783"/>
              <a:gd name="connsiteY57" fmla="*/ 235788 h 1265207"/>
              <a:gd name="connsiteX58" fmla="*/ 3479321 w 8125783"/>
              <a:gd name="connsiteY58" fmla="*/ 241539 h 1265207"/>
              <a:gd name="connsiteX59" fmla="*/ 3502324 w 8125783"/>
              <a:gd name="connsiteY59" fmla="*/ 253041 h 1265207"/>
              <a:gd name="connsiteX60" fmla="*/ 3554083 w 8125783"/>
              <a:gd name="connsiteY60" fmla="*/ 276045 h 1265207"/>
              <a:gd name="connsiteX61" fmla="*/ 3605841 w 8125783"/>
              <a:gd name="connsiteY61" fmla="*/ 299049 h 1265207"/>
              <a:gd name="connsiteX62" fmla="*/ 3657600 w 8125783"/>
              <a:gd name="connsiteY62" fmla="*/ 322053 h 1265207"/>
              <a:gd name="connsiteX63" fmla="*/ 3680604 w 8125783"/>
              <a:gd name="connsiteY63" fmla="*/ 333554 h 1265207"/>
              <a:gd name="connsiteX64" fmla="*/ 3732362 w 8125783"/>
              <a:gd name="connsiteY64" fmla="*/ 350807 h 1265207"/>
              <a:gd name="connsiteX65" fmla="*/ 3749615 w 8125783"/>
              <a:gd name="connsiteY65" fmla="*/ 356558 h 1265207"/>
              <a:gd name="connsiteX66" fmla="*/ 3778370 w 8125783"/>
              <a:gd name="connsiteY66" fmla="*/ 373811 h 1265207"/>
              <a:gd name="connsiteX67" fmla="*/ 3818626 w 8125783"/>
              <a:gd name="connsiteY67" fmla="*/ 385313 h 1265207"/>
              <a:gd name="connsiteX68" fmla="*/ 3853132 w 8125783"/>
              <a:gd name="connsiteY68" fmla="*/ 396815 h 1265207"/>
              <a:gd name="connsiteX69" fmla="*/ 3893389 w 8125783"/>
              <a:gd name="connsiteY69" fmla="*/ 402566 h 1265207"/>
              <a:gd name="connsiteX70" fmla="*/ 4048664 w 8125783"/>
              <a:gd name="connsiteY70" fmla="*/ 414068 h 1265207"/>
              <a:gd name="connsiteX71" fmla="*/ 4238445 w 8125783"/>
              <a:gd name="connsiteY71" fmla="*/ 425570 h 1265207"/>
              <a:gd name="connsiteX72" fmla="*/ 4359215 w 8125783"/>
              <a:gd name="connsiteY72" fmla="*/ 437071 h 1265207"/>
              <a:gd name="connsiteX73" fmla="*/ 4497238 w 8125783"/>
              <a:gd name="connsiteY73" fmla="*/ 448573 h 1265207"/>
              <a:gd name="connsiteX74" fmla="*/ 4554747 w 8125783"/>
              <a:gd name="connsiteY74" fmla="*/ 454324 h 1265207"/>
              <a:gd name="connsiteX75" fmla="*/ 4738777 w 8125783"/>
              <a:gd name="connsiteY75" fmla="*/ 465826 h 1265207"/>
              <a:gd name="connsiteX76" fmla="*/ 4980317 w 8125783"/>
              <a:gd name="connsiteY76" fmla="*/ 477328 h 1265207"/>
              <a:gd name="connsiteX77" fmla="*/ 5285117 w 8125783"/>
              <a:gd name="connsiteY77" fmla="*/ 471577 h 1265207"/>
              <a:gd name="connsiteX78" fmla="*/ 5325374 w 8125783"/>
              <a:gd name="connsiteY78" fmla="*/ 460075 h 1265207"/>
              <a:gd name="connsiteX79" fmla="*/ 5377132 w 8125783"/>
              <a:gd name="connsiteY79" fmla="*/ 448573 h 1265207"/>
              <a:gd name="connsiteX80" fmla="*/ 5405887 w 8125783"/>
              <a:gd name="connsiteY80" fmla="*/ 442822 h 1265207"/>
              <a:gd name="connsiteX81" fmla="*/ 5434641 w 8125783"/>
              <a:gd name="connsiteY81" fmla="*/ 431321 h 1265207"/>
              <a:gd name="connsiteX82" fmla="*/ 5497902 w 8125783"/>
              <a:gd name="connsiteY82" fmla="*/ 419819 h 1265207"/>
              <a:gd name="connsiteX83" fmla="*/ 5543909 w 8125783"/>
              <a:gd name="connsiteY83" fmla="*/ 408317 h 1265207"/>
              <a:gd name="connsiteX84" fmla="*/ 5607170 w 8125783"/>
              <a:gd name="connsiteY84" fmla="*/ 391064 h 1265207"/>
              <a:gd name="connsiteX85" fmla="*/ 5624423 w 8125783"/>
              <a:gd name="connsiteY85" fmla="*/ 379562 h 1265207"/>
              <a:gd name="connsiteX86" fmla="*/ 5664679 w 8125783"/>
              <a:gd name="connsiteY86" fmla="*/ 368060 h 1265207"/>
              <a:gd name="connsiteX87" fmla="*/ 5727940 w 8125783"/>
              <a:gd name="connsiteY87" fmla="*/ 345056 h 1265207"/>
              <a:gd name="connsiteX88" fmla="*/ 5762445 w 8125783"/>
              <a:gd name="connsiteY88" fmla="*/ 333554 h 1265207"/>
              <a:gd name="connsiteX89" fmla="*/ 5785449 w 8125783"/>
              <a:gd name="connsiteY89" fmla="*/ 322053 h 1265207"/>
              <a:gd name="connsiteX90" fmla="*/ 5831457 w 8125783"/>
              <a:gd name="connsiteY90" fmla="*/ 316302 h 1265207"/>
              <a:gd name="connsiteX91" fmla="*/ 5883215 w 8125783"/>
              <a:gd name="connsiteY91" fmla="*/ 304800 h 1265207"/>
              <a:gd name="connsiteX92" fmla="*/ 5911970 w 8125783"/>
              <a:gd name="connsiteY92" fmla="*/ 299049 h 1265207"/>
              <a:gd name="connsiteX93" fmla="*/ 5946475 w 8125783"/>
              <a:gd name="connsiteY93" fmla="*/ 293298 h 1265207"/>
              <a:gd name="connsiteX94" fmla="*/ 6101751 w 8125783"/>
              <a:gd name="connsiteY94" fmla="*/ 287547 h 1265207"/>
              <a:gd name="connsiteX95" fmla="*/ 6901132 w 8125783"/>
              <a:gd name="connsiteY95" fmla="*/ 281796 h 1265207"/>
              <a:gd name="connsiteX96" fmla="*/ 6958641 w 8125783"/>
              <a:gd name="connsiteY96" fmla="*/ 276045 h 1265207"/>
              <a:gd name="connsiteX97" fmla="*/ 7096664 w 8125783"/>
              <a:gd name="connsiteY97" fmla="*/ 247290 h 1265207"/>
              <a:gd name="connsiteX98" fmla="*/ 7119668 w 8125783"/>
              <a:gd name="connsiteY98" fmla="*/ 241539 h 1265207"/>
              <a:gd name="connsiteX99" fmla="*/ 7142672 w 8125783"/>
              <a:gd name="connsiteY99" fmla="*/ 230037 h 1265207"/>
              <a:gd name="connsiteX100" fmla="*/ 7165675 w 8125783"/>
              <a:gd name="connsiteY100" fmla="*/ 224287 h 1265207"/>
              <a:gd name="connsiteX101" fmla="*/ 7200181 w 8125783"/>
              <a:gd name="connsiteY101" fmla="*/ 212785 h 1265207"/>
              <a:gd name="connsiteX102" fmla="*/ 7217434 w 8125783"/>
              <a:gd name="connsiteY102" fmla="*/ 207034 h 1265207"/>
              <a:gd name="connsiteX103" fmla="*/ 7240438 w 8125783"/>
              <a:gd name="connsiteY103" fmla="*/ 201283 h 1265207"/>
              <a:gd name="connsiteX104" fmla="*/ 7269192 w 8125783"/>
              <a:gd name="connsiteY104" fmla="*/ 184030 h 1265207"/>
              <a:gd name="connsiteX105" fmla="*/ 7303698 w 8125783"/>
              <a:gd name="connsiteY105" fmla="*/ 172528 h 1265207"/>
              <a:gd name="connsiteX106" fmla="*/ 7343955 w 8125783"/>
              <a:gd name="connsiteY106" fmla="*/ 155275 h 1265207"/>
              <a:gd name="connsiteX107" fmla="*/ 7366958 w 8125783"/>
              <a:gd name="connsiteY107" fmla="*/ 143773 h 1265207"/>
              <a:gd name="connsiteX108" fmla="*/ 7384211 w 8125783"/>
              <a:gd name="connsiteY108" fmla="*/ 138022 h 1265207"/>
              <a:gd name="connsiteX109" fmla="*/ 7412966 w 8125783"/>
              <a:gd name="connsiteY109" fmla="*/ 126521 h 1265207"/>
              <a:gd name="connsiteX110" fmla="*/ 7458974 w 8125783"/>
              <a:gd name="connsiteY110" fmla="*/ 103517 h 1265207"/>
              <a:gd name="connsiteX111" fmla="*/ 7487728 w 8125783"/>
              <a:gd name="connsiteY111" fmla="*/ 97766 h 1265207"/>
              <a:gd name="connsiteX112" fmla="*/ 7504981 w 8125783"/>
              <a:gd name="connsiteY112" fmla="*/ 92015 h 1265207"/>
              <a:gd name="connsiteX113" fmla="*/ 7527985 w 8125783"/>
              <a:gd name="connsiteY113" fmla="*/ 86264 h 1265207"/>
              <a:gd name="connsiteX114" fmla="*/ 7545238 w 8125783"/>
              <a:gd name="connsiteY114" fmla="*/ 74762 h 1265207"/>
              <a:gd name="connsiteX115" fmla="*/ 7573992 w 8125783"/>
              <a:gd name="connsiteY115" fmla="*/ 69011 h 1265207"/>
              <a:gd name="connsiteX116" fmla="*/ 7620000 w 8125783"/>
              <a:gd name="connsiteY116" fmla="*/ 57509 h 1265207"/>
              <a:gd name="connsiteX117" fmla="*/ 7648755 w 8125783"/>
              <a:gd name="connsiteY117" fmla="*/ 51758 h 1265207"/>
              <a:gd name="connsiteX118" fmla="*/ 7712015 w 8125783"/>
              <a:gd name="connsiteY118" fmla="*/ 34505 h 1265207"/>
              <a:gd name="connsiteX119" fmla="*/ 7775275 w 8125783"/>
              <a:gd name="connsiteY119" fmla="*/ 28754 h 1265207"/>
              <a:gd name="connsiteX120" fmla="*/ 7844287 w 8125783"/>
              <a:gd name="connsiteY120" fmla="*/ 34505 h 1265207"/>
              <a:gd name="connsiteX121" fmla="*/ 7942053 w 8125783"/>
              <a:gd name="connsiteY121" fmla="*/ 23004 h 1265207"/>
              <a:gd name="connsiteX122" fmla="*/ 8005313 w 8125783"/>
              <a:gd name="connsiteY122" fmla="*/ 5751 h 1265207"/>
              <a:gd name="connsiteX123" fmla="*/ 8120332 w 8125783"/>
              <a:gd name="connsiteY123" fmla="*/ 0 h 1265207"/>
              <a:gd name="connsiteX124" fmla="*/ 8120332 w 8125783"/>
              <a:gd name="connsiteY124" fmla="*/ 1265207 h 1265207"/>
              <a:gd name="connsiteX0" fmla="*/ 890165 w 8229124"/>
              <a:gd name="connsiteY0" fmla="*/ 1356014 h 1379232"/>
              <a:gd name="connsiteX1" fmla="*/ 103341 w 8229124"/>
              <a:gd name="connsiteY1" fmla="*/ 188787 h 1379232"/>
              <a:gd name="connsiteX2" fmla="*/ 270118 w 8229124"/>
              <a:gd name="connsiteY2" fmla="*/ 223293 h 1379232"/>
              <a:gd name="connsiteX3" fmla="*/ 373635 w 8229124"/>
              <a:gd name="connsiteY3" fmla="*/ 240546 h 1379232"/>
              <a:gd name="connsiteX4" fmla="*/ 436896 w 8229124"/>
              <a:gd name="connsiteY4" fmla="*/ 257798 h 1379232"/>
              <a:gd name="connsiteX5" fmla="*/ 477152 w 8229124"/>
              <a:gd name="connsiteY5" fmla="*/ 263549 h 1379232"/>
              <a:gd name="connsiteX6" fmla="*/ 569167 w 8229124"/>
              <a:gd name="connsiteY6" fmla="*/ 286553 h 1379232"/>
              <a:gd name="connsiteX7" fmla="*/ 615175 w 8229124"/>
              <a:gd name="connsiteY7" fmla="*/ 298055 h 1379232"/>
              <a:gd name="connsiteX8" fmla="*/ 701439 w 8229124"/>
              <a:gd name="connsiteY8" fmla="*/ 309557 h 1379232"/>
              <a:gd name="connsiteX9" fmla="*/ 948730 w 8229124"/>
              <a:gd name="connsiteY9" fmla="*/ 355564 h 1379232"/>
              <a:gd name="connsiteX10" fmla="*/ 1040745 w 8229124"/>
              <a:gd name="connsiteY10" fmla="*/ 367066 h 1379232"/>
              <a:gd name="connsiteX11" fmla="*/ 1092503 w 8229124"/>
              <a:gd name="connsiteY11" fmla="*/ 372817 h 1379232"/>
              <a:gd name="connsiteX12" fmla="*/ 1127009 w 8229124"/>
              <a:gd name="connsiteY12" fmla="*/ 378568 h 1379232"/>
              <a:gd name="connsiteX13" fmla="*/ 1316790 w 8229124"/>
              <a:gd name="connsiteY13" fmla="*/ 390070 h 1379232"/>
              <a:gd name="connsiteX14" fmla="*/ 1546828 w 8229124"/>
              <a:gd name="connsiteY14" fmla="*/ 384319 h 1379232"/>
              <a:gd name="connsiteX15" fmla="*/ 1575582 w 8229124"/>
              <a:gd name="connsiteY15" fmla="*/ 378568 h 1379232"/>
              <a:gd name="connsiteX16" fmla="*/ 1638843 w 8229124"/>
              <a:gd name="connsiteY16" fmla="*/ 372817 h 1379232"/>
              <a:gd name="connsiteX17" fmla="*/ 1667598 w 8229124"/>
              <a:gd name="connsiteY17" fmla="*/ 367066 h 1379232"/>
              <a:gd name="connsiteX18" fmla="*/ 1713605 w 8229124"/>
              <a:gd name="connsiteY18" fmla="*/ 361315 h 1379232"/>
              <a:gd name="connsiteX19" fmla="*/ 1736609 w 8229124"/>
              <a:gd name="connsiteY19" fmla="*/ 349813 h 1379232"/>
              <a:gd name="connsiteX20" fmla="*/ 1759613 w 8229124"/>
              <a:gd name="connsiteY20" fmla="*/ 344062 h 1379232"/>
              <a:gd name="connsiteX21" fmla="*/ 1776865 w 8229124"/>
              <a:gd name="connsiteY21" fmla="*/ 338312 h 1379232"/>
              <a:gd name="connsiteX22" fmla="*/ 1822873 w 8229124"/>
              <a:gd name="connsiteY22" fmla="*/ 326810 h 1379232"/>
              <a:gd name="connsiteX23" fmla="*/ 1845877 w 8229124"/>
              <a:gd name="connsiteY23" fmla="*/ 321059 h 1379232"/>
              <a:gd name="connsiteX24" fmla="*/ 1874631 w 8229124"/>
              <a:gd name="connsiteY24" fmla="*/ 303806 h 1379232"/>
              <a:gd name="connsiteX25" fmla="*/ 1909137 w 8229124"/>
              <a:gd name="connsiteY25" fmla="*/ 292304 h 1379232"/>
              <a:gd name="connsiteX26" fmla="*/ 1926390 w 8229124"/>
              <a:gd name="connsiteY26" fmla="*/ 286553 h 1379232"/>
              <a:gd name="connsiteX27" fmla="*/ 1989650 w 8229124"/>
              <a:gd name="connsiteY27" fmla="*/ 269300 h 1379232"/>
              <a:gd name="connsiteX28" fmla="*/ 2041409 w 8229124"/>
              <a:gd name="connsiteY28" fmla="*/ 246296 h 1379232"/>
              <a:gd name="connsiteX29" fmla="*/ 2058662 w 8229124"/>
              <a:gd name="connsiteY29" fmla="*/ 240546 h 1379232"/>
              <a:gd name="connsiteX30" fmla="*/ 2081665 w 8229124"/>
              <a:gd name="connsiteY30" fmla="*/ 229044 h 1379232"/>
              <a:gd name="connsiteX31" fmla="*/ 2098918 w 8229124"/>
              <a:gd name="connsiteY31" fmla="*/ 223293 h 1379232"/>
              <a:gd name="connsiteX32" fmla="*/ 2121922 w 8229124"/>
              <a:gd name="connsiteY32" fmla="*/ 211791 h 1379232"/>
              <a:gd name="connsiteX33" fmla="*/ 2156428 w 8229124"/>
              <a:gd name="connsiteY33" fmla="*/ 206040 h 1379232"/>
              <a:gd name="connsiteX34" fmla="*/ 2190933 w 8229124"/>
              <a:gd name="connsiteY34" fmla="*/ 194538 h 1379232"/>
              <a:gd name="connsiteX35" fmla="*/ 2225439 w 8229124"/>
              <a:gd name="connsiteY35" fmla="*/ 188787 h 1379232"/>
              <a:gd name="connsiteX36" fmla="*/ 2248443 w 8229124"/>
              <a:gd name="connsiteY36" fmla="*/ 183036 h 1379232"/>
              <a:gd name="connsiteX37" fmla="*/ 2455477 w 8229124"/>
              <a:gd name="connsiteY37" fmla="*/ 177285 h 1379232"/>
              <a:gd name="connsiteX38" fmla="*/ 2639507 w 8229124"/>
              <a:gd name="connsiteY38" fmla="*/ 183036 h 1379232"/>
              <a:gd name="connsiteX39" fmla="*/ 2674013 w 8229124"/>
              <a:gd name="connsiteY39" fmla="*/ 200289 h 1379232"/>
              <a:gd name="connsiteX40" fmla="*/ 2714269 w 8229124"/>
              <a:gd name="connsiteY40" fmla="*/ 211791 h 1379232"/>
              <a:gd name="connsiteX41" fmla="*/ 2737273 w 8229124"/>
              <a:gd name="connsiteY41" fmla="*/ 223293 h 1379232"/>
              <a:gd name="connsiteX42" fmla="*/ 2760277 w 8229124"/>
              <a:gd name="connsiteY42" fmla="*/ 229044 h 1379232"/>
              <a:gd name="connsiteX43" fmla="*/ 2794782 w 8229124"/>
              <a:gd name="connsiteY43" fmla="*/ 240546 h 1379232"/>
              <a:gd name="connsiteX44" fmla="*/ 2812035 w 8229124"/>
              <a:gd name="connsiteY44" fmla="*/ 246296 h 1379232"/>
              <a:gd name="connsiteX45" fmla="*/ 2863794 w 8229124"/>
              <a:gd name="connsiteY45" fmla="*/ 252047 h 1379232"/>
              <a:gd name="connsiteX46" fmla="*/ 2927054 w 8229124"/>
              <a:gd name="connsiteY46" fmla="*/ 263549 h 1379232"/>
              <a:gd name="connsiteX47" fmla="*/ 2990315 w 8229124"/>
              <a:gd name="connsiteY47" fmla="*/ 269300 h 1379232"/>
              <a:gd name="connsiteX48" fmla="*/ 3059326 w 8229124"/>
              <a:gd name="connsiteY48" fmla="*/ 280802 h 1379232"/>
              <a:gd name="connsiteX49" fmla="*/ 3122586 w 8229124"/>
              <a:gd name="connsiteY49" fmla="*/ 286553 h 1379232"/>
              <a:gd name="connsiteX50" fmla="*/ 3185847 w 8229124"/>
              <a:gd name="connsiteY50" fmla="*/ 303806 h 1379232"/>
              <a:gd name="connsiteX51" fmla="*/ 3226103 w 8229124"/>
              <a:gd name="connsiteY51" fmla="*/ 315308 h 1379232"/>
              <a:gd name="connsiteX52" fmla="*/ 3249107 w 8229124"/>
              <a:gd name="connsiteY52" fmla="*/ 326810 h 1379232"/>
              <a:gd name="connsiteX53" fmla="*/ 3283613 w 8229124"/>
              <a:gd name="connsiteY53" fmla="*/ 332561 h 1379232"/>
              <a:gd name="connsiteX54" fmla="*/ 3312367 w 8229124"/>
              <a:gd name="connsiteY54" fmla="*/ 338312 h 1379232"/>
              <a:gd name="connsiteX55" fmla="*/ 3335371 w 8229124"/>
              <a:gd name="connsiteY55" fmla="*/ 344062 h 1379232"/>
              <a:gd name="connsiteX56" fmla="*/ 3513650 w 8229124"/>
              <a:gd name="connsiteY56" fmla="*/ 349813 h 1379232"/>
              <a:gd name="connsiteX57" fmla="*/ 3582662 w 8229124"/>
              <a:gd name="connsiteY57" fmla="*/ 355564 h 1379232"/>
              <a:gd name="connsiteX58" fmla="*/ 3605665 w 8229124"/>
              <a:gd name="connsiteY58" fmla="*/ 367066 h 1379232"/>
              <a:gd name="connsiteX59" fmla="*/ 3657424 w 8229124"/>
              <a:gd name="connsiteY59" fmla="*/ 390070 h 1379232"/>
              <a:gd name="connsiteX60" fmla="*/ 3709182 w 8229124"/>
              <a:gd name="connsiteY60" fmla="*/ 413074 h 1379232"/>
              <a:gd name="connsiteX61" fmla="*/ 3760941 w 8229124"/>
              <a:gd name="connsiteY61" fmla="*/ 436078 h 1379232"/>
              <a:gd name="connsiteX62" fmla="*/ 3783945 w 8229124"/>
              <a:gd name="connsiteY62" fmla="*/ 447579 h 1379232"/>
              <a:gd name="connsiteX63" fmla="*/ 3835703 w 8229124"/>
              <a:gd name="connsiteY63" fmla="*/ 464832 h 1379232"/>
              <a:gd name="connsiteX64" fmla="*/ 3852956 w 8229124"/>
              <a:gd name="connsiteY64" fmla="*/ 470583 h 1379232"/>
              <a:gd name="connsiteX65" fmla="*/ 3881711 w 8229124"/>
              <a:gd name="connsiteY65" fmla="*/ 487836 h 1379232"/>
              <a:gd name="connsiteX66" fmla="*/ 3921967 w 8229124"/>
              <a:gd name="connsiteY66" fmla="*/ 499338 h 1379232"/>
              <a:gd name="connsiteX67" fmla="*/ 3956473 w 8229124"/>
              <a:gd name="connsiteY67" fmla="*/ 510840 h 1379232"/>
              <a:gd name="connsiteX68" fmla="*/ 3996730 w 8229124"/>
              <a:gd name="connsiteY68" fmla="*/ 516591 h 1379232"/>
              <a:gd name="connsiteX69" fmla="*/ 4152005 w 8229124"/>
              <a:gd name="connsiteY69" fmla="*/ 528093 h 1379232"/>
              <a:gd name="connsiteX70" fmla="*/ 4341786 w 8229124"/>
              <a:gd name="connsiteY70" fmla="*/ 539595 h 1379232"/>
              <a:gd name="connsiteX71" fmla="*/ 4462556 w 8229124"/>
              <a:gd name="connsiteY71" fmla="*/ 551096 h 1379232"/>
              <a:gd name="connsiteX72" fmla="*/ 4600579 w 8229124"/>
              <a:gd name="connsiteY72" fmla="*/ 562598 h 1379232"/>
              <a:gd name="connsiteX73" fmla="*/ 4658088 w 8229124"/>
              <a:gd name="connsiteY73" fmla="*/ 568349 h 1379232"/>
              <a:gd name="connsiteX74" fmla="*/ 4842118 w 8229124"/>
              <a:gd name="connsiteY74" fmla="*/ 579851 h 1379232"/>
              <a:gd name="connsiteX75" fmla="*/ 5083658 w 8229124"/>
              <a:gd name="connsiteY75" fmla="*/ 591353 h 1379232"/>
              <a:gd name="connsiteX76" fmla="*/ 5388458 w 8229124"/>
              <a:gd name="connsiteY76" fmla="*/ 585602 h 1379232"/>
              <a:gd name="connsiteX77" fmla="*/ 5428715 w 8229124"/>
              <a:gd name="connsiteY77" fmla="*/ 574100 h 1379232"/>
              <a:gd name="connsiteX78" fmla="*/ 5480473 w 8229124"/>
              <a:gd name="connsiteY78" fmla="*/ 562598 h 1379232"/>
              <a:gd name="connsiteX79" fmla="*/ 5509228 w 8229124"/>
              <a:gd name="connsiteY79" fmla="*/ 556847 h 1379232"/>
              <a:gd name="connsiteX80" fmla="*/ 5537982 w 8229124"/>
              <a:gd name="connsiteY80" fmla="*/ 545346 h 1379232"/>
              <a:gd name="connsiteX81" fmla="*/ 5601243 w 8229124"/>
              <a:gd name="connsiteY81" fmla="*/ 533844 h 1379232"/>
              <a:gd name="connsiteX82" fmla="*/ 5647250 w 8229124"/>
              <a:gd name="connsiteY82" fmla="*/ 522342 h 1379232"/>
              <a:gd name="connsiteX83" fmla="*/ 5710511 w 8229124"/>
              <a:gd name="connsiteY83" fmla="*/ 505089 h 1379232"/>
              <a:gd name="connsiteX84" fmla="*/ 5727764 w 8229124"/>
              <a:gd name="connsiteY84" fmla="*/ 493587 h 1379232"/>
              <a:gd name="connsiteX85" fmla="*/ 5768020 w 8229124"/>
              <a:gd name="connsiteY85" fmla="*/ 482085 h 1379232"/>
              <a:gd name="connsiteX86" fmla="*/ 5831281 w 8229124"/>
              <a:gd name="connsiteY86" fmla="*/ 459081 h 1379232"/>
              <a:gd name="connsiteX87" fmla="*/ 5865786 w 8229124"/>
              <a:gd name="connsiteY87" fmla="*/ 447579 h 1379232"/>
              <a:gd name="connsiteX88" fmla="*/ 5888790 w 8229124"/>
              <a:gd name="connsiteY88" fmla="*/ 436078 h 1379232"/>
              <a:gd name="connsiteX89" fmla="*/ 5934798 w 8229124"/>
              <a:gd name="connsiteY89" fmla="*/ 430327 h 1379232"/>
              <a:gd name="connsiteX90" fmla="*/ 5986556 w 8229124"/>
              <a:gd name="connsiteY90" fmla="*/ 418825 h 1379232"/>
              <a:gd name="connsiteX91" fmla="*/ 6015311 w 8229124"/>
              <a:gd name="connsiteY91" fmla="*/ 413074 h 1379232"/>
              <a:gd name="connsiteX92" fmla="*/ 6049816 w 8229124"/>
              <a:gd name="connsiteY92" fmla="*/ 407323 h 1379232"/>
              <a:gd name="connsiteX93" fmla="*/ 6205092 w 8229124"/>
              <a:gd name="connsiteY93" fmla="*/ 401572 h 1379232"/>
              <a:gd name="connsiteX94" fmla="*/ 7004473 w 8229124"/>
              <a:gd name="connsiteY94" fmla="*/ 395821 h 1379232"/>
              <a:gd name="connsiteX95" fmla="*/ 7061982 w 8229124"/>
              <a:gd name="connsiteY95" fmla="*/ 390070 h 1379232"/>
              <a:gd name="connsiteX96" fmla="*/ 7200005 w 8229124"/>
              <a:gd name="connsiteY96" fmla="*/ 361315 h 1379232"/>
              <a:gd name="connsiteX97" fmla="*/ 7223009 w 8229124"/>
              <a:gd name="connsiteY97" fmla="*/ 355564 h 1379232"/>
              <a:gd name="connsiteX98" fmla="*/ 7246013 w 8229124"/>
              <a:gd name="connsiteY98" fmla="*/ 344062 h 1379232"/>
              <a:gd name="connsiteX99" fmla="*/ 7269016 w 8229124"/>
              <a:gd name="connsiteY99" fmla="*/ 338312 h 1379232"/>
              <a:gd name="connsiteX100" fmla="*/ 7303522 w 8229124"/>
              <a:gd name="connsiteY100" fmla="*/ 326810 h 1379232"/>
              <a:gd name="connsiteX101" fmla="*/ 7320775 w 8229124"/>
              <a:gd name="connsiteY101" fmla="*/ 321059 h 1379232"/>
              <a:gd name="connsiteX102" fmla="*/ 7343779 w 8229124"/>
              <a:gd name="connsiteY102" fmla="*/ 315308 h 1379232"/>
              <a:gd name="connsiteX103" fmla="*/ 7372533 w 8229124"/>
              <a:gd name="connsiteY103" fmla="*/ 298055 h 1379232"/>
              <a:gd name="connsiteX104" fmla="*/ 7407039 w 8229124"/>
              <a:gd name="connsiteY104" fmla="*/ 286553 h 1379232"/>
              <a:gd name="connsiteX105" fmla="*/ 7447296 w 8229124"/>
              <a:gd name="connsiteY105" fmla="*/ 269300 h 1379232"/>
              <a:gd name="connsiteX106" fmla="*/ 7470299 w 8229124"/>
              <a:gd name="connsiteY106" fmla="*/ 257798 h 1379232"/>
              <a:gd name="connsiteX107" fmla="*/ 7487552 w 8229124"/>
              <a:gd name="connsiteY107" fmla="*/ 252047 h 1379232"/>
              <a:gd name="connsiteX108" fmla="*/ 7516307 w 8229124"/>
              <a:gd name="connsiteY108" fmla="*/ 240546 h 1379232"/>
              <a:gd name="connsiteX109" fmla="*/ 7562315 w 8229124"/>
              <a:gd name="connsiteY109" fmla="*/ 217542 h 1379232"/>
              <a:gd name="connsiteX110" fmla="*/ 7591069 w 8229124"/>
              <a:gd name="connsiteY110" fmla="*/ 211791 h 1379232"/>
              <a:gd name="connsiteX111" fmla="*/ 7608322 w 8229124"/>
              <a:gd name="connsiteY111" fmla="*/ 206040 h 1379232"/>
              <a:gd name="connsiteX112" fmla="*/ 7631326 w 8229124"/>
              <a:gd name="connsiteY112" fmla="*/ 200289 h 1379232"/>
              <a:gd name="connsiteX113" fmla="*/ 7648579 w 8229124"/>
              <a:gd name="connsiteY113" fmla="*/ 188787 h 1379232"/>
              <a:gd name="connsiteX114" fmla="*/ 7677333 w 8229124"/>
              <a:gd name="connsiteY114" fmla="*/ 183036 h 1379232"/>
              <a:gd name="connsiteX115" fmla="*/ 7723341 w 8229124"/>
              <a:gd name="connsiteY115" fmla="*/ 171534 h 1379232"/>
              <a:gd name="connsiteX116" fmla="*/ 7752096 w 8229124"/>
              <a:gd name="connsiteY116" fmla="*/ 165783 h 1379232"/>
              <a:gd name="connsiteX117" fmla="*/ 7815356 w 8229124"/>
              <a:gd name="connsiteY117" fmla="*/ 148530 h 1379232"/>
              <a:gd name="connsiteX118" fmla="*/ 7878616 w 8229124"/>
              <a:gd name="connsiteY118" fmla="*/ 142779 h 1379232"/>
              <a:gd name="connsiteX119" fmla="*/ 7947628 w 8229124"/>
              <a:gd name="connsiteY119" fmla="*/ 148530 h 1379232"/>
              <a:gd name="connsiteX120" fmla="*/ 8045394 w 8229124"/>
              <a:gd name="connsiteY120" fmla="*/ 137029 h 1379232"/>
              <a:gd name="connsiteX121" fmla="*/ 8108654 w 8229124"/>
              <a:gd name="connsiteY121" fmla="*/ 119776 h 1379232"/>
              <a:gd name="connsiteX122" fmla="*/ 8223673 w 8229124"/>
              <a:gd name="connsiteY122" fmla="*/ 114025 h 1379232"/>
              <a:gd name="connsiteX123" fmla="*/ 8223673 w 8229124"/>
              <a:gd name="connsiteY123" fmla="*/ 1379232 h 1379232"/>
              <a:gd name="connsiteX0" fmla="*/ 646929 w 7985888"/>
              <a:gd name="connsiteY0" fmla="*/ 1241989 h 1265207"/>
              <a:gd name="connsiteX1" fmla="*/ 26882 w 7985888"/>
              <a:gd name="connsiteY1" fmla="*/ 109268 h 1265207"/>
              <a:gd name="connsiteX2" fmla="*/ 130399 w 7985888"/>
              <a:gd name="connsiteY2" fmla="*/ 126521 h 1265207"/>
              <a:gd name="connsiteX3" fmla="*/ 193660 w 7985888"/>
              <a:gd name="connsiteY3" fmla="*/ 143773 h 1265207"/>
              <a:gd name="connsiteX4" fmla="*/ 233916 w 7985888"/>
              <a:gd name="connsiteY4" fmla="*/ 149524 h 1265207"/>
              <a:gd name="connsiteX5" fmla="*/ 325931 w 7985888"/>
              <a:gd name="connsiteY5" fmla="*/ 172528 h 1265207"/>
              <a:gd name="connsiteX6" fmla="*/ 371939 w 7985888"/>
              <a:gd name="connsiteY6" fmla="*/ 184030 h 1265207"/>
              <a:gd name="connsiteX7" fmla="*/ 458203 w 7985888"/>
              <a:gd name="connsiteY7" fmla="*/ 195532 h 1265207"/>
              <a:gd name="connsiteX8" fmla="*/ 705494 w 7985888"/>
              <a:gd name="connsiteY8" fmla="*/ 241539 h 1265207"/>
              <a:gd name="connsiteX9" fmla="*/ 797509 w 7985888"/>
              <a:gd name="connsiteY9" fmla="*/ 253041 h 1265207"/>
              <a:gd name="connsiteX10" fmla="*/ 849267 w 7985888"/>
              <a:gd name="connsiteY10" fmla="*/ 258792 h 1265207"/>
              <a:gd name="connsiteX11" fmla="*/ 883773 w 7985888"/>
              <a:gd name="connsiteY11" fmla="*/ 264543 h 1265207"/>
              <a:gd name="connsiteX12" fmla="*/ 1073554 w 7985888"/>
              <a:gd name="connsiteY12" fmla="*/ 276045 h 1265207"/>
              <a:gd name="connsiteX13" fmla="*/ 1303592 w 7985888"/>
              <a:gd name="connsiteY13" fmla="*/ 270294 h 1265207"/>
              <a:gd name="connsiteX14" fmla="*/ 1332346 w 7985888"/>
              <a:gd name="connsiteY14" fmla="*/ 264543 h 1265207"/>
              <a:gd name="connsiteX15" fmla="*/ 1395607 w 7985888"/>
              <a:gd name="connsiteY15" fmla="*/ 258792 h 1265207"/>
              <a:gd name="connsiteX16" fmla="*/ 1424362 w 7985888"/>
              <a:gd name="connsiteY16" fmla="*/ 253041 h 1265207"/>
              <a:gd name="connsiteX17" fmla="*/ 1470369 w 7985888"/>
              <a:gd name="connsiteY17" fmla="*/ 247290 h 1265207"/>
              <a:gd name="connsiteX18" fmla="*/ 1493373 w 7985888"/>
              <a:gd name="connsiteY18" fmla="*/ 235788 h 1265207"/>
              <a:gd name="connsiteX19" fmla="*/ 1516377 w 7985888"/>
              <a:gd name="connsiteY19" fmla="*/ 230037 h 1265207"/>
              <a:gd name="connsiteX20" fmla="*/ 1533629 w 7985888"/>
              <a:gd name="connsiteY20" fmla="*/ 224287 h 1265207"/>
              <a:gd name="connsiteX21" fmla="*/ 1579637 w 7985888"/>
              <a:gd name="connsiteY21" fmla="*/ 212785 h 1265207"/>
              <a:gd name="connsiteX22" fmla="*/ 1602641 w 7985888"/>
              <a:gd name="connsiteY22" fmla="*/ 207034 h 1265207"/>
              <a:gd name="connsiteX23" fmla="*/ 1631395 w 7985888"/>
              <a:gd name="connsiteY23" fmla="*/ 189781 h 1265207"/>
              <a:gd name="connsiteX24" fmla="*/ 1665901 w 7985888"/>
              <a:gd name="connsiteY24" fmla="*/ 178279 h 1265207"/>
              <a:gd name="connsiteX25" fmla="*/ 1683154 w 7985888"/>
              <a:gd name="connsiteY25" fmla="*/ 172528 h 1265207"/>
              <a:gd name="connsiteX26" fmla="*/ 1746414 w 7985888"/>
              <a:gd name="connsiteY26" fmla="*/ 155275 h 1265207"/>
              <a:gd name="connsiteX27" fmla="*/ 1798173 w 7985888"/>
              <a:gd name="connsiteY27" fmla="*/ 132271 h 1265207"/>
              <a:gd name="connsiteX28" fmla="*/ 1815426 w 7985888"/>
              <a:gd name="connsiteY28" fmla="*/ 126521 h 1265207"/>
              <a:gd name="connsiteX29" fmla="*/ 1838429 w 7985888"/>
              <a:gd name="connsiteY29" fmla="*/ 115019 h 1265207"/>
              <a:gd name="connsiteX30" fmla="*/ 1855682 w 7985888"/>
              <a:gd name="connsiteY30" fmla="*/ 109268 h 1265207"/>
              <a:gd name="connsiteX31" fmla="*/ 1878686 w 7985888"/>
              <a:gd name="connsiteY31" fmla="*/ 97766 h 1265207"/>
              <a:gd name="connsiteX32" fmla="*/ 1913192 w 7985888"/>
              <a:gd name="connsiteY32" fmla="*/ 92015 h 1265207"/>
              <a:gd name="connsiteX33" fmla="*/ 1947697 w 7985888"/>
              <a:gd name="connsiteY33" fmla="*/ 80513 h 1265207"/>
              <a:gd name="connsiteX34" fmla="*/ 1982203 w 7985888"/>
              <a:gd name="connsiteY34" fmla="*/ 74762 h 1265207"/>
              <a:gd name="connsiteX35" fmla="*/ 2005207 w 7985888"/>
              <a:gd name="connsiteY35" fmla="*/ 69011 h 1265207"/>
              <a:gd name="connsiteX36" fmla="*/ 2212241 w 7985888"/>
              <a:gd name="connsiteY36" fmla="*/ 63260 h 1265207"/>
              <a:gd name="connsiteX37" fmla="*/ 2396271 w 7985888"/>
              <a:gd name="connsiteY37" fmla="*/ 69011 h 1265207"/>
              <a:gd name="connsiteX38" fmla="*/ 2430777 w 7985888"/>
              <a:gd name="connsiteY38" fmla="*/ 86264 h 1265207"/>
              <a:gd name="connsiteX39" fmla="*/ 2471033 w 7985888"/>
              <a:gd name="connsiteY39" fmla="*/ 97766 h 1265207"/>
              <a:gd name="connsiteX40" fmla="*/ 2494037 w 7985888"/>
              <a:gd name="connsiteY40" fmla="*/ 109268 h 1265207"/>
              <a:gd name="connsiteX41" fmla="*/ 2517041 w 7985888"/>
              <a:gd name="connsiteY41" fmla="*/ 115019 h 1265207"/>
              <a:gd name="connsiteX42" fmla="*/ 2551546 w 7985888"/>
              <a:gd name="connsiteY42" fmla="*/ 126521 h 1265207"/>
              <a:gd name="connsiteX43" fmla="*/ 2568799 w 7985888"/>
              <a:gd name="connsiteY43" fmla="*/ 132271 h 1265207"/>
              <a:gd name="connsiteX44" fmla="*/ 2620558 w 7985888"/>
              <a:gd name="connsiteY44" fmla="*/ 138022 h 1265207"/>
              <a:gd name="connsiteX45" fmla="*/ 2683818 w 7985888"/>
              <a:gd name="connsiteY45" fmla="*/ 149524 h 1265207"/>
              <a:gd name="connsiteX46" fmla="*/ 2747079 w 7985888"/>
              <a:gd name="connsiteY46" fmla="*/ 155275 h 1265207"/>
              <a:gd name="connsiteX47" fmla="*/ 2816090 w 7985888"/>
              <a:gd name="connsiteY47" fmla="*/ 166777 h 1265207"/>
              <a:gd name="connsiteX48" fmla="*/ 2879350 w 7985888"/>
              <a:gd name="connsiteY48" fmla="*/ 172528 h 1265207"/>
              <a:gd name="connsiteX49" fmla="*/ 2942611 w 7985888"/>
              <a:gd name="connsiteY49" fmla="*/ 189781 h 1265207"/>
              <a:gd name="connsiteX50" fmla="*/ 2982867 w 7985888"/>
              <a:gd name="connsiteY50" fmla="*/ 201283 h 1265207"/>
              <a:gd name="connsiteX51" fmla="*/ 3005871 w 7985888"/>
              <a:gd name="connsiteY51" fmla="*/ 212785 h 1265207"/>
              <a:gd name="connsiteX52" fmla="*/ 3040377 w 7985888"/>
              <a:gd name="connsiteY52" fmla="*/ 218536 h 1265207"/>
              <a:gd name="connsiteX53" fmla="*/ 3069131 w 7985888"/>
              <a:gd name="connsiteY53" fmla="*/ 224287 h 1265207"/>
              <a:gd name="connsiteX54" fmla="*/ 3092135 w 7985888"/>
              <a:gd name="connsiteY54" fmla="*/ 230037 h 1265207"/>
              <a:gd name="connsiteX55" fmla="*/ 3270414 w 7985888"/>
              <a:gd name="connsiteY55" fmla="*/ 235788 h 1265207"/>
              <a:gd name="connsiteX56" fmla="*/ 3339426 w 7985888"/>
              <a:gd name="connsiteY56" fmla="*/ 241539 h 1265207"/>
              <a:gd name="connsiteX57" fmla="*/ 3362429 w 7985888"/>
              <a:gd name="connsiteY57" fmla="*/ 253041 h 1265207"/>
              <a:gd name="connsiteX58" fmla="*/ 3414188 w 7985888"/>
              <a:gd name="connsiteY58" fmla="*/ 276045 h 1265207"/>
              <a:gd name="connsiteX59" fmla="*/ 3465946 w 7985888"/>
              <a:gd name="connsiteY59" fmla="*/ 299049 h 1265207"/>
              <a:gd name="connsiteX60" fmla="*/ 3517705 w 7985888"/>
              <a:gd name="connsiteY60" fmla="*/ 322053 h 1265207"/>
              <a:gd name="connsiteX61" fmla="*/ 3540709 w 7985888"/>
              <a:gd name="connsiteY61" fmla="*/ 333554 h 1265207"/>
              <a:gd name="connsiteX62" fmla="*/ 3592467 w 7985888"/>
              <a:gd name="connsiteY62" fmla="*/ 350807 h 1265207"/>
              <a:gd name="connsiteX63" fmla="*/ 3609720 w 7985888"/>
              <a:gd name="connsiteY63" fmla="*/ 356558 h 1265207"/>
              <a:gd name="connsiteX64" fmla="*/ 3638475 w 7985888"/>
              <a:gd name="connsiteY64" fmla="*/ 373811 h 1265207"/>
              <a:gd name="connsiteX65" fmla="*/ 3678731 w 7985888"/>
              <a:gd name="connsiteY65" fmla="*/ 385313 h 1265207"/>
              <a:gd name="connsiteX66" fmla="*/ 3713237 w 7985888"/>
              <a:gd name="connsiteY66" fmla="*/ 396815 h 1265207"/>
              <a:gd name="connsiteX67" fmla="*/ 3753494 w 7985888"/>
              <a:gd name="connsiteY67" fmla="*/ 402566 h 1265207"/>
              <a:gd name="connsiteX68" fmla="*/ 3908769 w 7985888"/>
              <a:gd name="connsiteY68" fmla="*/ 414068 h 1265207"/>
              <a:gd name="connsiteX69" fmla="*/ 4098550 w 7985888"/>
              <a:gd name="connsiteY69" fmla="*/ 425570 h 1265207"/>
              <a:gd name="connsiteX70" fmla="*/ 4219320 w 7985888"/>
              <a:gd name="connsiteY70" fmla="*/ 437071 h 1265207"/>
              <a:gd name="connsiteX71" fmla="*/ 4357343 w 7985888"/>
              <a:gd name="connsiteY71" fmla="*/ 448573 h 1265207"/>
              <a:gd name="connsiteX72" fmla="*/ 4414852 w 7985888"/>
              <a:gd name="connsiteY72" fmla="*/ 454324 h 1265207"/>
              <a:gd name="connsiteX73" fmla="*/ 4598882 w 7985888"/>
              <a:gd name="connsiteY73" fmla="*/ 465826 h 1265207"/>
              <a:gd name="connsiteX74" fmla="*/ 4840422 w 7985888"/>
              <a:gd name="connsiteY74" fmla="*/ 477328 h 1265207"/>
              <a:gd name="connsiteX75" fmla="*/ 5145222 w 7985888"/>
              <a:gd name="connsiteY75" fmla="*/ 471577 h 1265207"/>
              <a:gd name="connsiteX76" fmla="*/ 5185479 w 7985888"/>
              <a:gd name="connsiteY76" fmla="*/ 460075 h 1265207"/>
              <a:gd name="connsiteX77" fmla="*/ 5237237 w 7985888"/>
              <a:gd name="connsiteY77" fmla="*/ 448573 h 1265207"/>
              <a:gd name="connsiteX78" fmla="*/ 5265992 w 7985888"/>
              <a:gd name="connsiteY78" fmla="*/ 442822 h 1265207"/>
              <a:gd name="connsiteX79" fmla="*/ 5294746 w 7985888"/>
              <a:gd name="connsiteY79" fmla="*/ 431321 h 1265207"/>
              <a:gd name="connsiteX80" fmla="*/ 5358007 w 7985888"/>
              <a:gd name="connsiteY80" fmla="*/ 419819 h 1265207"/>
              <a:gd name="connsiteX81" fmla="*/ 5404014 w 7985888"/>
              <a:gd name="connsiteY81" fmla="*/ 408317 h 1265207"/>
              <a:gd name="connsiteX82" fmla="*/ 5467275 w 7985888"/>
              <a:gd name="connsiteY82" fmla="*/ 391064 h 1265207"/>
              <a:gd name="connsiteX83" fmla="*/ 5484528 w 7985888"/>
              <a:gd name="connsiteY83" fmla="*/ 379562 h 1265207"/>
              <a:gd name="connsiteX84" fmla="*/ 5524784 w 7985888"/>
              <a:gd name="connsiteY84" fmla="*/ 368060 h 1265207"/>
              <a:gd name="connsiteX85" fmla="*/ 5588045 w 7985888"/>
              <a:gd name="connsiteY85" fmla="*/ 345056 h 1265207"/>
              <a:gd name="connsiteX86" fmla="*/ 5622550 w 7985888"/>
              <a:gd name="connsiteY86" fmla="*/ 333554 h 1265207"/>
              <a:gd name="connsiteX87" fmla="*/ 5645554 w 7985888"/>
              <a:gd name="connsiteY87" fmla="*/ 322053 h 1265207"/>
              <a:gd name="connsiteX88" fmla="*/ 5691562 w 7985888"/>
              <a:gd name="connsiteY88" fmla="*/ 316302 h 1265207"/>
              <a:gd name="connsiteX89" fmla="*/ 5743320 w 7985888"/>
              <a:gd name="connsiteY89" fmla="*/ 304800 h 1265207"/>
              <a:gd name="connsiteX90" fmla="*/ 5772075 w 7985888"/>
              <a:gd name="connsiteY90" fmla="*/ 299049 h 1265207"/>
              <a:gd name="connsiteX91" fmla="*/ 5806580 w 7985888"/>
              <a:gd name="connsiteY91" fmla="*/ 293298 h 1265207"/>
              <a:gd name="connsiteX92" fmla="*/ 5961856 w 7985888"/>
              <a:gd name="connsiteY92" fmla="*/ 287547 h 1265207"/>
              <a:gd name="connsiteX93" fmla="*/ 6761237 w 7985888"/>
              <a:gd name="connsiteY93" fmla="*/ 281796 h 1265207"/>
              <a:gd name="connsiteX94" fmla="*/ 6818746 w 7985888"/>
              <a:gd name="connsiteY94" fmla="*/ 276045 h 1265207"/>
              <a:gd name="connsiteX95" fmla="*/ 6956769 w 7985888"/>
              <a:gd name="connsiteY95" fmla="*/ 247290 h 1265207"/>
              <a:gd name="connsiteX96" fmla="*/ 6979773 w 7985888"/>
              <a:gd name="connsiteY96" fmla="*/ 241539 h 1265207"/>
              <a:gd name="connsiteX97" fmla="*/ 7002777 w 7985888"/>
              <a:gd name="connsiteY97" fmla="*/ 230037 h 1265207"/>
              <a:gd name="connsiteX98" fmla="*/ 7025780 w 7985888"/>
              <a:gd name="connsiteY98" fmla="*/ 224287 h 1265207"/>
              <a:gd name="connsiteX99" fmla="*/ 7060286 w 7985888"/>
              <a:gd name="connsiteY99" fmla="*/ 212785 h 1265207"/>
              <a:gd name="connsiteX100" fmla="*/ 7077539 w 7985888"/>
              <a:gd name="connsiteY100" fmla="*/ 207034 h 1265207"/>
              <a:gd name="connsiteX101" fmla="*/ 7100543 w 7985888"/>
              <a:gd name="connsiteY101" fmla="*/ 201283 h 1265207"/>
              <a:gd name="connsiteX102" fmla="*/ 7129297 w 7985888"/>
              <a:gd name="connsiteY102" fmla="*/ 184030 h 1265207"/>
              <a:gd name="connsiteX103" fmla="*/ 7163803 w 7985888"/>
              <a:gd name="connsiteY103" fmla="*/ 172528 h 1265207"/>
              <a:gd name="connsiteX104" fmla="*/ 7204060 w 7985888"/>
              <a:gd name="connsiteY104" fmla="*/ 155275 h 1265207"/>
              <a:gd name="connsiteX105" fmla="*/ 7227063 w 7985888"/>
              <a:gd name="connsiteY105" fmla="*/ 143773 h 1265207"/>
              <a:gd name="connsiteX106" fmla="*/ 7244316 w 7985888"/>
              <a:gd name="connsiteY106" fmla="*/ 138022 h 1265207"/>
              <a:gd name="connsiteX107" fmla="*/ 7273071 w 7985888"/>
              <a:gd name="connsiteY107" fmla="*/ 126521 h 1265207"/>
              <a:gd name="connsiteX108" fmla="*/ 7319079 w 7985888"/>
              <a:gd name="connsiteY108" fmla="*/ 103517 h 1265207"/>
              <a:gd name="connsiteX109" fmla="*/ 7347833 w 7985888"/>
              <a:gd name="connsiteY109" fmla="*/ 97766 h 1265207"/>
              <a:gd name="connsiteX110" fmla="*/ 7365086 w 7985888"/>
              <a:gd name="connsiteY110" fmla="*/ 92015 h 1265207"/>
              <a:gd name="connsiteX111" fmla="*/ 7388090 w 7985888"/>
              <a:gd name="connsiteY111" fmla="*/ 86264 h 1265207"/>
              <a:gd name="connsiteX112" fmla="*/ 7405343 w 7985888"/>
              <a:gd name="connsiteY112" fmla="*/ 74762 h 1265207"/>
              <a:gd name="connsiteX113" fmla="*/ 7434097 w 7985888"/>
              <a:gd name="connsiteY113" fmla="*/ 69011 h 1265207"/>
              <a:gd name="connsiteX114" fmla="*/ 7480105 w 7985888"/>
              <a:gd name="connsiteY114" fmla="*/ 57509 h 1265207"/>
              <a:gd name="connsiteX115" fmla="*/ 7508860 w 7985888"/>
              <a:gd name="connsiteY115" fmla="*/ 51758 h 1265207"/>
              <a:gd name="connsiteX116" fmla="*/ 7572120 w 7985888"/>
              <a:gd name="connsiteY116" fmla="*/ 34505 h 1265207"/>
              <a:gd name="connsiteX117" fmla="*/ 7635380 w 7985888"/>
              <a:gd name="connsiteY117" fmla="*/ 28754 h 1265207"/>
              <a:gd name="connsiteX118" fmla="*/ 7704392 w 7985888"/>
              <a:gd name="connsiteY118" fmla="*/ 34505 h 1265207"/>
              <a:gd name="connsiteX119" fmla="*/ 7802158 w 7985888"/>
              <a:gd name="connsiteY119" fmla="*/ 23004 h 1265207"/>
              <a:gd name="connsiteX120" fmla="*/ 7865418 w 7985888"/>
              <a:gd name="connsiteY120" fmla="*/ 5751 h 1265207"/>
              <a:gd name="connsiteX121" fmla="*/ 7980437 w 7985888"/>
              <a:gd name="connsiteY121" fmla="*/ 0 h 1265207"/>
              <a:gd name="connsiteX122" fmla="*/ 7980437 w 7985888"/>
              <a:gd name="connsiteY122" fmla="*/ 1265207 h 1265207"/>
              <a:gd name="connsiteX0" fmla="*/ 516530 w 7855489"/>
              <a:gd name="connsiteY0" fmla="*/ 1241989 h 1265207"/>
              <a:gd name="connsiteX1" fmla="*/ 0 w 7855489"/>
              <a:gd name="connsiteY1" fmla="*/ 126521 h 1265207"/>
              <a:gd name="connsiteX2" fmla="*/ 63261 w 7855489"/>
              <a:gd name="connsiteY2" fmla="*/ 143773 h 1265207"/>
              <a:gd name="connsiteX3" fmla="*/ 103517 w 7855489"/>
              <a:gd name="connsiteY3" fmla="*/ 149524 h 1265207"/>
              <a:gd name="connsiteX4" fmla="*/ 195532 w 7855489"/>
              <a:gd name="connsiteY4" fmla="*/ 172528 h 1265207"/>
              <a:gd name="connsiteX5" fmla="*/ 241540 w 7855489"/>
              <a:gd name="connsiteY5" fmla="*/ 184030 h 1265207"/>
              <a:gd name="connsiteX6" fmla="*/ 327804 w 7855489"/>
              <a:gd name="connsiteY6" fmla="*/ 195532 h 1265207"/>
              <a:gd name="connsiteX7" fmla="*/ 575095 w 7855489"/>
              <a:gd name="connsiteY7" fmla="*/ 241539 h 1265207"/>
              <a:gd name="connsiteX8" fmla="*/ 667110 w 7855489"/>
              <a:gd name="connsiteY8" fmla="*/ 253041 h 1265207"/>
              <a:gd name="connsiteX9" fmla="*/ 718868 w 7855489"/>
              <a:gd name="connsiteY9" fmla="*/ 258792 h 1265207"/>
              <a:gd name="connsiteX10" fmla="*/ 753374 w 7855489"/>
              <a:gd name="connsiteY10" fmla="*/ 264543 h 1265207"/>
              <a:gd name="connsiteX11" fmla="*/ 943155 w 7855489"/>
              <a:gd name="connsiteY11" fmla="*/ 276045 h 1265207"/>
              <a:gd name="connsiteX12" fmla="*/ 1173193 w 7855489"/>
              <a:gd name="connsiteY12" fmla="*/ 270294 h 1265207"/>
              <a:gd name="connsiteX13" fmla="*/ 1201947 w 7855489"/>
              <a:gd name="connsiteY13" fmla="*/ 264543 h 1265207"/>
              <a:gd name="connsiteX14" fmla="*/ 1265208 w 7855489"/>
              <a:gd name="connsiteY14" fmla="*/ 258792 h 1265207"/>
              <a:gd name="connsiteX15" fmla="*/ 1293963 w 7855489"/>
              <a:gd name="connsiteY15" fmla="*/ 253041 h 1265207"/>
              <a:gd name="connsiteX16" fmla="*/ 1339970 w 7855489"/>
              <a:gd name="connsiteY16" fmla="*/ 247290 h 1265207"/>
              <a:gd name="connsiteX17" fmla="*/ 1362974 w 7855489"/>
              <a:gd name="connsiteY17" fmla="*/ 235788 h 1265207"/>
              <a:gd name="connsiteX18" fmla="*/ 1385978 w 7855489"/>
              <a:gd name="connsiteY18" fmla="*/ 230037 h 1265207"/>
              <a:gd name="connsiteX19" fmla="*/ 1403230 w 7855489"/>
              <a:gd name="connsiteY19" fmla="*/ 224287 h 1265207"/>
              <a:gd name="connsiteX20" fmla="*/ 1449238 w 7855489"/>
              <a:gd name="connsiteY20" fmla="*/ 212785 h 1265207"/>
              <a:gd name="connsiteX21" fmla="*/ 1472242 w 7855489"/>
              <a:gd name="connsiteY21" fmla="*/ 207034 h 1265207"/>
              <a:gd name="connsiteX22" fmla="*/ 1500996 w 7855489"/>
              <a:gd name="connsiteY22" fmla="*/ 189781 h 1265207"/>
              <a:gd name="connsiteX23" fmla="*/ 1535502 w 7855489"/>
              <a:gd name="connsiteY23" fmla="*/ 178279 h 1265207"/>
              <a:gd name="connsiteX24" fmla="*/ 1552755 w 7855489"/>
              <a:gd name="connsiteY24" fmla="*/ 172528 h 1265207"/>
              <a:gd name="connsiteX25" fmla="*/ 1616015 w 7855489"/>
              <a:gd name="connsiteY25" fmla="*/ 155275 h 1265207"/>
              <a:gd name="connsiteX26" fmla="*/ 1667774 w 7855489"/>
              <a:gd name="connsiteY26" fmla="*/ 132271 h 1265207"/>
              <a:gd name="connsiteX27" fmla="*/ 1685027 w 7855489"/>
              <a:gd name="connsiteY27" fmla="*/ 126521 h 1265207"/>
              <a:gd name="connsiteX28" fmla="*/ 1708030 w 7855489"/>
              <a:gd name="connsiteY28" fmla="*/ 115019 h 1265207"/>
              <a:gd name="connsiteX29" fmla="*/ 1725283 w 7855489"/>
              <a:gd name="connsiteY29" fmla="*/ 109268 h 1265207"/>
              <a:gd name="connsiteX30" fmla="*/ 1748287 w 7855489"/>
              <a:gd name="connsiteY30" fmla="*/ 97766 h 1265207"/>
              <a:gd name="connsiteX31" fmla="*/ 1782793 w 7855489"/>
              <a:gd name="connsiteY31" fmla="*/ 92015 h 1265207"/>
              <a:gd name="connsiteX32" fmla="*/ 1817298 w 7855489"/>
              <a:gd name="connsiteY32" fmla="*/ 80513 h 1265207"/>
              <a:gd name="connsiteX33" fmla="*/ 1851804 w 7855489"/>
              <a:gd name="connsiteY33" fmla="*/ 74762 h 1265207"/>
              <a:gd name="connsiteX34" fmla="*/ 1874808 w 7855489"/>
              <a:gd name="connsiteY34" fmla="*/ 69011 h 1265207"/>
              <a:gd name="connsiteX35" fmla="*/ 2081842 w 7855489"/>
              <a:gd name="connsiteY35" fmla="*/ 63260 h 1265207"/>
              <a:gd name="connsiteX36" fmla="*/ 2265872 w 7855489"/>
              <a:gd name="connsiteY36" fmla="*/ 69011 h 1265207"/>
              <a:gd name="connsiteX37" fmla="*/ 2300378 w 7855489"/>
              <a:gd name="connsiteY37" fmla="*/ 86264 h 1265207"/>
              <a:gd name="connsiteX38" fmla="*/ 2340634 w 7855489"/>
              <a:gd name="connsiteY38" fmla="*/ 97766 h 1265207"/>
              <a:gd name="connsiteX39" fmla="*/ 2363638 w 7855489"/>
              <a:gd name="connsiteY39" fmla="*/ 109268 h 1265207"/>
              <a:gd name="connsiteX40" fmla="*/ 2386642 w 7855489"/>
              <a:gd name="connsiteY40" fmla="*/ 115019 h 1265207"/>
              <a:gd name="connsiteX41" fmla="*/ 2421147 w 7855489"/>
              <a:gd name="connsiteY41" fmla="*/ 126521 h 1265207"/>
              <a:gd name="connsiteX42" fmla="*/ 2438400 w 7855489"/>
              <a:gd name="connsiteY42" fmla="*/ 132271 h 1265207"/>
              <a:gd name="connsiteX43" fmla="*/ 2490159 w 7855489"/>
              <a:gd name="connsiteY43" fmla="*/ 138022 h 1265207"/>
              <a:gd name="connsiteX44" fmla="*/ 2553419 w 7855489"/>
              <a:gd name="connsiteY44" fmla="*/ 149524 h 1265207"/>
              <a:gd name="connsiteX45" fmla="*/ 2616680 w 7855489"/>
              <a:gd name="connsiteY45" fmla="*/ 155275 h 1265207"/>
              <a:gd name="connsiteX46" fmla="*/ 2685691 w 7855489"/>
              <a:gd name="connsiteY46" fmla="*/ 166777 h 1265207"/>
              <a:gd name="connsiteX47" fmla="*/ 2748951 w 7855489"/>
              <a:gd name="connsiteY47" fmla="*/ 172528 h 1265207"/>
              <a:gd name="connsiteX48" fmla="*/ 2812212 w 7855489"/>
              <a:gd name="connsiteY48" fmla="*/ 189781 h 1265207"/>
              <a:gd name="connsiteX49" fmla="*/ 2852468 w 7855489"/>
              <a:gd name="connsiteY49" fmla="*/ 201283 h 1265207"/>
              <a:gd name="connsiteX50" fmla="*/ 2875472 w 7855489"/>
              <a:gd name="connsiteY50" fmla="*/ 212785 h 1265207"/>
              <a:gd name="connsiteX51" fmla="*/ 2909978 w 7855489"/>
              <a:gd name="connsiteY51" fmla="*/ 218536 h 1265207"/>
              <a:gd name="connsiteX52" fmla="*/ 2938732 w 7855489"/>
              <a:gd name="connsiteY52" fmla="*/ 224287 h 1265207"/>
              <a:gd name="connsiteX53" fmla="*/ 2961736 w 7855489"/>
              <a:gd name="connsiteY53" fmla="*/ 230037 h 1265207"/>
              <a:gd name="connsiteX54" fmla="*/ 3140015 w 7855489"/>
              <a:gd name="connsiteY54" fmla="*/ 235788 h 1265207"/>
              <a:gd name="connsiteX55" fmla="*/ 3209027 w 7855489"/>
              <a:gd name="connsiteY55" fmla="*/ 241539 h 1265207"/>
              <a:gd name="connsiteX56" fmla="*/ 3232030 w 7855489"/>
              <a:gd name="connsiteY56" fmla="*/ 253041 h 1265207"/>
              <a:gd name="connsiteX57" fmla="*/ 3283789 w 7855489"/>
              <a:gd name="connsiteY57" fmla="*/ 276045 h 1265207"/>
              <a:gd name="connsiteX58" fmla="*/ 3335547 w 7855489"/>
              <a:gd name="connsiteY58" fmla="*/ 299049 h 1265207"/>
              <a:gd name="connsiteX59" fmla="*/ 3387306 w 7855489"/>
              <a:gd name="connsiteY59" fmla="*/ 322053 h 1265207"/>
              <a:gd name="connsiteX60" fmla="*/ 3410310 w 7855489"/>
              <a:gd name="connsiteY60" fmla="*/ 333554 h 1265207"/>
              <a:gd name="connsiteX61" fmla="*/ 3462068 w 7855489"/>
              <a:gd name="connsiteY61" fmla="*/ 350807 h 1265207"/>
              <a:gd name="connsiteX62" fmla="*/ 3479321 w 7855489"/>
              <a:gd name="connsiteY62" fmla="*/ 356558 h 1265207"/>
              <a:gd name="connsiteX63" fmla="*/ 3508076 w 7855489"/>
              <a:gd name="connsiteY63" fmla="*/ 373811 h 1265207"/>
              <a:gd name="connsiteX64" fmla="*/ 3548332 w 7855489"/>
              <a:gd name="connsiteY64" fmla="*/ 385313 h 1265207"/>
              <a:gd name="connsiteX65" fmla="*/ 3582838 w 7855489"/>
              <a:gd name="connsiteY65" fmla="*/ 396815 h 1265207"/>
              <a:gd name="connsiteX66" fmla="*/ 3623095 w 7855489"/>
              <a:gd name="connsiteY66" fmla="*/ 402566 h 1265207"/>
              <a:gd name="connsiteX67" fmla="*/ 3778370 w 7855489"/>
              <a:gd name="connsiteY67" fmla="*/ 414068 h 1265207"/>
              <a:gd name="connsiteX68" fmla="*/ 3968151 w 7855489"/>
              <a:gd name="connsiteY68" fmla="*/ 425570 h 1265207"/>
              <a:gd name="connsiteX69" fmla="*/ 4088921 w 7855489"/>
              <a:gd name="connsiteY69" fmla="*/ 437071 h 1265207"/>
              <a:gd name="connsiteX70" fmla="*/ 4226944 w 7855489"/>
              <a:gd name="connsiteY70" fmla="*/ 448573 h 1265207"/>
              <a:gd name="connsiteX71" fmla="*/ 4284453 w 7855489"/>
              <a:gd name="connsiteY71" fmla="*/ 454324 h 1265207"/>
              <a:gd name="connsiteX72" fmla="*/ 4468483 w 7855489"/>
              <a:gd name="connsiteY72" fmla="*/ 465826 h 1265207"/>
              <a:gd name="connsiteX73" fmla="*/ 4710023 w 7855489"/>
              <a:gd name="connsiteY73" fmla="*/ 477328 h 1265207"/>
              <a:gd name="connsiteX74" fmla="*/ 5014823 w 7855489"/>
              <a:gd name="connsiteY74" fmla="*/ 471577 h 1265207"/>
              <a:gd name="connsiteX75" fmla="*/ 5055080 w 7855489"/>
              <a:gd name="connsiteY75" fmla="*/ 460075 h 1265207"/>
              <a:gd name="connsiteX76" fmla="*/ 5106838 w 7855489"/>
              <a:gd name="connsiteY76" fmla="*/ 448573 h 1265207"/>
              <a:gd name="connsiteX77" fmla="*/ 5135593 w 7855489"/>
              <a:gd name="connsiteY77" fmla="*/ 442822 h 1265207"/>
              <a:gd name="connsiteX78" fmla="*/ 5164347 w 7855489"/>
              <a:gd name="connsiteY78" fmla="*/ 431321 h 1265207"/>
              <a:gd name="connsiteX79" fmla="*/ 5227608 w 7855489"/>
              <a:gd name="connsiteY79" fmla="*/ 419819 h 1265207"/>
              <a:gd name="connsiteX80" fmla="*/ 5273615 w 7855489"/>
              <a:gd name="connsiteY80" fmla="*/ 408317 h 1265207"/>
              <a:gd name="connsiteX81" fmla="*/ 5336876 w 7855489"/>
              <a:gd name="connsiteY81" fmla="*/ 391064 h 1265207"/>
              <a:gd name="connsiteX82" fmla="*/ 5354129 w 7855489"/>
              <a:gd name="connsiteY82" fmla="*/ 379562 h 1265207"/>
              <a:gd name="connsiteX83" fmla="*/ 5394385 w 7855489"/>
              <a:gd name="connsiteY83" fmla="*/ 368060 h 1265207"/>
              <a:gd name="connsiteX84" fmla="*/ 5457646 w 7855489"/>
              <a:gd name="connsiteY84" fmla="*/ 345056 h 1265207"/>
              <a:gd name="connsiteX85" fmla="*/ 5492151 w 7855489"/>
              <a:gd name="connsiteY85" fmla="*/ 333554 h 1265207"/>
              <a:gd name="connsiteX86" fmla="*/ 5515155 w 7855489"/>
              <a:gd name="connsiteY86" fmla="*/ 322053 h 1265207"/>
              <a:gd name="connsiteX87" fmla="*/ 5561163 w 7855489"/>
              <a:gd name="connsiteY87" fmla="*/ 316302 h 1265207"/>
              <a:gd name="connsiteX88" fmla="*/ 5612921 w 7855489"/>
              <a:gd name="connsiteY88" fmla="*/ 304800 h 1265207"/>
              <a:gd name="connsiteX89" fmla="*/ 5641676 w 7855489"/>
              <a:gd name="connsiteY89" fmla="*/ 299049 h 1265207"/>
              <a:gd name="connsiteX90" fmla="*/ 5676181 w 7855489"/>
              <a:gd name="connsiteY90" fmla="*/ 293298 h 1265207"/>
              <a:gd name="connsiteX91" fmla="*/ 5831457 w 7855489"/>
              <a:gd name="connsiteY91" fmla="*/ 287547 h 1265207"/>
              <a:gd name="connsiteX92" fmla="*/ 6630838 w 7855489"/>
              <a:gd name="connsiteY92" fmla="*/ 281796 h 1265207"/>
              <a:gd name="connsiteX93" fmla="*/ 6688347 w 7855489"/>
              <a:gd name="connsiteY93" fmla="*/ 276045 h 1265207"/>
              <a:gd name="connsiteX94" fmla="*/ 6826370 w 7855489"/>
              <a:gd name="connsiteY94" fmla="*/ 247290 h 1265207"/>
              <a:gd name="connsiteX95" fmla="*/ 6849374 w 7855489"/>
              <a:gd name="connsiteY95" fmla="*/ 241539 h 1265207"/>
              <a:gd name="connsiteX96" fmla="*/ 6872378 w 7855489"/>
              <a:gd name="connsiteY96" fmla="*/ 230037 h 1265207"/>
              <a:gd name="connsiteX97" fmla="*/ 6895381 w 7855489"/>
              <a:gd name="connsiteY97" fmla="*/ 224287 h 1265207"/>
              <a:gd name="connsiteX98" fmla="*/ 6929887 w 7855489"/>
              <a:gd name="connsiteY98" fmla="*/ 212785 h 1265207"/>
              <a:gd name="connsiteX99" fmla="*/ 6947140 w 7855489"/>
              <a:gd name="connsiteY99" fmla="*/ 207034 h 1265207"/>
              <a:gd name="connsiteX100" fmla="*/ 6970144 w 7855489"/>
              <a:gd name="connsiteY100" fmla="*/ 201283 h 1265207"/>
              <a:gd name="connsiteX101" fmla="*/ 6998898 w 7855489"/>
              <a:gd name="connsiteY101" fmla="*/ 184030 h 1265207"/>
              <a:gd name="connsiteX102" fmla="*/ 7033404 w 7855489"/>
              <a:gd name="connsiteY102" fmla="*/ 172528 h 1265207"/>
              <a:gd name="connsiteX103" fmla="*/ 7073661 w 7855489"/>
              <a:gd name="connsiteY103" fmla="*/ 155275 h 1265207"/>
              <a:gd name="connsiteX104" fmla="*/ 7096664 w 7855489"/>
              <a:gd name="connsiteY104" fmla="*/ 143773 h 1265207"/>
              <a:gd name="connsiteX105" fmla="*/ 7113917 w 7855489"/>
              <a:gd name="connsiteY105" fmla="*/ 138022 h 1265207"/>
              <a:gd name="connsiteX106" fmla="*/ 7142672 w 7855489"/>
              <a:gd name="connsiteY106" fmla="*/ 126521 h 1265207"/>
              <a:gd name="connsiteX107" fmla="*/ 7188680 w 7855489"/>
              <a:gd name="connsiteY107" fmla="*/ 103517 h 1265207"/>
              <a:gd name="connsiteX108" fmla="*/ 7217434 w 7855489"/>
              <a:gd name="connsiteY108" fmla="*/ 97766 h 1265207"/>
              <a:gd name="connsiteX109" fmla="*/ 7234687 w 7855489"/>
              <a:gd name="connsiteY109" fmla="*/ 92015 h 1265207"/>
              <a:gd name="connsiteX110" fmla="*/ 7257691 w 7855489"/>
              <a:gd name="connsiteY110" fmla="*/ 86264 h 1265207"/>
              <a:gd name="connsiteX111" fmla="*/ 7274944 w 7855489"/>
              <a:gd name="connsiteY111" fmla="*/ 74762 h 1265207"/>
              <a:gd name="connsiteX112" fmla="*/ 7303698 w 7855489"/>
              <a:gd name="connsiteY112" fmla="*/ 69011 h 1265207"/>
              <a:gd name="connsiteX113" fmla="*/ 7349706 w 7855489"/>
              <a:gd name="connsiteY113" fmla="*/ 57509 h 1265207"/>
              <a:gd name="connsiteX114" fmla="*/ 7378461 w 7855489"/>
              <a:gd name="connsiteY114" fmla="*/ 51758 h 1265207"/>
              <a:gd name="connsiteX115" fmla="*/ 7441721 w 7855489"/>
              <a:gd name="connsiteY115" fmla="*/ 34505 h 1265207"/>
              <a:gd name="connsiteX116" fmla="*/ 7504981 w 7855489"/>
              <a:gd name="connsiteY116" fmla="*/ 28754 h 1265207"/>
              <a:gd name="connsiteX117" fmla="*/ 7573993 w 7855489"/>
              <a:gd name="connsiteY117" fmla="*/ 34505 h 1265207"/>
              <a:gd name="connsiteX118" fmla="*/ 7671759 w 7855489"/>
              <a:gd name="connsiteY118" fmla="*/ 23004 h 1265207"/>
              <a:gd name="connsiteX119" fmla="*/ 7735019 w 7855489"/>
              <a:gd name="connsiteY119" fmla="*/ 5751 h 1265207"/>
              <a:gd name="connsiteX120" fmla="*/ 7850038 w 7855489"/>
              <a:gd name="connsiteY120" fmla="*/ 0 h 1265207"/>
              <a:gd name="connsiteX121" fmla="*/ 7850038 w 7855489"/>
              <a:gd name="connsiteY121" fmla="*/ 1265207 h 1265207"/>
              <a:gd name="connsiteX0" fmla="*/ 453269 w 7792228"/>
              <a:gd name="connsiteY0" fmla="*/ 1241989 h 1265207"/>
              <a:gd name="connsiteX1" fmla="*/ 0 w 7792228"/>
              <a:gd name="connsiteY1" fmla="*/ 143773 h 1265207"/>
              <a:gd name="connsiteX2" fmla="*/ 40256 w 7792228"/>
              <a:gd name="connsiteY2" fmla="*/ 149524 h 1265207"/>
              <a:gd name="connsiteX3" fmla="*/ 132271 w 7792228"/>
              <a:gd name="connsiteY3" fmla="*/ 172528 h 1265207"/>
              <a:gd name="connsiteX4" fmla="*/ 178279 w 7792228"/>
              <a:gd name="connsiteY4" fmla="*/ 184030 h 1265207"/>
              <a:gd name="connsiteX5" fmla="*/ 264543 w 7792228"/>
              <a:gd name="connsiteY5" fmla="*/ 195532 h 1265207"/>
              <a:gd name="connsiteX6" fmla="*/ 511834 w 7792228"/>
              <a:gd name="connsiteY6" fmla="*/ 241539 h 1265207"/>
              <a:gd name="connsiteX7" fmla="*/ 603849 w 7792228"/>
              <a:gd name="connsiteY7" fmla="*/ 253041 h 1265207"/>
              <a:gd name="connsiteX8" fmla="*/ 655607 w 7792228"/>
              <a:gd name="connsiteY8" fmla="*/ 258792 h 1265207"/>
              <a:gd name="connsiteX9" fmla="*/ 690113 w 7792228"/>
              <a:gd name="connsiteY9" fmla="*/ 264543 h 1265207"/>
              <a:gd name="connsiteX10" fmla="*/ 879894 w 7792228"/>
              <a:gd name="connsiteY10" fmla="*/ 276045 h 1265207"/>
              <a:gd name="connsiteX11" fmla="*/ 1109932 w 7792228"/>
              <a:gd name="connsiteY11" fmla="*/ 270294 h 1265207"/>
              <a:gd name="connsiteX12" fmla="*/ 1138686 w 7792228"/>
              <a:gd name="connsiteY12" fmla="*/ 264543 h 1265207"/>
              <a:gd name="connsiteX13" fmla="*/ 1201947 w 7792228"/>
              <a:gd name="connsiteY13" fmla="*/ 258792 h 1265207"/>
              <a:gd name="connsiteX14" fmla="*/ 1230702 w 7792228"/>
              <a:gd name="connsiteY14" fmla="*/ 253041 h 1265207"/>
              <a:gd name="connsiteX15" fmla="*/ 1276709 w 7792228"/>
              <a:gd name="connsiteY15" fmla="*/ 247290 h 1265207"/>
              <a:gd name="connsiteX16" fmla="*/ 1299713 w 7792228"/>
              <a:gd name="connsiteY16" fmla="*/ 235788 h 1265207"/>
              <a:gd name="connsiteX17" fmla="*/ 1322717 w 7792228"/>
              <a:gd name="connsiteY17" fmla="*/ 230037 h 1265207"/>
              <a:gd name="connsiteX18" fmla="*/ 1339969 w 7792228"/>
              <a:gd name="connsiteY18" fmla="*/ 224287 h 1265207"/>
              <a:gd name="connsiteX19" fmla="*/ 1385977 w 7792228"/>
              <a:gd name="connsiteY19" fmla="*/ 212785 h 1265207"/>
              <a:gd name="connsiteX20" fmla="*/ 1408981 w 7792228"/>
              <a:gd name="connsiteY20" fmla="*/ 207034 h 1265207"/>
              <a:gd name="connsiteX21" fmla="*/ 1437735 w 7792228"/>
              <a:gd name="connsiteY21" fmla="*/ 189781 h 1265207"/>
              <a:gd name="connsiteX22" fmla="*/ 1472241 w 7792228"/>
              <a:gd name="connsiteY22" fmla="*/ 178279 h 1265207"/>
              <a:gd name="connsiteX23" fmla="*/ 1489494 w 7792228"/>
              <a:gd name="connsiteY23" fmla="*/ 172528 h 1265207"/>
              <a:gd name="connsiteX24" fmla="*/ 1552754 w 7792228"/>
              <a:gd name="connsiteY24" fmla="*/ 155275 h 1265207"/>
              <a:gd name="connsiteX25" fmla="*/ 1604513 w 7792228"/>
              <a:gd name="connsiteY25" fmla="*/ 132271 h 1265207"/>
              <a:gd name="connsiteX26" fmla="*/ 1621766 w 7792228"/>
              <a:gd name="connsiteY26" fmla="*/ 126521 h 1265207"/>
              <a:gd name="connsiteX27" fmla="*/ 1644769 w 7792228"/>
              <a:gd name="connsiteY27" fmla="*/ 115019 h 1265207"/>
              <a:gd name="connsiteX28" fmla="*/ 1662022 w 7792228"/>
              <a:gd name="connsiteY28" fmla="*/ 109268 h 1265207"/>
              <a:gd name="connsiteX29" fmla="*/ 1685026 w 7792228"/>
              <a:gd name="connsiteY29" fmla="*/ 97766 h 1265207"/>
              <a:gd name="connsiteX30" fmla="*/ 1719532 w 7792228"/>
              <a:gd name="connsiteY30" fmla="*/ 92015 h 1265207"/>
              <a:gd name="connsiteX31" fmla="*/ 1754037 w 7792228"/>
              <a:gd name="connsiteY31" fmla="*/ 80513 h 1265207"/>
              <a:gd name="connsiteX32" fmla="*/ 1788543 w 7792228"/>
              <a:gd name="connsiteY32" fmla="*/ 74762 h 1265207"/>
              <a:gd name="connsiteX33" fmla="*/ 1811547 w 7792228"/>
              <a:gd name="connsiteY33" fmla="*/ 69011 h 1265207"/>
              <a:gd name="connsiteX34" fmla="*/ 2018581 w 7792228"/>
              <a:gd name="connsiteY34" fmla="*/ 63260 h 1265207"/>
              <a:gd name="connsiteX35" fmla="*/ 2202611 w 7792228"/>
              <a:gd name="connsiteY35" fmla="*/ 69011 h 1265207"/>
              <a:gd name="connsiteX36" fmla="*/ 2237117 w 7792228"/>
              <a:gd name="connsiteY36" fmla="*/ 86264 h 1265207"/>
              <a:gd name="connsiteX37" fmla="*/ 2277373 w 7792228"/>
              <a:gd name="connsiteY37" fmla="*/ 97766 h 1265207"/>
              <a:gd name="connsiteX38" fmla="*/ 2300377 w 7792228"/>
              <a:gd name="connsiteY38" fmla="*/ 109268 h 1265207"/>
              <a:gd name="connsiteX39" fmla="*/ 2323381 w 7792228"/>
              <a:gd name="connsiteY39" fmla="*/ 115019 h 1265207"/>
              <a:gd name="connsiteX40" fmla="*/ 2357886 w 7792228"/>
              <a:gd name="connsiteY40" fmla="*/ 126521 h 1265207"/>
              <a:gd name="connsiteX41" fmla="*/ 2375139 w 7792228"/>
              <a:gd name="connsiteY41" fmla="*/ 132271 h 1265207"/>
              <a:gd name="connsiteX42" fmla="*/ 2426898 w 7792228"/>
              <a:gd name="connsiteY42" fmla="*/ 138022 h 1265207"/>
              <a:gd name="connsiteX43" fmla="*/ 2490158 w 7792228"/>
              <a:gd name="connsiteY43" fmla="*/ 149524 h 1265207"/>
              <a:gd name="connsiteX44" fmla="*/ 2553419 w 7792228"/>
              <a:gd name="connsiteY44" fmla="*/ 155275 h 1265207"/>
              <a:gd name="connsiteX45" fmla="*/ 2622430 w 7792228"/>
              <a:gd name="connsiteY45" fmla="*/ 166777 h 1265207"/>
              <a:gd name="connsiteX46" fmla="*/ 2685690 w 7792228"/>
              <a:gd name="connsiteY46" fmla="*/ 172528 h 1265207"/>
              <a:gd name="connsiteX47" fmla="*/ 2748951 w 7792228"/>
              <a:gd name="connsiteY47" fmla="*/ 189781 h 1265207"/>
              <a:gd name="connsiteX48" fmla="*/ 2789207 w 7792228"/>
              <a:gd name="connsiteY48" fmla="*/ 201283 h 1265207"/>
              <a:gd name="connsiteX49" fmla="*/ 2812211 w 7792228"/>
              <a:gd name="connsiteY49" fmla="*/ 212785 h 1265207"/>
              <a:gd name="connsiteX50" fmla="*/ 2846717 w 7792228"/>
              <a:gd name="connsiteY50" fmla="*/ 218536 h 1265207"/>
              <a:gd name="connsiteX51" fmla="*/ 2875471 w 7792228"/>
              <a:gd name="connsiteY51" fmla="*/ 224287 h 1265207"/>
              <a:gd name="connsiteX52" fmla="*/ 2898475 w 7792228"/>
              <a:gd name="connsiteY52" fmla="*/ 230037 h 1265207"/>
              <a:gd name="connsiteX53" fmla="*/ 3076754 w 7792228"/>
              <a:gd name="connsiteY53" fmla="*/ 235788 h 1265207"/>
              <a:gd name="connsiteX54" fmla="*/ 3145766 w 7792228"/>
              <a:gd name="connsiteY54" fmla="*/ 241539 h 1265207"/>
              <a:gd name="connsiteX55" fmla="*/ 3168769 w 7792228"/>
              <a:gd name="connsiteY55" fmla="*/ 253041 h 1265207"/>
              <a:gd name="connsiteX56" fmla="*/ 3220528 w 7792228"/>
              <a:gd name="connsiteY56" fmla="*/ 276045 h 1265207"/>
              <a:gd name="connsiteX57" fmla="*/ 3272286 w 7792228"/>
              <a:gd name="connsiteY57" fmla="*/ 299049 h 1265207"/>
              <a:gd name="connsiteX58" fmla="*/ 3324045 w 7792228"/>
              <a:gd name="connsiteY58" fmla="*/ 322053 h 1265207"/>
              <a:gd name="connsiteX59" fmla="*/ 3347049 w 7792228"/>
              <a:gd name="connsiteY59" fmla="*/ 333554 h 1265207"/>
              <a:gd name="connsiteX60" fmla="*/ 3398807 w 7792228"/>
              <a:gd name="connsiteY60" fmla="*/ 350807 h 1265207"/>
              <a:gd name="connsiteX61" fmla="*/ 3416060 w 7792228"/>
              <a:gd name="connsiteY61" fmla="*/ 356558 h 1265207"/>
              <a:gd name="connsiteX62" fmla="*/ 3444815 w 7792228"/>
              <a:gd name="connsiteY62" fmla="*/ 373811 h 1265207"/>
              <a:gd name="connsiteX63" fmla="*/ 3485071 w 7792228"/>
              <a:gd name="connsiteY63" fmla="*/ 385313 h 1265207"/>
              <a:gd name="connsiteX64" fmla="*/ 3519577 w 7792228"/>
              <a:gd name="connsiteY64" fmla="*/ 396815 h 1265207"/>
              <a:gd name="connsiteX65" fmla="*/ 3559834 w 7792228"/>
              <a:gd name="connsiteY65" fmla="*/ 402566 h 1265207"/>
              <a:gd name="connsiteX66" fmla="*/ 3715109 w 7792228"/>
              <a:gd name="connsiteY66" fmla="*/ 414068 h 1265207"/>
              <a:gd name="connsiteX67" fmla="*/ 3904890 w 7792228"/>
              <a:gd name="connsiteY67" fmla="*/ 425570 h 1265207"/>
              <a:gd name="connsiteX68" fmla="*/ 4025660 w 7792228"/>
              <a:gd name="connsiteY68" fmla="*/ 437071 h 1265207"/>
              <a:gd name="connsiteX69" fmla="*/ 4163683 w 7792228"/>
              <a:gd name="connsiteY69" fmla="*/ 448573 h 1265207"/>
              <a:gd name="connsiteX70" fmla="*/ 4221192 w 7792228"/>
              <a:gd name="connsiteY70" fmla="*/ 454324 h 1265207"/>
              <a:gd name="connsiteX71" fmla="*/ 4405222 w 7792228"/>
              <a:gd name="connsiteY71" fmla="*/ 465826 h 1265207"/>
              <a:gd name="connsiteX72" fmla="*/ 4646762 w 7792228"/>
              <a:gd name="connsiteY72" fmla="*/ 477328 h 1265207"/>
              <a:gd name="connsiteX73" fmla="*/ 4951562 w 7792228"/>
              <a:gd name="connsiteY73" fmla="*/ 471577 h 1265207"/>
              <a:gd name="connsiteX74" fmla="*/ 4991819 w 7792228"/>
              <a:gd name="connsiteY74" fmla="*/ 460075 h 1265207"/>
              <a:gd name="connsiteX75" fmla="*/ 5043577 w 7792228"/>
              <a:gd name="connsiteY75" fmla="*/ 448573 h 1265207"/>
              <a:gd name="connsiteX76" fmla="*/ 5072332 w 7792228"/>
              <a:gd name="connsiteY76" fmla="*/ 442822 h 1265207"/>
              <a:gd name="connsiteX77" fmla="*/ 5101086 w 7792228"/>
              <a:gd name="connsiteY77" fmla="*/ 431321 h 1265207"/>
              <a:gd name="connsiteX78" fmla="*/ 5164347 w 7792228"/>
              <a:gd name="connsiteY78" fmla="*/ 419819 h 1265207"/>
              <a:gd name="connsiteX79" fmla="*/ 5210354 w 7792228"/>
              <a:gd name="connsiteY79" fmla="*/ 408317 h 1265207"/>
              <a:gd name="connsiteX80" fmla="*/ 5273615 w 7792228"/>
              <a:gd name="connsiteY80" fmla="*/ 391064 h 1265207"/>
              <a:gd name="connsiteX81" fmla="*/ 5290868 w 7792228"/>
              <a:gd name="connsiteY81" fmla="*/ 379562 h 1265207"/>
              <a:gd name="connsiteX82" fmla="*/ 5331124 w 7792228"/>
              <a:gd name="connsiteY82" fmla="*/ 368060 h 1265207"/>
              <a:gd name="connsiteX83" fmla="*/ 5394385 w 7792228"/>
              <a:gd name="connsiteY83" fmla="*/ 345056 h 1265207"/>
              <a:gd name="connsiteX84" fmla="*/ 5428890 w 7792228"/>
              <a:gd name="connsiteY84" fmla="*/ 333554 h 1265207"/>
              <a:gd name="connsiteX85" fmla="*/ 5451894 w 7792228"/>
              <a:gd name="connsiteY85" fmla="*/ 322053 h 1265207"/>
              <a:gd name="connsiteX86" fmla="*/ 5497902 w 7792228"/>
              <a:gd name="connsiteY86" fmla="*/ 316302 h 1265207"/>
              <a:gd name="connsiteX87" fmla="*/ 5549660 w 7792228"/>
              <a:gd name="connsiteY87" fmla="*/ 304800 h 1265207"/>
              <a:gd name="connsiteX88" fmla="*/ 5578415 w 7792228"/>
              <a:gd name="connsiteY88" fmla="*/ 299049 h 1265207"/>
              <a:gd name="connsiteX89" fmla="*/ 5612920 w 7792228"/>
              <a:gd name="connsiteY89" fmla="*/ 293298 h 1265207"/>
              <a:gd name="connsiteX90" fmla="*/ 5768196 w 7792228"/>
              <a:gd name="connsiteY90" fmla="*/ 287547 h 1265207"/>
              <a:gd name="connsiteX91" fmla="*/ 6567577 w 7792228"/>
              <a:gd name="connsiteY91" fmla="*/ 281796 h 1265207"/>
              <a:gd name="connsiteX92" fmla="*/ 6625086 w 7792228"/>
              <a:gd name="connsiteY92" fmla="*/ 276045 h 1265207"/>
              <a:gd name="connsiteX93" fmla="*/ 6763109 w 7792228"/>
              <a:gd name="connsiteY93" fmla="*/ 247290 h 1265207"/>
              <a:gd name="connsiteX94" fmla="*/ 6786113 w 7792228"/>
              <a:gd name="connsiteY94" fmla="*/ 241539 h 1265207"/>
              <a:gd name="connsiteX95" fmla="*/ 6809117 w 7792228"/>
              <a:gd name="connsiteY95" fmla="*/ 230037 h 1265207"/>
              <a:gd name="connsiteX96" fmla="*/ 6832120 w 7792228"/>
              <a:gd name="connsiteY96" fmla="*/ 224287 h 1265207"/>
              <a:gd name="connsiteX97" fmla="*/ 6866626 w 7792228"/>
              <a:gd name="connsiteY97" fmla="*/ 212785 h 1265207"/>
              <a:gd name="connsiteX98" fmla="*/ 6883879 w 7792228"/>
              <a:gd name="connsiteY98" fmla="*/ 207034 h 1265207"/>
              <a:gd name="connsiteX99" fmla="*/ 6906883 w 7792228"/>
              <a:gd name="connsiteY99" fmla="*/ 201283 h 1265207"/>
              <a:gd name="connsiteX100" fmla="*/ 6935637 w 7792228"/>
              <a:gd name="connsiteY100" fmla="*/ 184030 h 1265207"/>
              <a:gd name="connsiteX101" fmla="*/ 6970143 w 7792228"/>
              <a:gd name="connsiteY101" fmla="*/ 172528 h 1265207"/>
              <a:gd name="connsiteX102" fmla="*/ 7010400 w 7792228"/>
              <a:gd name="connsiteY102" fmla="*/ 155275 h 1265207"/>
              <a:gd name="connsiteX103" fmla="*/ 7033403 w 7792228"/>
              <a:gd name="connsiteY103" fmla="*/ 143773 h 1265207"/>
              <a:gd name="connsiteX104" fmla="*/ 7050656 w 7792228"/>
              <a:gd name="connsiteY104" fmla="*/ 138022 h 1265207"/>
              <a:gd name="connsiteX105" fmla="*/ 7079411 w 7792228"/>
              <a:gd name="connsiteY105" fmla="*/ 126521 h 1265207"/>
              <a:gd name="connsiteX106" fmla="*/ 7125419 w 7792228"/>
              <a:gd name="connsiteY106" fmla="*/ 103517 h 1265207"/>
              <a:gd name="connsiteX107" fmla="*/ 7154173 w 7792228"/>
              <a:gd name="connsiteY107" fmla="*/ 97766 h 1265207"/>
              <a:gd name="connsiteX108" fmla="*/ 7171426 w 7792228"/>
              <a:gd name="connsiteY108" fmla="*/ 92015 h 1265207"/>
              <a:gd name="connsiteX109" fmla="*/ 7194430 w 7792228"/>
              <a:gd name="connsiteY109" fmla="*/ 86264 h 1265207"/>
              <a:gd name="connsiteX110" fmla="*/ 7211683 w 7792228"/>
              <a:gd name="connsiteY110" fmla="*/ 74762 h 1265207"/>
              <a:gd name="connsiteX111" fmla="*/ 7240437 w 7792228"/>
              <a:gd name="connsiteY111" fmla="*/ 69011 h 1265207"/>
              <a:gd name="connsiteX112" fmla="*/ 7286445 w 7792228"/>
              <a:gd name="connsiteY112" fmla="*/ 57509 h 1265207"/>
              <a:gd name="connsiteX113" fmla="*/ 7315200 w 7792228"/>
              <a:gd name="connsiteY113" fmla="*/ 51758 h 1265207"/>
              <a:gd name="connsiteX114" fmla="*/ 7378460 w 7792228"/>
              <a:gd name="connsiteY114" fmla="*/ 34505 h 1265207"/>
              <a:gd name="connsiteX115" fmla="*/ 7441720 w 7792228"/>
              <a:gd name="connsiteY115" fmla="*/ 28754 h 1265207"/>
              <a:gd name="connsiteX116" fmla="*/ 7510732 w 7792228"/>
              <a:gd name="connsiteY116" fmla="*/ 34505 h 1265207"/>
              <a:gd name="connsiteX117" fmla="*/ 7608498 w 7792228"/>
              <a:gd name="connsiteY117" fmla="*/ 23004 h 1265207"/>
              <a:gd name="connsiteX118" fmla="*/ 7671758 w 7792228"/>
              <a:gd name="connsiteY118" fmla="*/ 5751 h 1265207"/>
              <a:gd name="connsiteX119" fmla="*/ 7786777 w 7792228"/>
              <a:gd name="connsiteY119" fmla="*/ 0 h 1265207"/>
              <a:gd name="connsiteX120" fmla="*/ 7786777 w 7792228"/>
              <a:gd name="connsiteY120" fmla="*/ 1265207 h 1265207"/>
              <a:gd name="connsiteX0" fmla="*/ 506769 w 7845728"/>
              <a:gd name="connsiteY0" fmla="*/ 1276459 h 1299677"/>
              <a:gd name="connsiteX1" fmla="*/ 53500 w 7845728"/>
              <a:gd name="connsiteY1" fmla="*/ 178243 h 1299677"/>
              <a:gd name="connsiteX2" fmla="*/ 185771 w 7845728"/>
              <a:gd name="connsiteY2" fmla="*/ 206998 h 1299677"/>
              <a:gd name="connsiteX3" fmla="*/ 231779 w 7845728"/>
              <a:gd name="connsiteY3" fmla="*/ 218500 h 1299677"/>
              <a:gd name="connsiteX4" fmla="*/ 318043 w 7845728"/>
              <a:gd name="connsiteY4" fmla="*/ 230002 h 1299677"/>
              <a:gd name="connsiteX5" fmla="*/ 565334 w 7845728"/>
              <a:gd name="connsiteY5" fmla="*/ 276009 h 1299677"/>
              <a:gd name="connsiteX6" fmla="*/ 657349 w 7845728"/>
              <a:gd name="connsiteY6" fmla="*/ 287511 h 1299677"/>
              <a:gd name="connsiteX7" fmla="*/ 709107 w 7845728"/>
              <a:gd name="connsiteY7" fmla="*/ 293262 h 1299677"/>
              <a:gd name="connsiteX8" fmla="*/ 743613 w 7845728"/>
              <a:gd name="connsiteY8" fmla="*/ 299013 h 1299677"/>
              <a:gd name="connsiteX9" fmla="*/ 933394 w 7845728"/>
              <a:gd name="connsiteY9" fmla="*/ 310515 h 1299677"/>
              <a:gd name="connsiteX10" fmla="*/ 1163432 w 7845728"/>
              <a:gd name="connsiteY10" fmla="*/ 304764 h 1299677"/>
              <a:gd name="connsiteX11" fmla="*/ 1192186 w 7845728"/>
              <a:gd name="connsiteY11" fmla="*/ 299013 h 1299677"/>
              <a:gd name="connsiteX12" fmla="*/ 1255447 w 7845728"/>
              <a:gd name="connsiteY12" fmla="*/ 293262 h 1299677"/>
              <a:gd name="connsiteX13" fmla="*/ 1284202 w 7845728"/>
              <a:gd name="connsiteY13" fmla="*/ 287511 h 1299677"/>
              <a:gd name="connsiteX14" fmla="*/ 1330209 w 7845728"/>
              <a:gd name="connsiteY14" fmla="*/ 281760 h 1299677"/>
              <a:gd name="connsiteX15" fmla="*/ 1353213 w 7845728"/>
              <a:gd name="connsiteY15" fmla="*/ 270258 h 1299677"/>
              <a:gd name="connsiteX16" fmla="*/ 1376217 w 7845728"/>
              <a:gd name="connsiteY16" fmla="*/ 264507 h 1299677"/>
              <a:gd name="connsiteX17" fmla="*/ 1393469 w 7845728"/>
              <a:gd name="connsiteY17" fmla="*/ 258757 h 1299677"/>
              <a:gd name="connsiteX18" fmla="*/ 1439477 w 7845728"/>
              <a:gd name="connsiteY18" fmla="*/ 247255 h 1299677"/>
              <a:gd name="connsiteX19" fmla="*/ 1462481 w 7845728"/>
              <a:gd name="connsiteY19" fmla="*/ 241504 h 1299677"/>
              <a:gd name="connsiteX20" fmla="*/ 1491235 w 7845728"/>
              <a:gd name="connsiteY20" fmla="*/ 224251 h 1299677"/>
              <a:gd name="connsiteX21" fmla="*/ 1525741 w 7845728"/>
              <a:gd name="connsiteY21" fmla="*/ 212749 h 1299677"/>
              <a:gd name="connsiteX22" fmla="*/ 1542994 w 7845728"/>
              <a:gd name="connsiteY22" fmla="*/ 206998 h 1299677"/>
              <a:gd name="connsiteX23" fmla="*/ 1606254 w 7845728"/>
              <a:gd name="connsiteY23" fmla="*/ 189745 h 1299677"/>
              <a:gd name="connsiteX24" fmla="*/ 1658013 w 7845728"/>
              <a:gd name="connsiteY24" fmla="*/ 166741 h 1299677"/>
              <a:gd name="connsiteX25" fmla="*/ 1675266 w 7845728"/>
              <a:gd name="connsiteY25" fmla="*/ 160991 h 1299677"/>
              <a:gd name="connsiteX26" fmla="*/ 1698269 w 7845728"/>
              <a:gd name="connsiteY26" fmla="*/ 149489 h 1299677"/>
              <a:gd name="connsiteX27" fmla="*/ 1715522 w 7845728"/>
              <a:gd name="connsiteY27" fmla="*/ 143738 h 1299677"/>
              <a:gd name="connsiteX28" fmla="*/ 1738526 w 7845728"/>
              <a:gd name="connsiteY28" fmla="*/ 132236 h 1299677"/>
              <a:gd name="connsiteX29" fmla="*/ 1773032 w 7845728"/>
              <a:gd name="connsiteY29" fmla="*/ 126485 h 1299677"/>
              <a:gd name="connsiteX30" fmla="*/ 1807537 w 7845728"/>
              <a:gd name="connsiteY30" fmla="*/ 114983 h 1299677"/>
              <a:gd name="connsiteX31" fmla="*/ 1842043 w 7845728"/>
              <a:gd name="connsiteY31" fmla="*/ 109232 h 1299677"/>
              <a:gd name="connsiteX32" fmla="*/ 1865047 w 7845728"/>
              <a:gd name="connsiteY32" fmla="*/ 103481 h 1299677"/>
              <a:gd name="connsiteX33" fmla="*/ 2072081 w 7845728"/>
              <a:gd name="connsiteY33" fmla="*/ 97730 h 1299677"/>
              <a:gd name="connsiteX34" fmla="*/ 2256111 w 7845728"/>
              <a:gd name="connsiteY34" fmla="*/ 103481 h 1299677"/>
              <a:gd name="connsiteX35" fmla="*/ 2290617 w 7845728"/>
              <a:gd name="connsiteY35" fmla="*/ 120734 h 1299677"/>
              <a:gd name="connsiteX36" fmla="*/ 2330873 w 7845728"/>
              <a:gd name="connsiteY36" fmla="*/ 132236 h 1299677"/>
              <a:gd name="connsiteX37" fmla="*/ 2353877 w 7845728"/>
              <a:gd name="connsiteY37" fmla="*/ 143738 h 1299677"/>
              <a:gd name="connsiteX38" fmla="*/ 2376881 w 7845728"/>
              <a:gd name="connsiteY38" fmla="*/ 149489 h 1299677"/>
              <a:gd name="connsiteX39" fmla="*/ 2411386 w 7845728"/>
              <a:gd name="connsiteY39" fmla="*/ 160991 h 1299677"/>
              <a:gd name="connsiteX40" fmla="*/ 2428639 w 7845728"/>
              <a:gd name="connsiteY40" fmla="*/ 166741 h 1299677"/>
              <a:gd name="connsiteX41" fmla="*/ 2480398 w 7845728"/>
              <a:gd name="connsiteY41" fmla="*/ 172492 h 1299677"/>
              <a:gd name="connsiteX42" fmla="*/ 2543658 w 7845728"/>
              <a:gd name="connsiteY42" fmla="*/ 183994 h 1299677"/>
              <a:gd name="connsiteX43" fmla="*/ 2606919 w 7845728"/>
              <a:gd name="connsiteY43" fmla="*/ 189745 h 1299677"/>
              <a:gd name="connsiteX44" fmla="*/ 2675930 w 7845728"/>
              <a:gd name="connsiteY44" fmla="*/ 201247 h 1299677"/>
              <a:gd name="connsiteX45" fmla="*/ 2739190 w 7845728"/>
              <a:gd name="connsiteY45" fmla="*/ 206998 h 1299677"/>
              <a:gd name="connsiteX46" fmla="*/ 2802451 w 7845728"/>
              <a:gd name="connsiteY46" fmla="*/ 224251 h 1299677"/>
              <a:gd name="connsiteX47" fmla="*/ 2842707 w 7845728"/>
              <a:gd name="connsiteY47" fmla="*/ 235753 h 1299677"/>
              <a:gd name="connsiteX48" fmla="*/ 2865711 w 7845728"/>
              <a:gd name="connsiteY48" fmla="*/ 247255 h 1299677"/>
              <a:gd name="connsiteX49" fmla="*/ 2900217 w 7845728"/>
              <a:gd name="connsiteY49" fmla="*/ 253006 h 1299677"/>
              <a:gd name="connsiteX50" fmla="*/ 2928971 w 7845728"/>
              <a:gd name="connsiteY50" fmla="*/ 258757 h 1299677"/>
              <a:gd name="connsiteX51" fmla="*/ 2951975 w 7845728"/>
              <a:gd name="connsiteY51" fmla="*/ 264507 h 1299677"/>
              <a:gd name="connsiteX52" fmla="*/ 3130254 w 7845728"/>
              <a:gd name="connsiteY52" fmla="*/ 270258 h 1299677"/>
              <a:gd name="connsiteX53" fmla="*/ 3199266 w 7845728"/>
              <a:gd name="connsiteY53" fmla="*/ 276009 h 1299677"/>
              <a:gd name="connsiteX54" fmla="*/ 3222269 w 7845728"/>
              <a:gd name="connsiteY54" fmla="*/ 287511 h 1299677"/>
              <a:gd name="connsiteX55" fmla="*/ 3274028 w 7845728"/>
              <a:gd name="connsiteY55" fmla="*/ 310515 h 1299677"/>
              <a:gd name="connsiteX56" fmla="*/ 3325786 w 7845728"/>
              <a:gd name="connsiteY56" fmla="*/ 333519 h 1299677"/>
              <a:gd name="connsiteX57" fmla="*/ 3377545 w 7845728"/>
              <a:gd name="connsiteY57" fmla="*/ 356523 h 1299677"/>
              <a:gd name="connsiteX58" fmla="*/ 3400549 w 7845728"/>
              <a:gd name="connsiteY58" fmla="*/ 368024 h 1299677"/>
              <a:gd name="connsiteX59" fmla="*/ 3452307 w 7845728"/>
              <a:gd name="connsiteY59" fmla="*/ 385277 h 1299677"/>
              <a:gd name="connsiteX60" fmla="*/ 3469560 w 7845728"/>
              <a:gd name="connsiteY60" fmla="*/ 391028 h 1299677"/>
              <a:gd name="connsiteX61" fmla="*/ 3498315 w 7845728"/>
              <a:gd name="connsiteY61" fmla="*/ 408281 h 1299677"/>
              <a:gd name="connsiteX62" fmla="*/ 3538571 w 7845728"/>
              <a:gd name="connsiteY62" fmla="*/ 419783 h 1299677"/>
              <a:gd name="connsiteX63" fmla="*/ 3573077 w 7845728"/>
              <a:gd name="connsiteY63" fmla="*/ 431285 h 1299677"/>
              <a:gd name="connsiteX64" fmla="*/ 3613334 w 7845728"/>
              <a:gd name="connsiteY64" fmla="*/ 437036 h 1299677"/>
              <a:gd name="connsiteX65" fmla="*/ 3768609 w 7845728"/>
              <a:gd name="connsiteY65" fmla="*/ 448538 h 1299677"/>
              <a:gd name="connsiteX66" fmla="*/ 3958390 w 7845728"/>
              <a:gd name="connsiteY66" fmla="*/ 460040 h 1299677"/>
              <a:gd name="connsiteX67" fmla="*/ 4079160 w 7845728"/>
              <a:gd name="connsiteY67" fmla="*/ 471541 h 1299677"/>
              <a:gd name="connsiteX68" fmla="*/ 4217183 w 7845728"/>
              <a:gd name="connsiteY68" fmla="*/ 483043 h 1299677"/>
              <a:gd name="connsiteX69" fmla="*/ 4274692 w 7845728"/>
              <a:gd name="connsiteY69" fmla="*/ 488794 h 1299677"/>
              <a:gd name="connsiteX70" fmla="*/ 4458722 w 7845728"/>
              <a:gd name="connsiteY70" fmla="*/ 500296 h 1299677"/>
              <a:gd name="connsiteX71" fmla="*/ 4700262 w 7845728"/>
              <a:gd name="connsiteY71" fmla="*/ 511798 h 1299677"/>
              <a:gd name="connsiteX72" fmla="*/ 5005062 w 7845728"/>
              <a:gd name="connsiteY72" fmla="*/ 506047 h 1299677"/>
              <a:gd name="connsiteX73" fmla="*/ 5045319 w 7845728"/>
              <a:gd name="connsiteY73" fmla="*/ 494545 h 1299677"/>
              <a:gd name="connsiteX74" fmla="*/ 5097077 w 7845728"/>
              <a:gd name="connsiteY74" fmla="*/ 483043 h 1299677"/>
              <a:gd name="connsiteX75" fmla="*/ 5125832 w 7845728"/>
              <a:gd name="connsiteY75" fmla="*/ 477292 h 1299677"/>
              <a:gd name="connsiteX76" fmla="*/ 5154586 w 7845728"/>
              <a:gd name="connsiteY76" fmla="*/ 465791 h 1299677"/>
              <a:gd name="connsiteX77" fmla="*/ 5217847 w 7845728"/>
              <a:gd name="connsiteY77" fmla="*/ 454289 h 1299677"/>
              <a:gd name="connsiteX78" fmla="*/ 5263854 w 7845728"/>
              <a:gd name="connsiteY78" fmla="*/ 442787 h 1299677"/>
              <a:gd name="connsiteX79" fmla="*/ 5327115 w 7845728"/>
              <a:gd name="connsiteY79" fmla="*/ 425534 h 1299677"/>
              <a:gd name="connsiteX80" fmla="*/ 5344368 w 7845728"/>
              <a:gd name="connsiteY80" fmla="*/ 414032 h 1299677"/>
              <a:gd name="connsiteX81" fmla="*/ 5384624 w 7845728"/>
              <a:gd name="connsiteY81" fmla="*/ 402530 h 1299677"/>
              <a:gd name="connsiteX82" fmla="*/ 5447885 w 7845728"/>
              <a:gd name="connsiteY82" fmla="*/ 379526 h 1299677"/>
              <a:gd name="connsiteX83" fmla="*/ 5482390 w 7845728"/>
              <a:gd name="connsiteY83" fmla="*/ 368024 h 1299677"/>
              <a:gd name="connsiteX84" fmla="*/ 5505394 w 7845728"/>
              <a:gd name="connsiteY84" fmla="*/ 356523 h 1299677"/>
              <a:gd name="connsiteX85" fmla="*/ 5551402 w 7845728"/>
              <a:gd name="connsiteY85" fmla="*/ 350772 h 1299677"/>
              <a:gd name="connsiteX86" fmla="*/ 5603160 w 7845728"/>
              <a:gd name="connsiteY86" fmla="*/ 339270 h 1299677"/>
              <a:gd name="connsiteX87" fmla="*/ 5631915 w 7845728"/>
              <a:gd name="connsiteY87" fmla="*/ 333519 h 1299677"/>
              <a:gd name="connsiteX88" fmla="*/ 5666420 w 7845728"/>
              <a:gd name="connsiteY88" fmla="*/ 327768 h 1299677"/>
              <a:gd name="connsiteX89" fmla="*/ 5821696 w 7845728"/>
              <a:gd name="connsiteY89" fmla="*/ 322017 h 1299677"/>
              <a:gd name="connsiteX90" fmla="*/ 6621077 w 7845728"/>
              <a:gd name="connsiteY90" fmla="*/ 316266 h 1299677"/>
              <a:gd name="connsiteX91" fmla="*/ 6678586 w 7845728"/>
              <a:gd name="connsiteY91" fmla="*/ 310515 h 1299677"/>
              <a:gd name="connsiteX92" fmla="*/ 6816609 w 7845728"/>
              <a:gd name="connsiteY92" fmla="*/ 281760 h 1299677"/>
              <a:gd name="connsiteX93" fmla="*/ 6839613 w 7845728"/>
              <a:gd name="connsiteY93" fmla="*/ 276009 h 1299677"/>
              <a:gd name="connsiteX94" fmla="*/ 6862617 w 7845728"/>
              <a:gd name="connsiteY94" fmla="*/ 264507 h 1299677"/>
              <a:gd name="connsiteX95" fmla="*/ 6885620 w 7845728"/>
              <a:gd name="connsiteY95" fmla="*/ 258757 h 1299677"/>
              <a:gd name="connsiteX96" fmla="*/ 6920126 w 7845728"/>
              <a:gd name="connsiteY96" fmla="*/ 247255 h 1299677"/>
              <a:gd name="connsiteX97" fmla="*/ 6937379 w 7845728"/>
              <a:gd name="connsiteY97" fmla="*/ 241504 h 1299677"/>
              <a:gd name="connsiteX98" fmla="*/ 6960383 w 7845728"/>
              <a:gd name="connsiteY98" fmla="*/ 235753 h 1299677"/>
              <a:gd name="connsiteX99" fmla="*/ 6989137 w 7845728"/>
              <a:gd name="connsiteY99" fmla="*/ 218500 h 1299677"/>
              <a:gd name="connsiteX100" fmla="*/ 7023643 w 7845728"/>
              <a:gd name="connsiteY100" fmla="*/ 206998 h 1299677"/>
              <a:gd name="connsiteX101" fmla="*/ 7063900 w 7845728"/>
              <a:gd name="connsiteY101" fmla="*/ 189745 h 1299677"/>
              <a:gd name="connsiteX102" fmla="*/ 7086903 w 7845728"/>
              <a:gd name="connsiteY102" fmla="*/ 178243 h 1299677"/>
              <a:gd name="connsiteX103" fmla="*/ 7104156 w 7845728"/>
              <a:gd name="connsiteY103" fmla="*/ 172492 h 1299677"/>
              <a:gd name="connsiteX104" fmla="*/ 7132911 w 7845728"/>
              <a:gd name="connsiteY104" fmla="*/ 160991 h 1299677"/>
              <a:gd name="connsiteX105" fmla="*/ 7178919 w 7845728"/>
              <a:gd name="connsiteY105" fmla="*/ 137987 h 1299677"/>
              <a:gd name="connsiteX106" fmla="*/ 7207673 w 7845728"/>
              <a:gd name="connsiteY106" fmla="*/ 132236 h 1299677"/>
              <a:gd name="connsiteX107" fmla="*/ 7224926 w 7845728"/>
              <a:gd name="connsiteY107" fmla="*/ 126485 h 1299677"/>
              <a:gd name="connsiteX108" fmla="*/ 7247930 w 7845728"/>
              <a:gd name="connsiteY108" fmla="*/ 120734 h 1299677"/>
              <a:gd name="connsiteX109" fmla="*/ 7265183 w 7845728"/>
              <a:gd name="connsiteY109" fmla="*/ 109232 h 1299677"/>
              <a:gd name="connsiteX110" fmla="*/ 7293937 w 7845728"/>
              <a:gd name="connsiteY110" fmla="*/ 103481 h 1299677"/>
              <a:gd name="connsiteX111" fmla="*/ 7339945 w 7845728"/>
              <a:gd name="connsiteY111" fmla="*/ 91979 h 1299677"/>
              <a:gd name="connsiteX112" fmla="*/ 7368700 w 7845728"/>
              <a:gd name="connsiteY112" fmla="*/ 86228 h 1299677"/>
              <a:gd name="connsiteX113" fmla="*/ 7431960 w 7845728"/>
              <a:gd name="connsiteY113" fmla="*/ 68975 h 1299677"/>
              <a:gd name="connsiteX114" fmla="*/ 7495220 w 7845728"/>
              <a:gd name="connsiteY114" fmla="*/ 63224 h 1299677"/>
              <a:gd name="connsiteX115" fmla="*/ 7564232 w 7845728"/>
              <a:gd name="connsiteY115" fmla="*/ 68975 h 1299677"/>
              <a:gd name="connsiteX116" fmla="*/ 7661998 w 7845728"/>
              <a:gd name="connsiteY116" fmla="*/ 57474 h 1299677"/>
              <a:gd name="connsiteX117" fmla="*/ 7725258 w 7845728"/>
              <a:gd name="connsiteY117" fmla="*/ 40221 h 1299677"/>
              <a:gd name="connsiteX118" fmla="*/ 7840277 w 7845728"/>
              <a:gd name="connsiteY118" fmla="*/ 34470 h 1299677"/>
              <a:gd name="connsiteX119" fmla="*/ 7840277 w 7845728"/>
              <a:gd name="connsiteY119" fmla="*/ 1299677 h 1299677"/>
              <a:gd name="connsiteX0" fmla="*/ 499101 w 7838060"/>
              <a:gd name="connsiteY0" fmla="*/ 1274542 h 1297760"/>
              <a:gd name="connsiteX1" fmla="*/ 45832 w 7838060"/>
              <a:gd name="connsiteY1" fmla="*/ 176326 h 1297760"/>
              <a:gd name="connsiteX2" fmla="*/ 224111 w 7838060"/>
              <a:gd name="connsiteY2" fmla="*/ 216583 h 1297760"/>
              <a:gd name="connsiteX3" fmla="*/ 310375 w 7838060"/>
              <a:gd name="connsiteY3" fmla="*/ 228085 h 1297760"/>
              <a:gd name="connsiteX4" fmla="*/ 557666 w 7838060"/>
              <a:gd name="connsiteY4" fmla="*/ 274092 h 1297760"/>
              <a:gd name="connsiteX5" fmla="*/ 649681 w 7838060"/>
              <a:gd name="connsiteY5" fmla="*/ 285594 h 1297760"/>
              <a:gd name="connsiteX6" fmla="*/ 701439 w 7838060"/>
              <a:gd name="connsiteY6" fmla="*/ 291345 h 1297760"/>
              <a:gd name="connsiteX7" fmla="*/ 735945 w 7838060"/>
              <a:gd name="connsiteY7" fmla="*/ 297096 h 1297760"/>
              <a:gd name="connsiteX8" fmla="*/ 925726 w 7838060"/>
              <a:gd name="connsiteY8" fmla="*/ 308598 h 1297760"/>
              <a:gd name="connsiteX9" fmla="*/ 1155764 w 7838060"/>
              <a:gd name="connsiteY9" fmla="*/ 302847 h 1297760"/>
              <a:gd name="connsiteX10" fmla="*/ 1184518 w 7838060"/>
              <a:gd name="connsiteY10" fmla="*/ 297096 h 1297760"/>
              <a:gd name="connsiteX11" fmla="*/ 1247779 w 7838060"/>
              <a:gd name="connsiteY11" fmla="*/ 291345 h 1297760"/>
              <a:gd name="connsiteX12" fmla="*/ 1276534 w 7838060"/>
              <a:gd name="connsiteY12" fmla="*/ 285594 h 1297760"/>
              <a:gd name="connsiteX13" fmla="*/ 1322541 w 7838060"/>
              <a:gd name="connsiteY13" fmla="*/ 279843 h 1297760"/>
              <a:gd name="connsiteX14" fmla="*/ 1345545 w 7838060"/>
              <a:gd name="connsiteY14" fmla="*/ 268341 h 1297760"/>
              <a:gd name="connsiteX15" fmla="*/ 1368549 w 7838060"/>
              <a:gd name="connsiteY15" fmla="*/ 262590 h 1297760"/>
              <a:gd name="connsiteX16" fmla="*/ 1385801 w 7838060"/>
              <a:gd name="connsiteY16" fmla="*/ 256840 h 1297760"/>
              <a:gd name="connsiteX17" fmla="*/ 1431809 w 7838060"/>
              <a:gd name="connsiteY17" fmla="*/ 245338 h 1297760"/>
              <a:gd name="connsiteX18" fmla="*/ 1454813 w 7838060"/>
              <a:gd name="connsiteY18" fmla="*/ 239587 h 1297760"/>
              <a:gd name="connsiteX19" fmla="*/ 1483567 w 7838060"/>
              <a:gd name="connsiteY19" fmla="*/ 222334 h 1297760"/>
              <a:gd name="connsiteX20" fmla="*/ 1518073 w 7838060"/>
              <a:gd name="connsiteY20" fmla="*/ 210832 h 1297760"/>
              <a:gd name="connsiteX21" fmla="*/ 1535326 w 7838060"/>
              <a:gd name="connsiteY21" fmla="*/ 205081 h 1297760"/>
              <a:gd name="connsiteX22" fmla="*/ 1598586 w 7838060"/>
              <a:gd name="connsiteY22" fmla="*/ 187828 h 1297760"/>
              <a:gd name="connsiteX23" fmla="*/ 1650345 w 7838060"/>
              <a:gd name="connsiteY23" fmla="*/ 164824 h 1297760"/>
              <a:gd name="connsiteX24" fmla="*/ 1667598 w 7838060"/>
              <a:gd name="connsiteY24" fmla="*/ 159074 h 1297760"/>
              <a:gd name="connsiteX25" fmla="*/ 1690601 w 7838060"/>
              <a:gd name="connsiteY25" fmla="*/ 147572 h 1297760"/>
              <a:gd name="connsiteX26" fmla="*/ 1707854 w 7838060"/>
              <a:gd name="connsiteY26" fmla="*/ 141821 h 1297760"/>
              <a:gd name="connsiteX27" fmla="*/ 1730858 w 7838060"/>
              <a:gd name="connsiteY27" fmla="*/ 130319 h 1297760"/>
              <a:gd name="connsiteX28" fmla="*/ 1765364 w 7838060"/>
              <a:gd name="connsiteY28" fmla="*/ 124568 h 1297760"/>
              <a:gd name="connsiteX29" fmla="*/ 1799869 w 7838060"/>
              <a:gd name="connsiteY29" fmla="*/ 113066 h 1297760"/>
              <a:gd name="connsiteX30" fmla="*/ 1834375 w 7838060"/>
              <a:gd name="connsiteY30" fmla="*/ 107315 h 1297760"/>
              <a:gd name="connsiteX31" fmla="*/ 1857379 w 7838060"/>
              <a:gd name="connsiteY31" fmla="*/ 101564 h 1297760"/>
              <a:gd name="connsiteX32" fmla="*/ 2064413 w 7838060"/>
              <a:gd name="connsiteY32" fmla="*/ 95813 h 1297760"/>
              <a:gd name="connsiteX33" fmla="*/ 2248443 w 7838060"/>
              <a:gd name="connsiteY33" fmla="*/ 101564 h 1297760"/>
              <a:gd name="connsiteX34" fmla="*/ 2282949 w 7838060"/>
              <a:gd name="connsiteY34" fmla="*/ 118817 h 1297760"/>
              <a:gd name="connsiteX35" fmla="*/ 2323205 w 7838060"/>
              <a:gd name="connsiteY35" fmla="*/ 130319 h 1297760"/>
              <a:gd name="connsiteX36" fmla="*/ 2346209 w 7838060"/>
              <a:gd name="connsiteY36" fmla="*/ 141821 h 1297760"/>
              <a:gd name="connsiteX37" fmla="*/ 2369213 w 7838060"/>
              <a:gd name="connsiteY37" fmla="*/ 147572 h 1297760"/>
              <a:gd name="connsiteX38" fmla="*/ 2403718 w 7838060"/>
              <a:gd name="connsiteY38" fmla="*/ 159074 h 1297760"/>
              <a:gd name="connsiteX39" fmla="*/ 2420971 w 7838060"/>
              <a:gd name="connsiteY39" fmla="*/ 164824 h 1297760"/>
              <a:gd name="connsiteX40" fmla="*/ 2472730 w 7838060"/>
              <a:gd name="connsiteY40" fmla="*/ 170575 h 1297760"/>
              <a:gd name="connsiteX41" fmla="*/ 2535990 w 7838060"/>
              <a:gd name="connsiteY41" fmla="*/ 182077 h 1297760"/>
              <a:gd name="connsiteX42" fmla="*/ 2599251 w 7838060"/>
              <a:gd name="connsiteY42" fmla="*/ 187828 h 1297760"/>
              <a:gd name="connsiteX43" fmla="*/ 2668262 w 7838060"/>
              <a:gd name="connsiteY43" fmla="*/ 199330 h 1297760"/>
              <a:gd name="connsiteX44" fmla="*/ 2731522 w 7838060"/>
              <a:gd name="connsiteY44" fmla="*/ 205081 h 1297760"/>
              <a:gd name="connsiteX45" fmla="*/ 2794783 w 7838060"/>
              <a:gd name="connsiteY45" fmla="*/ 222334 h 1297760"/>
              <a:gd name="connsiteX46" fmla="*/ 2835039 w 7838060"/>
              <a:gd name="connsiteY46" fmla="*/ 233836 h 1297760"/>
              <a:gd name="connsiteX47" fmla="*/ 2858043 w 7838060"/>
              <a:gd name="connsiteY47" fmla="*/ 245338 h 1297760"/>
              <a:gd name="connsiteX48" fmla="*/ 2892549 w 7838060"/>
              <a:gd name="connsiteY48" fmla="*/ 251089 h 1297760"/>
              <a:gd name="connsiteX49" fmla="*/ 2921303 w 7838060"/>
              <a:gd name="connsiteY49" fmla="*/ 256840 h 1297760"/>
              <a:gd name="connsiteX50" fmla="*/ 2944307 w 7838060"/>
              <a:gd name="connsiteY50" fmla="*/ 262590 h 1297760"/>
              <a:gd name="connsiteX51" fmla="*/ 3122586 w 7838060"/>
              <a:gd name="connsiteY51" fmla="*/ 268341 h 1297760"/>
              <a:gd name="connsiteX52" fmla="*/ 3191598 w 7838060"/>
              <a:gd name="connsiteY52" fmla="*/ 274092 h 1297760"/>
              <a:gd name="connsiteX53" fmla="*/ 3214601 w 7838060"/>
              <a:gd name="connsiteY53" fmla="*/ 285594 h 1297760"/>
              <a:gd name="connsiteX54" fmla="*/ 3266360 w 7838060"/>
              <a:gd name="connsiteY54" fmla="*/ 308598 h 1297760"/>
              <a:gd name="connsiteX55" fmla="*/ 3318118 w 7838060"/>
              <a:gd name="connsiteY55" fmla="*/ 331602 h 1297760"/>
              <a:gd name="connsiteX56" fmla="*/ 3369877 w 7838060"/>
              <a:gd name="connsiteY56" fmla="*/ 354606 h 1297760"/>
              <a:gd name="connsiteX57" fmla="*/ 3392881 w 7838060"/>
              <a:gd name="connsiteY57" fmla="*/ 366107 h 1297760"/>
              <a:gd name="connsiteX58" fmla="*/ 3444639 w 7838060"/>
              <a:gd name="connsiteY58" fmla="*/ 383360 h 1297760"/>
              <a:gd name="connsiteX59" fmla="*/ 3461892 w 7838060"/>
              <a:gd name="connsiteY59" fmla="*/ 389111 h 1297760"/>
              <a:gd name="connsiteX60" fmla="*/ 3490647 w 7838060"/>
              <a:gd name="connsiteY60" fmla="*/ 406364 h 1297760"/>
              <a:gd name="connsiteX61" fmla="*/ 3530903 w 7838060"/>
              <a:gd name="connsiteY61" fmla="*/ 417866 h 1297760"/>
              <a:gd name="connsiteX62" fmla="*/ 3565409 w 7838060"/>
              <a:gd name="connsiteY62" fmla="*/ 429368 h 1297760"/>
              <a:gd name="connsiteX63" fmla="*/ 3605666 w 7838060"/>
              <a:gd name="connsiteY63" fmla="*/ 435119 h 1297760"/>
              <a:gd name="connsiteX64" fmla="*/ 3760941 w 7838060"/>
              <a:gd name="connsiteY64" fmla="*/ 446621 h 1297760"/>
              <a:gd name="connsiteX65" fmla="*/ 3950722 w 7838060"/>
              <a:gd name="connsiteY65" fmla="*/ 458123 h 1297760"/>
              <a:gd name="connsiteX66" fmla="*/ 4071492 w 7838060"/>
              <a:gd name="connsiteY66" fmla="*/ 469624 h 1297760"/>
              <a:gd name="connsiteX67" fmla="*/ 4209515 w 7838060"/>
              <a:gd name="connsiteY67" fmla="*/ 481126 h 1297760"/>
              <a:gd name="connsiteX68" fmla="*/ 4267024 w 7838060"/>
              <a:gd name="connsiteY68" fmla="*/ 486877 h 1297760"/>
              <a:gd name="connsiteX69" fmla="*/ 4451054 w 7838060"/>
              <a:gd name="connsiteY69" fmla="*/ 498379 h 1297760"/>
              <a:gd name="connsiteX70" fmla="*/ 4692594 w 7838060"/>
              <a:gd name="connsiteY70" fmla="*/ 509881 h 1297760"/>
              <a:gd name="connsiteX71" fmla="*/ 4997394 w 7838060"/>
              <a:gd name="connsiteY71" fmla="*/ 504130 h 1297760"/>
              <a:gd name="connsiteX72" fmla="*/ 5037651 w 7838060"/>
              <a:gd name="connsiteY72" fmla="*/ 492628 h 1297760"/>
              <a:gd name="connsiteX73" fmla="*/ 5089409 w 7838060"/>
              <a:gd name="connsiteY73" fmla="*/ 481126 h 1297760"/>
              <a:gd name="connsiteX74" fmla="*/ 5118164 w 7838060"/>
              <a:gd name="connsiteY74" fmla="*/ 475375 h 1297760"/>
              <a:gd name="connsiteX75" fmla="*/ 5146918 w 7838060"/>
              <a:gd name="connsiteY75" fmla="*/ 463874 h 1297760"/>
              <a:gd name="connsiteX76" fmla="*/ 5210179 w 7838060"/>
              <a:gd name="connsiteY76" fmla="*/ 452372 h 1297760"/>
              <a:gd name="connsiteX77" fmla="*/ 5256186 w 7838060"/>
              <a:gd name="connsiteY77" fmla="*/ 440870 h 1297760"/>
              <a:gd name="connsiteX78" fmla="*/ 5319447 w 7838060"/>
              <a:gd name="connsiteY78" fmla="*/ 423617 h 1297760"/>
              <a:gd name="connsiteX79" fmla="*/ 5336700 w 7838060"/>
              <a:gd name="connsiteY79" fmla="*/ 412115 h 1297760"/>
              <a:gd name="connsiteX80" fmla="*/ 5376956 w 7838060"/>
              <a:gd name="connsiteY80" fmla="*/ 400613 h 1297760"/>
              <a:gd name="connsiteX81" fmla="*/ 5440217 w 7838060"/>
              <a:gd name="connsiteY81" fmla="*/ 377609 h 1297760"/>
              <a:gd name="connsiteX82" fmla="*/ 5474722 w 7838060"/>
              <a:gd name="connsiteY82" fmla="*/ 366107 h 1297760"/>
              <a:gd name="connsiteX83" fmla="*/ 5497726 w 7838060"/>
              <a:gd name="connsiteY83" fmla="*/ 354606 h 1297760"/>
              <a:gd name="connsiteX84" fmla="*/ 5543734 w 7838060"/>
              <a:gd name="connsiteY84" fmla="*/ 348855 h 1297760"/>
              <a:gd name="connsiteX85" fmla="*/ 5595492 w 7838060"/>
              <a:gd name="connsiteY85" fmla="*/ 337353 h 1297760"/>
              <a:gd name="connsiteX86" fmla="*/ 5624247 w 7838060"/>
              <a:gd name="connsiteY86" fmla="*/ 331602 h 1297760"/>
              <a:gd name="connsiteX87" fmla="*/ 5658752 w 7838060"/>
              <a:gd name="connsiteY87" fmla="*/ 325851 h 1297760"/>
              <a:gd name="connsiteX88" fmla="*/ 5814028 w 7838060"/>
              <a:gd name="connsiteY88" fmla="*/ 320100 h 1297760"/>
              <a:gd name="connsiteX89" fmla="*/ 6613409 w 7838060"/>
              <a:gd name="connsiteY89" fmla="*/ 314349 h 1297760"/>
              <a:gd name="connsiteX90" fmla="*/ 6670918 w 7838060"/>
              <a:gd name="connsiteY90" fmla="*/ 308598 h 1297760"/>
              <a:gd name="connsiteX91" fmla="*/ 6808941 w 7838060"/>
              <a:gd name="connsiteY91" fmla="*/ 279843 h 1297760"/>
              <a:gd name="connsiteX92" fmla="*/ 6831945 w 7838060"/>
              <a:gd name="connsiteY92" fmla="*/ 274092 h 1297760"/>
              <a:gd name="connsiteX93" fmla="*/ 6854949 w 7838060"/>
              <a:gd name="connsiteY93" fmla="*/ 262590 h 1297760"/>
              <a:gd name="connsiteX94" fmla="*/ 6877952 w 7838060"/>
              <a:gd name="connsiteY94" fmla="*/ 256840 h 1297760"/>
              <a:gd name="connsiteX95" fmla="*/ 6912458 w 7838060"/>
              <a:gd name="connsiteY95" fmla="*/ 245338 h 1297760"/>
              <a:gd name="connsiteX96" fmla="*/ 6929711 w 7838060"/>
              <a:gd name="connsiteY96" fmla="*/ 239587 h 1297760"/>
              <a:gd name="connsiteX97" fmla="*/ 6952715 w 7838060"/>
              <a:gd name="connsiteY97" fmla="*/ 233836 h 1297760"/>
              <a:gd name="connsiteX98" fmla="*/ 6981469 w 7838060"/>
              <a:gd name="connsiteY98" fmla="*/ 216583 h 1297760"/>
              <a:gd name="connsiteX99" fmla="*/ 7015975 w 7838060"/>
              <a:gd name="connsiteY99" fmla="*/ 205081 h 1297760"/>
              <a:gd name="connsiteX100" fmla="*/ 7056232 w 7838060"/>
              <a:gd name="connsiteY100" fmla="*/ 187828 h 1297760"/>
              <a:gd name="connsiteX101" fmla="*/ 7079235 w 7838060"/>
              <a:gd name="connsiteY101" fmla="*/ 176326 h 1297760"/>
              <a:gd name="connsiteX102" fmla="*/ 7096488 w 7838060"/>
              <a:gd name="connsiteY102" fmla="*/ 170575 h 1297760"/>
              <a:gd name="connsiteX103" fmla="*/ 7125243 w 7838060"/>
              <a:gd name="connsiteY103" fmla="*/ 159074 h 1297760"/>
              <a:gd name="connsiteX104" fmla="*/ 7171251 w 7838060"/>
              <a:gd name="connsiteY104" fmla="*/ 136070 h 1297760"/>
              <a:gd name="connsiteX105" fmla="*/ 7200005 w 7838060"/>
              <a:gd name="connsiteY105" fmla="*/ 130319 h 1297760"/>
              <a:gd name="connsiteX106" fmla="*/ 7217258 w 7838060"/>
              <a:gd name="connsiteY106" fmla="*/ 124568 h 1297760"/>
              <a:gd name="connsiteX107" fmla="*/ 7240262 w 7838060"/>
              <a:gd name="connsiteY107" fmla="*/ 118817 h 1297760"/>
              <a:gd name="connsiteX108" fmla="*/ 7257515 w 7838060"/>
              <a:gd name="connsiteY108" fmla="*/ 107315 h 1297760"/>
              <a:gd name="connsiteX109" fmla="*/ 7286269 w 7838060"/>
              <a:gd name="connsiteY109" fmla="*/ 101564 h 1297760"/>
              <a:gd name="connsiteX110" fmla="*/ 7332277 w 7838060"/>
              <a:gd name="connsiteY110" fmla="*/ 90062 h 1297760"/>
              <a:gd name="connsiteX111" fmla="*/ 7361032 w 7838060"/>
              <a:gd name="connsiteY111" fmla="*/ 84311 h 1297760"/>
              <a:gd name="connsiteX112" fmla="*/ 7424292 w 7838060"/>
              <a:gd name="connsiteY112" fmla="*/ 67058 h 1297760"/>
              <a:gd name="connsiteX113" fmla="*/ 7487552 w 7838060"/>
              <a:gd name="connsiteY113" fmla="*/ 61307 h 1297760"/>
              <a:gd name="connsiteX114" fmla="*/ 7556564 w 7838060"/>
              <a:gd name="connsiteY114" fmla="*/ 67058 h 1297760"/>
              <a:gd name="connsiteX115" fmla="*/ 7654330 w 7838060"/>
              <a:gd name="connsiteY115" fmla="*/ 55557 h 1297760"/>
              <a:gd name="connsiteX116" fmla="*/ 7717590 w 7838060"/>
              <a:gd name="connsiteY116" fmla="*/ 38304 h 1297760"/>
              <a:gd name="connsiteX117" fmla="*/ 7832609 w 7838060"/>
              <a:gd name="connsiteY117" fmla="*/ 32553 h 1297760"/>
              <a:gd name="connsiteX118" fmla="*/ 7832609 w 7838060"/>
              <a:gd name="connsiteY118" fmla="*/ 1297760 h 1297760"/>
              <a:gd name="connsiteX0" fmla="*/ 499101 w 7838060"/>
              <a:gd name="connsiteY0" fmla="*/ 1274542 h 1297760"/>
              <a:gd name="connsiteX1" fmla="*/ 45832 w 7838060"/>
              <a:gd name="connsiteY1" fmla="*/ 176326 h 1297760"/>
              <a:gd name="connsiteX2" fmla="*/ 224111 w 7838060"/>
              <a:gd name="connsiteY2" fmla="*/ 216583 h 1297760"/>
              <a:gd name="connsiteX3" fmla="*/ 557666 w 7838060"/>
              <a:gd name="connsiteY3" fmla="*/ 274092 h 1297760"/>
              <a:gd name="connsiteX4" fmla="*/ 649681 w 7838060"/>
              <a:gd name="connsiteY4" fmla="*/ 285594 h 1297760"/>
              <a:gd name="connsiteX5" fmla="*/ 701439 w 7838060"/>
              <a:gd name="connsiteY5" fmla="*/ 291345 h 1297760"/>
              <a:gd name="connsiteX6" fmla="*/ 735945 w 7838060"/>
              <a:gd name="connsiteY6" fmla="*/ 297096 h 1297760"/>
              <a:gd name="connsiteX7" fmla="*/ 925726 w 7838060"/>
              <a:gd name="connsiteY7" fmla="*/ 308598 h 1297760"/>
              <a:gd name="connsiteX8" fmla="*/ 1155764 w 7838060"/>
              <a:gd name="connsiteY8" fmla="*/ 302847 h 1297760"/>
              <a:gd name="connsiteX9" fmla="*/ 1184518 w 7838060"/>
              <a:gd name="connsiteY9" fmla="*/ 297096 h 1297760"/>
              <a:gd name="connsiteX10" fmla="*/ 1247779 w 7838060"/>
              <a:gd name="connsiteY10" fmla="*/ 291345 h 1297760"/>
              <a:gd name="connsiteX11" fmla="*/ 1276534 w 7838060"/>
              <a:gd name="connsiteY11" fmla="*/ 285594 h 1297760"/>
              <a:gd name="connsiteX12" fmla="*/ 1322541 w 7838060"/>
              <a:gd name="connsiteY12" fmla="*/ 279843 h 1297760"/>
              <a:gd name="connsiteX13" fmla="*/ 1345545 w 7838060"/>
              <a:gd name="connsiteY13" fmla="*/ 268341 h 1297760"/>
              <a:gd name="connsiteX14" fmla="*/ 1368549 w 7838060"/>
              <a:gd name="connsiteY14" fmla="*/ 262590 h 1297760"/>
              <a:gd name="connsiteX15" fmla="*/ 1385801 w 7838060"/>
              <a:gd name="connsiteY15" fmla="*/ 256840 h 1297760"/>
              <a:gd name="connsiteX16" fmla="*/ 1431809 w 7838060"/>
              <a:gd name="connsiteY16" fmla="*/ 245338 h 1297760"/>
              <a:gd name="connsiteX17" fmla="*/ 1454813 w 7838060"/>
              <a:gd name="connsiteY17" fmla="*/ 239587 h 1297760"/>
              <a:gd name="connsiteX18" fmla="*/ 1483567 w 7838060"/>
              <a:gd name="connsiteY18" fmla="*/ 222334 h 1297760"/>
              <a:gd name="connsiteX19" fmla="*/ 1518073 w 7838060"/>
              <a:gd name="connsiteY19" fmla="*/ 210832 h 1297760"/>
              <a:gd name="connsiteX20" fmla="*/ 1535326 w 7838060"/>
              <a:gd name="connsiteY20" fmla="*/ 205081 h 1297760"/>
              <a:gd name="connsiteX21" fmla="*/ 1598586 w 7838060"/>
              <a:gd name="connsiteY21" fmla="*/ 187828 h 1297760"/>
              <a:gd name="connsiteX22" fmla="*/ 1650345 w 7838060"/>
              <a:gd name="connsiteY22" fmla="*/ 164824 h 1297760"/>
              <a:gd name="connsiteX23" fmla="*/ 1667598 w 7838060"/>
              <a:gd name="connsiteY23" fmla="*/ 159074 h 1297760"/>
              <a:gd name="connsiteX24" fmla="*/ 1690601 w 7838060"/>
              <a:gd name="connsiteY24" fmla="*/ 147572 h 1297760"/>
              <a:gd name="connsiteX25" fmla="*/ 1707854 w 7838060"/>
              <a:gd name="connsiteY25" fmla="*/ 141821 h 1297760"/>
              <a:gd name="connsiteX26" fmla="*/ 1730858 w 7838060"/>
              <a:gd name="connsiteY26" fmla="*/ 130319 h 1297760"/>
              <a:gd name="connsiteX27" fmla="*/ 1765364 w 7838060"/>
              <a:gd name="connsiteY27" fmla="*/ 124568 h 1297760"/>
              <a:gd name="connsiteX28" fmla="*/ 1799869 w 7838060"/>
              <a:gd name="connsiteY28" fmla="*/ 113066 h 1297760"/>
              <a:gd name="connsiteX29" fmla="*/ 1834375 w 7838060"/>
              <a:gd name="connsiteY29" fmla="*/ 107315 h 1297760"/>
              <a:gd name="connsiteX30" fmla="*/ 1857379 w 7838060"/>
              <a:gd name="connsiteY30" fmla="*/ 101564 h 1297760"/>
              <a:gd name="connsiteX31" fmla="*/ 2064413 w 7838060"/>
              <a:gd name="connsiteY31" fmla="*/ 95813 h 1297760"/>
              <a:gd name="connsiteX32" fmla="*/ 2248443 w 7838060"/>
              <a:gd name="connsiteY32" fmla="*/ 101564 h 1297760"/>
              <a:gd name="connsiteX33" fmla="*/ 2282949 w 7838060"/>
              <a:gd name="connsiteY33" fmla="*/ 118817 h 1297760"/>
              <a:gd name="connsiteX34" fmla="*/ 2323205 w 7838060"/>
              <a:gd name="connsiteY34" fmla="*/ 130319 h 1297760"/>
              <a:gd name="connsiteX35" fmla="*/ 2346209 w 7838060"/>
              <a:gd name="connsiteY35" fmla="*/ 141821 h 1297760"/>
              <a:gd name="connsiteX36" fmla="*/ 2369213 w 7838060"/>
              <a:gd name="connsiteY36" fmla="*/ 147572 h 1297760"/>
              <a:gd name="connsiteX37" fmla="*/ 2403718 w 7838060"/>
              <a:gd name="connsiteY37" fmla="*/ 159074 h 1297760"/>
              <a:gd name="connsiteX38" fmla="*/ 2420971 w 7838060"/>
              <a:gd name="connsiteY38" fmla="*/ 164824 h 1297760"/>
              <a:gd name="connsiteX39" fmla="*/ 2472730 w 7838060"/>
              <a:gd name="connsiteY39" fmla="*/ 170575 h 1297760"/>
              <a:gd name="connsiteX40" fmla="*/ 2535990 w 7838060"/>
              <a:gd name="connsiteY40" fmla="*/ 182077 h 1297760"/>
              <a:gd name="connsiteX41" fmla="*/ 2599251 w 7838060"/>
              <a:gd name="connsiteY41" fmla="*/ 187828 h 1297760"/>
              <a:gd name="connsiteX42" fmla="*/ 2668262 w 7838060"/>
              <a:gd name="connsiteY42" fmla="*/ 199330 h 1297760"/>
              <a:gd name="connsiteX43" fmla="*/ 2731522 w 7838060"/>
              <a:gd name="connsiteY43" fmla="*/ 205081 h 1297760"/>
              <a:gd name="connsiteX44" fmla="*/ 2794783 w 7838060"/>
              <a:gd name="connsiteY44" fmla="*/ 222334 h 1297760"/>
              <a:gd name="connsiteX45" fmla="*/ 2835039 w 7838060"/>
              <a:gd name="connsiteY45" fmla="*/ 233836 h 1297760"/>
              <a:gd name="connsiteX46" fmla="*/ 2858043 w 7838060"/>
              <a:gd name="connsiteY46" fmla="*/ 245338 h 1297760"/>
              <a:gd name="connsiteX47" fmla="*/ 2892549 w 7838060"/>
              <a:gd name="connsiteY47" fmla="*/ 251089 h 1297760"/>
              <a:gd name="connsiteX48" fmla="*/ 2921303 w 7838060"/>
              <a:gd name="connsiteY48" fmla="*/ 256840 h 1297760"/>
              <a:gd name="connsiteX49" fmla="*/ 2944307 w 7838060"/>
              <a:gd name="connsiteY49" fmla="*/ 262590 h 1297760"/>
              <a:gd name="connsiteX50" fmla="*/ 3122586 w 7838060"/>
              <a:gd name="connsiteY50" fmla="*/ 268341 h 1297760"/>
              <a:gd name="connsiteX51" fmla="*/ 3191598 w 7838060"/>
              <a:gd name="connsiteY51" fmla="*/ 274092 h 1297760"/>
              <a:gd name="connsiteX52" fmla="*/ 3214601 w 7838060"/>
              <a:gd name="connsiteY52" fmla="*/ 285594 h 1297760"/>
              <a:gd name="connsiteX53" fmla="*/ 3266360 w 7838060"/>
              <a:gd name="connsiteY53" fmla="*/ 308598 h 1297760"/>
              <a:gd name="connsiteX54" fmla="*/ 3318118 w 7838060"/>
              <a:gd name="connsiteY54" fmla="*/ 331602 h 1297760"/>
              <a:gd name="connsiteX55" fmla="*/ 3369877 w 7838060"/>
              <a:gd name="connsiteY55" fmla="*/ 354606 h 1297760"/>
              <a:gd name="connsiteX56" fmla="*/ 3392881 w 7838060"/>
              <a:gd name="connsiteY56" fmla="*/ 366107 h 1297760"/>
              <a:gd name="connsiteX57" fmla="*/ 3444639 w 7838060"/>
              <a:gd name="connsiteY57" fmla="*/ 383360 h 1297760"/>
              <a:gd name="connsiteX58" fmla="*/ 3461892 w 7838060"/>
              <a:gd name="connsiteY58" fmla="*/ 389111 h 1297760"/>
              <a:gd name="connsiteX59" fmla="*/ 3490647 w 7838060"/>
              <a:gd name="connsiteY59" fmla="*/ 406364 h 1297760"/>
              <a:gd name="connsiteX60" fmla="*/ 3530903 w 7838060"/>
              <a:gd name="connsiteY60" fmla="*/ 417866 h 1297760"/>
              <a:gd name="connsiteX61" fmla="*/ 3565409 w 7838060"/>
              <a:gd name="connsiteY61" fmla="*/ 429368 h 1297760"/>
              <a:gd name="connsiteX62" fmla="*/ 3605666 w 7838060"/>
              <a:gd name="connsiteY62" fmla="*/ 435119 h 1297760"/>
              <a:gd name="connsiteX63" fmla="*/ 3760941 w 7838060"/>
              <a:gd name="connsiteY63" fmla="*/ 446621 h 1297760"/>
              <a:gd name="connsiteX64" fmla="*/ 3950722 w 7838060"/>
              <a:gd name="connsiteY64" fmla="*/ 458123 h 1297760"/>
              <a:gd name="connsiteX65" fmla="*/ 4071492 w 7838060"/>
              <a:gd name="connsiteY65" fmla="*/ 469624 h 1297760"/>
              <a:gd name="connsiteX66" fmla="*/ 4209515 w 7838060"/>
              <a:gd name="connsiteY66" fmla="*/ 481126 h 1297760"/>
              <a:gd name="connsiteX67" fmla="*/ 4267024 w 7838060"/>
              <a:gd name="connsiteY67" fmla="*/ 486877 h 1297760"/>
              <a:gd name="connsiteX68" fmla="*/ 4451054 w 7838060"/>
              <a:gd name="connsiteY68" fmla="*/ 498379 h 1297760"/>
              <a:gd name="connsiteX69" fmla="*/ 4692594 w 7838060"/>
              <a:gd name="connsiteY69" fmla="*/ 509881 h 1297760"/>
              <a:gd name="connsiteX70" fmla="*/ 4997394 w 7838060"/>
              <a:gd name="connsiteY70" fmla="*/ 504130 h 1297760"/>
              <a:gd name="connsiteX71" fmla="*/ 5037651 w 7838060"/>
              <a:gd name="connsiteY71" fmla="*/ 492628 h 1297760"/>
              <a:gd name="connsiteX72" fmla="*/ 5089409 w 7838060"/>
              <a:gd name="connsiteY72" fmla="*/ 481126 h 1297760"/>
              <a:gd name="connsiteX73" fmla="*/ 5118164 w 7838060"/>
              <a:gd name="connsiteY73" fmla="*/ 475375 h 1297760"/>
              <a:gd name="connsiteX74" fmla="*/ 5146918 w 7838060"/>
              <a:gd name="connsiteY74" fmla="*/ 463874 h 1297760"/>
              <a:gd name="connsiteX75" fmla="*/ 5210179 w 7838060"/>
              <a:gd name="connsiteY75" fmla="*/ 452372 h 1297760"/>
              <a:gd name="connsiteX76" fmla="*/ 5256186 w 7838060"/>
              <a:gd name="connsiteY76" fmla="*/ 440870 h 1297760"/>
              <a:gd name="connsiteX77" fmla="*/ 5319447 w 7838060"/>
              <a:gd name="connsiteY77" fmla="*/ 423617 h 1297760"/>
              <a:gd name="connsiteX78" fmla="*/ 5336700 w 7838060"/>
              <a:gd name="connsiteY78" fmla="*/ 412115 h 1297760"/>
              <a:gd name="connsiteX79" fmla="*/ 5376956 w 7838060"/>
              <a:gd name="connsiteY79" fmla="*/ 400613 h 1297760"/>
              <a:gd name="connsiteX80" fmla="*/ 5440217 w 7838060"/>
              <a:gd name="connsiteY80" fmla="*/ 377609 h 1297760"/>
              <a:gd name="connsiteX81" fmla="*/ 5474722 w 7838060"/>
              <a:gd name="connsiteY81" fmla="*/ 366107 h 1297760"/>
              <a:gd name="connsiteX82" fmla="*/ 5497726 w 7838060"/>
              <a:gd name="connsiteY82" fmla="*/ 354606 h 1297760"/>
              <a:gd name="connsiteX83" fmla="*/ 5543734 w 7838060"/>
              <a:gd name="connsiteY83" fmla="*/ 348855 h 1297760"/>
              <a:gd name="connsiteX84" fmla="*/ 5595492 w 7838060"/>
              <a:gd name="connsiteY84" fmla="*/ 337353 h 1297760"/>
              <a:gd name="connsiteX85" fmla="*/ 5624247 w 7838060"/>
              <a:gd name="connsiteY85" fmla="*/ 331602 h 1297760"/>
              <a:gd name="connsiteX86" fmla="*/ 5658752 w 7838060"/>
              <a:gd name="connsiteY86" fmla="*/ 325851 h 1297760"/>
              <a:gd name="connsiteX87" fmla="*/ 5814028 w 7838060"/>
              <a:gd name="connsiteY87" fmla="*/ 320100 h 1297760"/>
              <a:gd name="connsiteX88" fmla="*/ 6613409 w 7838060"/>
              <a:gd name="connsiteY88" fmla="*/ 314349 h 1297760"/>
              <a:gd name="connsiteX89" fmla="*/ 6670918 w 7838060"/>
              <a:gd name="connsiteY89" fmla="*/ 308598 h 1297760"/>
              <a:gd name="connsiteX90" fmla="*/ 6808941 w 7838060"/>
              <a:gd name="connsiteY90" fmla="*/ 279843 h 1297760"/>
              <a:gd name="connsiteX91" fmla="*/ 6831945 w 7838060"/>
              <a:gd name="connsiteY91" fmla="*/ 274092 h 1297760"/>
              <a:gd name="connsiteX92" fmla="*/ 6854949 w 7838060"/>
              <a:gd name="connsiteY92" fmla="*/ 262590 h 1297760"/>
              <a:gd name="connsiteX93" fmla="*/ 6877952 w 7838060"/>
              <a:gd name="connsiteY93" fmla="*/ 256840 h 1297760"/>
              <a:gd name="connsiteX94" fmla="*/ 6912458 w 7838060"/>
              <a:gd name="connsiteY94" fmla="*/ 245338 h 1297760"/>
              <a:gd name="connsiteX95" fmla="*/ 6929711 w 7838060"/>
              <a:gd name="connsiteY95" fmla="*/ 239587 h 1297760"/>
              <a:gd name="connsiteX96" fmla="*/ 6952715 w 7838060"/>
              <a:gd name="connsiteY96" fmla="*/ 233836 h 1297760"/>
              <a:gd name="connsiteX97" fmla="*/ 6981469 w 7838060"/>
              <a:gd name="connsiteY97" fmla="*/ 216583 h 1297760"/>
              <a:gd name="connsiteX98" fmla="*/ 7015975 w 7838060"/>
              <a:gd name="connsiteY98" fmla="*/ 205081 h 1297760"/>
              <a:gd name="connsiteX99" fmla="*/ 7056232 w 7838060"/>
              <a:gd name="connsiteY99" fmla="*/ 187828 h 1297760"/>
              <a:gd name="connsiteX100" fmla="*/ 7079235 w 7838060"/>
              <a:gd name="connsiteY100" fmla="*/ 176326 h 1297760"/>
              <a:gd name="connsiteX101" fmla="*/ 7096488 w 7838060"/>
              <a:gd name="connsiteY101" fmla="*/ 170575 h 1297760"/>
              <a:gd name="connsiteX102" fmla="*/ 7125243 w 7838060"/>
              <a:gd name="connsiteY102" fmla="*/ 159074 h 1297760"/>
              <a:gd name="connsiteX103" fmla="*/ 7171251 w 7838060"/>
              <a:gd name="connsiteY103" fmla="*/ 136070 h 1297760"/>
              <a:gd name="connsiteX104" fmla="*/ 7200005 w 7838060"/>
              <a:gd name="connsiteY104" fmla="*/ 130319 h 1297760"/>
              <a:gd name="connsiteX105" fmla="*/ 7217258 w 7838060"/>
              <a:gd name="connsiteY105" fmla="*/ 124568 h 1297760"/>
              <a:gd name="connsiteX106" fmla="*/ 7240262 w 7838060"/>
              <a:gd name="connsiteY106" fmla="*/ 118817 h 1297760"/>
              <a:gd name="connsiteX107" fmla="*/ 7257515 w 7838060"/>
              <a:gd name="connsiteY107" fmla="*/ 107315 h 1297760"/>
              <a:gd name="connsiteX108" fmla="*/ 7286269 w 7838060"/>
              <a:gd name="connsiteY108" fmla="*/ 101564 h 1297760"/>
              <a:gd name="connsiteX109" fmla="*/ 7332277 w 7838060"/>
              <a:gd name="connsiteY109" fmla="*/ 90062 h 1297760"/>
              <a:gd name="connsiteX110" fmla="*/ 7361032 w 7838060"/>
              <a:gd name="connsiteY110" fmla="*/ 84311 h 1297760"/>
              <a:gd name="connsiteX111" fmla="*/ 7424292 w 7838060"/>
              <a:gd name="connsiteY111" fmla="*/ 67058 h 1297760"/>
              <a:gd name="connsiteX112" fmla="*/ 7487552 w 7838060"/>
              <a:gd name="connsiteY112" fmla="*/ 61307 h 1297760"/>
              <a:gd name="connsiteX113" fmla="*/ 7556564 w 7838060"/>
              <a:gd name="connsiteY113" fmla="*/ 67058 h 1297760"/>
              <a:gd name="connsiteX114" fmla="*/ 7654330 w 7838060"/>
              <a:gd name="connsiteY114" fmla="*/ 55557 h 1297760"/>
              <a:gd name="connsiteX115" fmla="*/ 7717590 w 7838060"/>
              <a:gd name="connsiteY115" fmla="*/ 38304 h 1297760"/>
              <a:gd name="connsiteX116" fmla="*/ 7832609 w 7838060"/>
              <a:gd name="connsiteY116" fmla="*/ 32553 h 1297760"/>
              <a:gd name="connsiteX117" fmla="*/ 7832609 w 7838060"/>
              <a:gd name="connsiteY117" fmla="*/ 1297760 h 1297760"/>
              <a:gd name="connsiteX0" fmla="*/ 453269 w 7792228"/>
              <a:gd name="connsiteY0" fmla="*/ 1264958 h 1288176"/>
              <a:gd name="connsiteX1" fmla="*/ 0 w 7792228"/>
              <a:gd name="connsiteY1" fmla="*/ 166742 h 1288176"/>
              <a:gd name="connsiteX2" fmla="*/ 511834 w 7792228"/>
              <a:gd name="connsiteY2" fmla="*/ 264508 h 1288176"/>
              <a:gd name="connsiteX3" fmla="*/ 603849 w 7792228"/>
              <a:gd name="connsiteY3" fmla="*/ 276010 h 1288176"/>
              <a:gd name="connsiteX4" fmla="*/ 655607 w 7792228"/>
              <a:gd name="connsiteY4" fmla="*/ 281761 h 1288176"/>
              <a:gd name="connsiteX5" fmla="*/ 690113 w 7792228"/>
              <a:gd name="connsiteY5" fmla="*/ 287512 h 1288176"/>
              <a:gd name="connsiteX6" fmla="*/ 879894 w 7792228"/>
              <a:gd name="connsiteY6" fmla="*/ 299014 h 1288176"/>
              <a:gd name="connsiteX7" fmla="*/ 1109932 w 7792228"/>
              <a:gd name="connsiteY7" fmla="*/ 293263 h 1288176"/>
              <a:gd name="connsiteX8" fmla="*/ 1138686 w 7792228"/>
              <a:gd name="connsiteY8" fmla="*/ 287512 h 1288176"/>
              <a:gd name="connsiteX9" fmla="*/ 1201947 w 7792228"/>
              <a:gd name="connsiteY9" fmla="*/ 281761 h 1288176"/>
              <a:gd name="connsiteX10" fmla="*/ 1230702 w 7792228"/>
              <a:gd name="connsiteY10" fmla="*/ 276010 h 1288176"/>
              <a:gd name="connsiteX11" fmla="*/ 1276709 w 7792228"/>
              <a:gd name="connsiteY11" fmla="*/ 270259 h 1288176"/>
              <a:gd name="connsiteX12" fmla="*/ 1299713 w 7792228"/>
              <a:gd name="connsiteY12" fmla="*/ 258757 h 1288176"/>
              <a:gd name="connsiteX13" fmla="*/ 1322717 w 7792228"/>
              <a:gd name="connsiteY13" fmla="*/ 253006 h 1288176"/>
              <a:gd name="connsiteX14" fmla="*/ 1339969 w 7792228"/>
              <a:gd name="connsiteY14" fmla="*/ 247256 h 1288176"/>
              <a:gd name="connsiteX15" fmla="*/ 1385977 w 7792228"/>
              <a:gd name="connsiteY15" fmla="*/ 235754 h 1288176"/>
              <a:gd name="connsiteX16" fmla="*/ 1408981 w 7792228"/>
              <a:gd name="connsiteY16" fmla="*/ 230003 h 1288176"/>
              <a:gd name="connsiteX17" fmla="*/ 1437735 w 7792228"/>
              <a:gd name="connsiteY17" fmla="*/ 212750 h 1288176"/>
              <a:gd name="connsiteX18" fmla="*/ 1472241 w 7792228"/>
              <a:gd name="connsiteY18" fmla="*/ 201248 h 1288176"/>
              <a:gd name="connsiteX19" fmla="*/ 1489494 w 7792228"/>
              <a:gd name="connsiteY19" fmla="*/ 195497 h 1288176"/>
              <a:gd name="connsiteX20" fmla="*/ 1552754 w 7792228"/>
              <a:gd name="connsiteY20" fmla="*/ 178244 h 1288176"/>
              <a:gd name="connsiteX21" fmla="*/ 1604513 w 7792228"/>
              <a:gd name="connsiteY21" fmla="*/ 155240 h 1288176"/>
              <a:gd name="connsiteX22" fmla="*/ 1621766 w 7792228"/>
              <a:gd name="connsiteY22" fmla="*/ 149490 h 1288176"/>
              <a:gd name="connsiteX23" fmla="*/ 1644769 w 7792228"/>
              <a:gd name="connsiteY23" fmla="*/ 137988 h 1288176"/>
              <a:gd name="connsiteX24" fmla="*/ 1662022 w 7792228"/>
              <a:gd name="connsiteY24" fmla="*/ 132237 h 1288176"/>
              <a:gd name="connsiteX25" fmla="*/ 1685026 w 7792228"/>
              <a:gd name="connsiteY25" fmla="*/ 120735 h 1288176"/>
              <a:gd name="connsiteX26" fmla="*/ 1719532 w 7792228"/>
              <a:gd name="connsiteY26" fmla="*/ 114984 h 1288176"/>
              <a:gd name="connsiteX27" fmla="*/ 1754037 w 7792228"/>
              <a:gd name="connsiteY27" fmla="*/ 103482 h 1288176"/>
              <a:gd name="connsiteX28" fmla="*/ 1788543 w 7792228"/>
              <a:gd name="connsiteY28" fmla="*/ 97731 h 1288176"/>
              <a:gd name="connsiteX29" fmla="*/ 1811547 w 7792228"/>
              <a:gd name="connsiteY29" fmla="*/ 91980 h 1288176"/>
              <a:gd name="connsiteX30" fmla="*/ 2018581 w 7792228"/>
              <a:gd name="connsiteY30" fmla="*/ 86229 h 1288176"/>
              <a:gd name="connsiteX31" fmla="*/ 2202611 w 7792228"/>
              <a:gd name="connsiteY31" fmla="*/ 91980 h 1288176"/>
              <a:gd name="connsiteX32" fmla="*/ 2237117 w 7792228"/>
              <a:gd name="connsiteY32" fmla="*/ 109233 h 1288176"/>
              <a:gd name="connsiteX33" fmla="*/ 2277373 w 7792228"/>
              <a:gd name="connsiteY33" fmla="*/ 120735 h 1288176"/>
              <a:gd name="connsiteX34" fmla="*/ 2300377 w 7792228"/>
              <a:gd name="connsiteY34" fmla="*/ 132237 h 1288176"/>
              <a:gd name="connsiteX35" fmla="*/ 2323381 w 7792228"/>
              <a:gd name="connsiteY35" fmla="*/ 137988 h 1288176"/>
              <a:gd name="connsiteX36" fmla="*/ 2357886 w 7792228"/>
              <a:gd name="connsiteY36" fmla="*/ 149490 h 1288176"/>
              <a:gd name="connsiteX37" fmla="*/ 2375139 w 7792228"/>
              <a:gd name="connsiteY37" fmla="*/ 155240 h 1288176"/>
              <a:gd name="connsiteX38" fmla="*/ 2426898 w 7792228"/>
              <a:gd name="connsiteY38" fmla="*/ 160991 h 1288176"/>
              <a:gd name="connsiteX39" fmla="*/ 2490158 w 7792228"/>
              <a:gd name="connsiteY39" fmla="*/ 172493 h 1288176"/>
              <a:gd name="connsiteX40" fmla="*/ 2553419 w 7792228"/>
              <a:gd name="connsiteY40" fmla="*/ 178244 h 1288176"/>
              <a:gd name="connsiteX41" fmla="*/ 2622430 w 7792228"/>
              <a:gd name="connsiteY41" fmla="*/ 189746 h 1288176"/>
              <a:gd name="connsiteX42" fmla="*/ 2685690 w 7792228"/>
              <a:gd name="connsiteY42" fmla="*/ 195497 h 1288176"/>
              <a:gd name="connsiteX43" fmla="*/ 2748951 w 7792228"/>
              <a:gd name="connsiteY43" fmla="*/ 212750 h 1288176"/>
              <a:gd name="connsiteX44" fmla="*/ 2789207 w 7792228"/>
              <a:gd name="connsiteY44" fmla="*/ 224252 h 1288176"/>
              <a:gd name="connsiteX45" fmla="*/ 2812211 w 7792228"/>
              <a:gd name="connsiteY45" fmla="*/ 235754 h 1288176"/>
              <a:gd name="connsiteX46" fmla="*/ 2846717 w 7792228"/>
              <a:gd name="connsiteY46" fmla="*/ 241505 h 1288176"/>
              <a:gd name="connsiteX47" fmla="*/ 2875471 w 7792228"/>
              <a:gd name="connsiteY47" fmla="*/ 247256 h 1288176"/>
              <a:gd name="connsiteX48" fmla="*/ 2898475 w 7792228"/>
              <a:gd name="connsiteY48" fmla="*/ 253006 h 1288176"/>
              <a:gd name="connsiteX49" fmla="*/ 3076754 w 7792228"/>
              <a:gd name="connsiteY49" fmla="*/ 258757 h 1288176"/>
              <a:gd name="connsiteX50" fmla="*/ 3145766 w 7792228"/>
              <a:gd name="connsiteY50" fmla="*/ 264508 h 1288176"/>
              <a:gd name="connsiteX51" fmla="*/ 3168769 w 7792228"/>
              <a:gd name="connsiteY51" fmla="*/ 276010 h 1288176"/>
              <a:gd name="connsiteX52" fmla="*/ 3220528 w 7792228"/>
              <a:gd name="connsiteY52" fmla="*/ 299014 h 1288176"/>
              <a:gd name="connsiteX53" fmla="*/ 3272286 w 7792228"/>
              <a:gd name="connsiteY53" fmla="*/ 322018 h 1288176"/>
              <a:gd name="connsiteX54" fmla="*/ 3324045 w 7792228"/>
              <a:gd name="connsiteY54" fmla="*/ 345022 h 1288176"/>
              <a:gd name="connsiteX55" fmla="*/ 3347049 w 7792228"/>
              <a:gd name="connsiteY55" fmla="*/ 356523 h 1288176"/>
              <a:gd name="connsiteX56" fmla="*/ 3398807 w 7792228"/>
              <a:gd name="connsiteY56" fmla="*/ 373776 h 1288176"/>
              <a:gd name="connsiteX57" fmla="*/ 3416060 w 7792228"/>
              <a:gd name="connsiteY57" fmla="*/ 379527 h 1288176"/>
              <a:gd name="connsiteX58" fmla="*/ 3444815 w 7792228"/>
              <a:gd name="connsiteY58" fmla="*/ 396780 h 1288176"/>
              <a:gd name="connsiteX59" fmla="*/ 3485071 w 7792228"/>
              <a:gd name="connsiteY59" fmla="*/ 408282 h 1288176"/>
              <a:gd name="connsiteX60" fmla="*/ 3519577 w 7792228"/>
              <a:gd name="connsiteY60" fmla="*/ 419784 h 1288176"/>
              <a:gd name="connsiteX61" fmla="*/ 3559834 w 7792228"/>
              <a:gd name="connsiteY61" fmla="*/ 425535 h 1288176"/>
              <a:gd name="connsiteX62" fmla="*/ 3715109 w 7792228"/>
              <a:gd name="connsiteY62" fmla="*/ 437037 h 1288176"/>
              <a:gd name="connsiteX63" fmla="*/ 3904890 w 7792228"/>
              <a:gd name="connsiteY63" fmla="*/ 448539 h 1288176"/>
              <a:gd name="connsiteX64" fmla="*/ 4025660 w 7792228"/>
              <a:gd name="connsiteY64" fmla="*/ 460040 h 1288176"/>
              <a:gd name="connsiteX65" fmla="*/ 4163683 w 7792228"/>
              <a:gd name="connsiteY65" fmla="*/ 471542 h 1288176"/>
              <a:gd name="connsiteX66" fmla="*/ 4221192 w 7792228"/>
              <a:gd name="connsiteY66" fmla="*/ 477293 h 1288176"/>
              <a:gd name="connsiteX67" fmla="*/ 4405222 w 7792228"/>
              <a:gd name="connsiteY67" fmla="*/ 488795 h 1288176"/>
              <a:gd name="connsiteX68" fmla="*/ 4646762 w 7792228"/>
              <a:gd name="connsiteY68" fmla="*/ 500297 h 1288176"/>
              <a:gd name="connsiteX69" fmla="*/ 4951562 w 7792228"/>
              <a:gd name="connsiteY69" fmla="*/ 494546 h 1288176"/>
              <a:gd name="connsiteX70" fmla="*/ 4991819 w 7792228"/>
              <a:gd name="connsiteY70" fmla="*/ 483044 h 1288176"/>
              <a:gd name="connsiteX71" fmla="*/ 5043577 w 7792228"/>
              <a:gd name="connsiteY71" fmla="*/ 471542 h 1288176"/>
              <a:gd name="connsiteX72" fmla="*/ 5072332 w 7792228"/>
              <a:gd name="connsiteY72" fmla="*/ 465791 h 1288176"/>
              <a:gd name="connsiteX73" fmla="*/ 5101086 w 7792228"/>
              <a:gd name="connsiteY73" fmla="*/ 454290 h 1288176"/>
              <a:gd name="connsiteX74" fmla="*/ 5164347 w 7792228"/>
              <a:gd name="connsiteY74" fmla="*/ 442788 h 1288176"/>
              <a:gd name="connsiteX75" fmla="*/ 5210354 w 7792228"/>
              <a:gd name="connsiteY75" fmla="*/ 431286 h 1288176"/>
              <a:gd name="connsiteX76" fmla="*/ 5273615 w 7792228"/>
              <a:gd name="connsiteY76" fmla="*/ 414033 h 1288176"/>
              <a:gd name="connsiteX77" fmla="*/ 5290868 w 7792228"/>
              <a:gd name="connsiteY77" fmla="*/ 402531 h 1288176"/>
              <a:gd name="connsiteX78" fmla="*/ 5331124 w 7792228"/>
              <a:gd name="connsiteY78" fmla="*/ 391029 h 1288176"/>
              <a:gd name="connsiteX79" fmla="*/ 5394385 w 7792228"/>
              <a:gd name="connsiteY79" fmla="*/ 368025 h 1288176"/>
              <a:gd name="connsiteX80" fmla="*/ 5428890 w 7792228"/>
              <a:gd name="connsiteY80" fmla="*/ 356523 h 1288176"/>
              <a:gd name="connsiteX81" fmla="*/ 5451894 w 7792228"/>
              <a:gd name="connsiteY81" fmla="*/ 345022 h 1288176"/>
              <a:gd name="connsiteX82" fmla="*/ 5497902 w 7792228"/>
              <a:gd name="connsiteY82" fmla="*/ 339271 h 1288176"/>
              <a:gd name="connsiteX83" fmla="*/ 5549660 w 7792228"/>
              <a:gd name="connsiteY83" fmla="*/ 327769 h 1288176"/>
              <a:gd name="connsiteX84" fmla="*/ 5578415 w 7792228"/>
              <a:gd name="connsiteY84" fmla="*/ 322018 h 1288176"/>
              <a:gd name="connsiteX85" fmla="*/ 5612920 w 7792228"/>
              <a:gd name="connsiteY85" fmla="*/ 316267 h 1288176"/>
              <a:gd name="connsiteX86" fmla="*/ 5768196 w 7792228"/>
              <a:gd name="connsiteY86" fmla="*/ 310516 h 1288176"/>
              <a:gd name="connsiteX87" fmla="*/ 6567577 w 7792228"/>
              <a:gd name="connsiteY87" fmla="*/ 304765 h 1288176"/>
              <a:gd name="connsiteX88" fmla="*/ 6625086 w 7792228"/>
              <a:gd name="connsiteY88" fmla="*/ 299014 h 1288176"/>
              <a:gd name="connsiteX89" fmla="*/ 6763109 w 7792228"/>
              <a:gd name="connsiteY89" fmla="*/ 270259 h 1288176"/>
              <a:gd name="connsiteX90" fmla="*/ 6786113 w 7792228"/>
              <a:gd name="connsiteY90" fmla="*/ 264508 h 1288176"/>
              <a:gd name="connsiteX91" fmla="*/ 6809117 w 7792228"/>
              <a:gd name="connsiteY91" fmla="*/ 253006 h 1288176"/>
              <a:gd name="connsiteX92" fmla="*/ 6832120 w 7792228"/>
              <a:gd name="connsiteY92" fmla="*/ 247256 h 1288176"/>
              <a:gd name="connsiteX93" fmla="*/ 6866626 w 7792228"/>
              <a:gd name="connsiteY93" fmla="*/ 235754 h 1288176"/>
              <a:gd name="connsiteX94" fmla="*/ 6883879 w 7792228"/>
              <a:gd name="connsiteY94" fmla="*/ 230003 h 1288176"/>
              <a:gd name="connsiteX95" fmla="*/ 6906883 w 7792228"/>
              <a:gd name="connsiteY95" fmla="*/ 224252 h 1288176"/>
              <a:gd name="connsiteX96" fmla="*/ 6935637 w 7792228"/>
              <a:gd name="connsiteY96" fmla="*/ 206999 h 1288176"/>
              <a:gd name="connsiteX97" fmla="*/ 6970143 w 7792228"/>
              <a:gd name="connsiteY97" fmla="*/ 195497 h 1288176"/>
              <a:gd name="connsiteX98" fmla="*/ 7010400 w 7792228"/>
              <a:gd name="connsiteY98" fmla="*/ 178244 h 1288176"/>
              <a:gd name="connsiteX99" fmla="*/ 7033403 w 7792228"/>
              <a:gd name="connsiteY99" fmla="*/ 166742 h 1288176"/>
              <a:gd name="connsiteX100" fmla="*/ 7050656 w 7792228"/>
              <a:gd name="connsiteY100" fmla="*/ 160991 h 1288176"/>
              <a:gd name="connsiteX101" fmla="*/ 7079411 w 7792228"/>
              <a:gd name="connsiteY101" fmla="*/ 149490 h 1288176"/>
              <a:gd name="connsiteX102" fmla="*/ 7125419 w 7792228"/>
              <a:gd name="connsiteY102" fmla="*/ 126486 h 1288176"/>
              <a:gd name="connsiteX103" fmla="*/ 7154173 w 7792228"/>
              <a:gd name="connsiteY103" fmla="*/ 120735 h 1288176"/>
              <a:gd name="connsiteX104" fmla="*/ 7171426 w 7792228"/>
              <a:gd name="connsiteY104" fmla="*/ 114984 h 1288176"/>
              <a:gd name="connsiteX105" fmla="*/ 7194430 w 7792228"/>
              <a:gd name="connsiteY105" fmla="*/ 109233 h 1288176"/>
              <a:gd name="connsiteX106" fmla="*/ 7211683 w 7792228"/>
              <a:gd name="connsiteY106" fmla="*/ 97731 h 1288176"/>
              <a:gd name="connsiteX107" fmla="*/ 7240437 w 7792228"/>
              <a:gd name="connsiteY107" fmla="*/ 91980 h 1288176"/>
              <a:gd name="connsiteX108" fmla="*/ 7286445 w 7792228"/>
              <a:gd name="connsiteY108" fmla="*/ 80478 h 1288176"/>
              <a:gd name="connsiteX109" fmla="*/ 7315200 w 7792228"/>
              <a:gd name="connsiteY109" fmla="*/ 74727 h 1288176"/>
              <a:gd name="connsiteX110" fmla="*/ 7378460 w 7792228"/>
              <a:gd name="connsiteY110" fmla="*/ 57474 h 1288176"/>
              <a:gd name="connsiteX111" fmla="*/ 7441720 w 7792228"/>
              <a:gd name="connsiteY111" fmla="*/ 51723 h 1288176"/>
              <a:gd name="connsiteX112" fmla="*/ 7510732 w 7792228"/>
              <a:gd name="connsiteY112" fmla="*/ 57474 h 1288176"/>
              <a:gd name="connsiteX113" fmla="*/ 7608498 w 7792228"/>
              <a:gd name="connsiteY113" fmla="*/ 45973 h 1288176"/>
              <a:gd name="connsiteX114" fmla="*/ 7671758 w 7792228"/>
              <a:gd name="connsiteY114" fmla="*/ 28720 h 1288176"/>
              <a:gd name="connsiteX115" fmla="*/ 7786777 w 7792228"/>
              <a:gd name="connsiteY115" fmla="*/ 22969 h 1288176"/>
              <a:gd name="connsiteX116" fmla="*/ 7786777 w 7792228"/>
              <a:gd name="connsiteY116" fmla="*/ 1288176 h 1288176"/>
              <a:gd name="connsiteX0" fmla="*/ 0 w 7338959"/>
              <a:gd name="connsiteY0" fmla="*/ 1241989 h 1265207"/>
              <a:gd name="connsiteX1" fmla="*/ 58565 w 7338959"/>
              <a:gd name="connsiteY1" fmla="*/ 241539 h 1265207"/>
              <a:gd name="connsiteX2" fmla="*/ 150580 w 7338959"/>
              <a:gd name="connsiteY2" fmla="*/ 253041 h 1265207"/>
              <a:gd name="connsiteX3" fmla="*/ 202338 w 7338959"/>
              <a:gd name="connsiteY3" fmla="*/ 258792 h 1265207"/>
              <a:gd name="connsiteX4" fmla="*/ 236844 w 7338959"/>
              <a:gd name="connsiteY4" fmla="*/ 264543 h 1265207"/>
              <a:gd name="connsiteX5" fmla="*/ 426625 w 7338959"/>
              <a:gd name="connsiteY5" fmla="*/ 276045 h 1265207"/>
              <a:gd name="connsiteX6" fmla="*/ 656663 w 7338959"/>
              <a:gd name="connsiteY6" fmla="*/ 270294 h 1265207"/>
              <a:gd name="connsiteX7" fmla="*/ 685417 w 7338959"/>
              <a:gd name="connsiteY7" fmla="*/ 264543 h 1265207"/>
              <a:gd name="connsiteX8" fmla="*/ 748678 w 7338959"/>
              <a:gd name="connsiteY8" fmla="*/ 258792 h 1265207"/>
              <a:gd name="connsiteX9" fmla="*/ 777433 w 7338959"/>
              <a:gd name="connsiteY9" fmla="*/ 253041 h 1265207"/>
              <a:gd name="connsiteX10" fmla="*/ 823440 w 7338959"/>
              <a:gd name="connsiteY10" fmla="*/ 247290 h 1265207"/>
              <a:gd name="connsiteX11" fmla="*/ 846444 w 7338959"/>
              <a:gd name="connsiteY11" fmla="*/ 235788 h 1265207"/>
              <a:gd name="connsiteX12" fmla="*/ 869448 w 7338959"/>
              <a:gd name="connsiteY12" fmla="*/ 230037 h 1265207"/>
              <a:gd name="connsiteX13" fmla="*/ 886700 w 7338959"/>
              <a:gd name="connsiteY13" fmla="*/ 224287 h 1265207"/>
              <a:gd name="connsiteX14" fmla="*/ 932708 w 7338959"/>
              <a:gd name="connsiteY14" fmla="*/ 212785 h 1265207"/>
              <a:gd name="connsiteX15" fmla="*/ 955712 w 7338959"/>
              <a:gd name="connsiteY15" fmla="*/ 207034 h 1265207"/>
              <a:gd name="connsiteX16" fmla="*/ 984466 w 7338959"/>
              <a:gd name="connsiteY16" fmla="*/ 189781 h 1265207"/>
              <a:gd name="connsiteX17" fmla="*/ 1018972 w 7338959"/>
              <a:gd name="connsiteY17" fmla="*/ 178279 h 1265207"/>
              <a:gd name="connsiteX18" fmla="*/ 1036225 w 7338959"/>
              <a:gd name="connsiteY18" fmla="*/ 172528 h 1265207"/>
              <a:gd name="connsiteX19" fmla="*/ 1099485 w 7338959"/>
              <a:gd name="connsiteY19" fmla="*/ 155275 h 1265207"/>
              <a:gd name="connsiteX20" fmla="*/ 1151244 w 7338959"/>
              <a:gd name="connsiteY20" fmla="*/ 132271 h 1265207"/>
              <a:gd name="connsiteX21" fmla="*/ 1168497 w 7338959"/>
              <a:gd name="connsiteY21" fmla="*/ 126521 h 1265207"/>
              <a:gd name="connsiteX22" fmla="*/ 1191500 w 7338959"/>
              <a:gd name="connsiteY22" fmla="*/ 115019 h 1265207"/>
              <a:gd name="connsiteX23" fmla="*/ 1208753 w 7338959"/>
              <a:gd name="connsiteY23" fmla="*/ 109268 h 1265207"/>
              <a:gd name="connsiteX24" fmla="*/ 1231757 w 7338959"/>
              <a:gd name="connsiteY24" fmla="*/ 97766 h 1265207"/>
              <a:gd name="connsiteX25" fmla="*/ 1266263 w 7338959"/>
              <a:gd name="connsiteY25" fmla="*/ 92015 h 1265207"/>
              <a:gd name="connsiteX26" fmla="*/ 1300768 w 7338959"/>
              <a:gd name="connsiteY26" fmla="*/ 80513 h 1265207"/>
              <a:gd name="connsiteX27" fmla="*/ 1335274 w 7338959"/>
              <a:gd name="connsiteY27" fmla="*/ 74762 h 1265207"/>
              <a:gd name="connsiteX28" fmla="*/ 1358278 w 7338959"/>
              <a:gd name="connsiteY28" fmla="*/ 69011 h 1265207"/>
              <a:gd name="connsiteX29" fmla="*/ 1565312 w 7338959"/>
              <a:gd name="connsiteY29" fmla="*/ 63260 h 1265207"/>
              <a:gd name="connsiteX30" fmla="*/ 1749342 w 7338959"/>
              <a:gd name="connsiteY30" fmla="*/ 69011 h 1265207"/>
              <a:gd name="connsiteX31" fmla="*/ 1783848 w 7338959"/>
              <a:gd name="connsiteY31" fmla="*/ 86264 h 1265207"/>
              <a:gd name="connsiteX32" fmla="*/ 1824104 w 7338959"/>
              <a:gd name="connsiteY32" fmla="*/ 97766 h 1265207"/>
              <a:gd name="connsiteX33" fmla="*/ 1847108 w 7338959"/>
              <a:gd name="connsiteY33" fmla="*/ 109268 h 1265207"/>
              <a:gd name="connsiteX34" fmla="*/ 1870112 w 7338959"/>
              <a:gd name="connsiteY34" fmla="*/ 115019 h 1265207"/>
              <a:gd name="connsiteX35" fmla="*/ 1904617 w 7338959"/>
              <a:gd name="connsiteY35" fmla="*/ 126521 h 1265207"/>
              <a:gd name="connsiteX36" fmla="*/ 1921870 w 7338959"/>
              <a:gd name="connsiteY36" fmla="*/ 132271 h 1265207"/>
              <a:gd name="connsiteX37" fmla="*/ 1973629 w 7338959"/>
              <a:gd name="connsiteY37" fmla="*/ 138022 h 1265207"/>
              <a:gd name="connsiteX38" fmla="*/ 2036889 w 7338959"/>
              <a:gd name="connsiteY38" fmla="*/ 149524 h 1265207"/>
              <a:gd name="connsiteX39" fmla="*/ 2100150 w 7338959"/>
              <a:gd name="connsiteY39" fmla="*/ 155275 h 1265207"/>
              <a:gd name="connsiteX40" fmla="*/ 2169161 w 7338959"/>
              <a:gd name="connsiteY40" fmla="*/ 166777 h 1265207"/>
              <a:gd name="connsiteX41" fmla="*/ 2232421 w 7338959"/>
              <a:gd name="connsiteY41" fmla="*/ 172528 h 1265207"/>
              <a:gd name="connsiteX42" fmla="*/ 2295682 w 7338959"/>
              <a:gd name="connsiteY42" fmla="*/ 189781 h 1265207"/>
              <a:gd name="connsiteX43" fmla="*/ 2335938 w 7338959"/>
              <a:gd name="connsiteY43" fmla="*/ 201283 h 1265207"/>
              <a:gd name="connsiteX44" fmla="*/ 2358942 w 7338959"/>
              <a:gd name="connsiteY44" fmla="*/ 212785 h 1265207"/>
              <a:gd name="connsiteX45" fmla="*/ 2393448 w 7338959"/>
              <a:gd name="connsiteY45" fmla="*/ 218536 h 1265207"/>
              <a:gd name="connsiteX46" fmla="*/ 2422202 w 7338959"/>
              <a:gd name="connsiteY46" fmla="*/ 224287 h 1265207"/>
              <a:gd name="connsiteX47" fmla="*/ 2445206 w 7338959"/>
              <a:gd name="connsiteY47" fmla="*/ 230037 h 1265207"/>
              <a:gd name="connsiteX48" fmla="*/ 2623485 w 7338959"/>
              <a:gd name="connsiteY48" fmla="*/ 235788 h 1265207"/>
              <a:gd name="connsiteX49" fmla="*/ 2692497 w 7338959"/>
              <a:gd name="connsiteY49" fmla="*/ 241539 h 1265207"/>
              <a:gd name="connsiteX50" fmla="*/ 2715500 w 7338959"/>
              <a:gd name="connsiteY50" fmla="*/ 253041 h 1265207"/>
              <a:gd name="connsiteX51" fmla="*/ 2767259 w 7338959"/>
              <a:gd name="connsiteY51" fmla="*/ 276045 h 1265207"/>
              <a:gd name="connsiteX52" fmla="*/ 2819017 w 7338959"/>
              <a:gd name="connsiteY52" fmla="*/ 299049 h 1265207"/>
              <a:gd name="connsiteX53" fmla="*/ 2870776 w 7338959"/>
              <a:gd name="connsiteY53" fmla="*/ 322053 h 1265207"/>
              <a:gd name="connsiteX54" fmla="*/ 2893780 w 7338959"/>
              <a:gd name="connsiteY54" fmla="*/ 333554 h 1265207"/>
              <a:gd name="connsiteX55" fmla="*/ 2945538 w 7338959"/>
              <a:gd name="connsiteY55" fmla="*/ 350807 h 1265207"/>
              <a:gd name="connsiteX56" fmla="*/ 2962791 w 7338959"/>
              <a:gd name="connsiteY56" fmla="*/ 356558 h 1265207"/>
              <a:gd name="connsiteX57" fmla="*/ 2991546 w 7338959"/>
              <a:gd name="connsiteY57" fmla="*/ 373811 h 1265207"/>
              <a:gd name="connsiteX58" fmla="*/ 3031802 w 7338959"/>
              <a:gd name="connsiteY58" fmla="*/ 385313 h 1265207"/>
              <a:gd name="connsiteX59" fmla="*/ 3066308 w 7338959"/>
              <a:gd name="connsiteY59" fmla="*/ 396815 h 1265207"/>
              <a:gd name="connsiteX60" fmla="*/ 3106565 w 7338959"/>
              <a:gd name="connsiteY60" fmla="*/ 402566 h 1265207"/>
              <a:gd name="connsiteX61" fmla="*/ 3261840 w 7338959"/>
              <a:gd name="connsiteY61" fmla="*/ 414068 h 1265207"/>
              <a:gd name="connsiteX62" fmla="*/ 3451621 w 7338959"/>
              <a:gd name="connsiteY62" fmla="*/ 425570 h 1265207"/>
              <a:gd name="connsiteX63" fmla="*/ 3572391 w 7338959"/>
              <a:gd name="connsiteY63" fmla="*/ 437071 h 1265207"/>
              <a:gd name="connsiteX64" fmla="*/ 3710414 w 7338959"/>
              <a:gd name="connsiteY64" fmla="*/ 448573 h 1265207"/>
              <a:gd name="connsiteX65" fmla="*/ 3767923 w 7338959"/>
              <a:gd name="connsiteY65" fmla="*/ 454324 h 1265207"/>
              <a:gd name="connsiteX66" fmla="*/ 3951953 w 7338959"/>
              <a:gd name="connsiteY66" fmla="*/ 465826 h 1265207"/>
              <a:gd name="connsiteX67" fmla="*/ 4193493 w 7338959"/>
              <a:gd name="connsiteY67" fmla="*/ 477328 h 1265207"/>
              <a:gd name="connsiteX68" fmla="*/ 4498293 w 7338959"/>
              <a:gd name="connsiteY68" fmla="*/ 471577 h 1265207"/>
              <a:gd name="connsiteX69" fmla="*/ 4538550 w 7338959"/>
              <a:gd name="connsiteY69" fmla="*/ 460075 h 1265207"/>
              <a:gd name="connsiteX70" fmla="*/ 4590308 w 7338959"/>
              <a:gd name="connsiteY70" fmla="*/ 448573 h 1265207"/>
              <a:gd name="connsiteX71" fmla="*/ 4619063 w 7338959"/>
              <a:gd name="connsiteY71" fmla="*/ 442822 h 1265207"/>
              <a:gd name="connsiteX72" fmla="*/ 4647817 w 7338959"/>
              <a:gd name="connsiteY72" fmla="*/ 431321 h 1265207"/>
              <a:gd name="connsiteX73" fmla="*/ 4711078 w 7338959"/>
              <a:gd name="connsiteY73" fmla="*/ 419819 h 1265207"/>
              <a:gd name="connsiteX74" fmla="*/ 4757085 w 7338959"/>
              <a:gd name="connsiteY74" fmla="*/ 408317 h 1265207"/>
              <a:gd name="connsiteX75" fmla="*/ 4820346 w 7338959"/>
              <a:gd name="connsiteY75" fmla="*/ 391064 h 1265207"/>
              <a:gd name="connsiteX76" fmla="*/ 4837599 w 7338959"/>
              <a:gd name="connsiteY76" fmla="*/ 379562 h 1265207"/>
              <a:gd name="connsiteX77" fmla="*/ 4877855 w 7338959"/>
              <a:gd name="connsiteY77" fmla="*/ 368060 h 1265207"/>
              <a:gd name="connsiteX78" fmla="*/ 4941116 w 7338959"/>
              <a:gd name="connsiteY78" fmla="*/ 345056 h 1265207"/>
              <a:gd name="connsiteX79" fmla="*/ 4975621 w 7338959"/>
              <a:gd name="connsiteY79" fmla="*/ 333554 h 1265207"/>
              <a:gd name="connsiteX80" fmla="*/ 4998625 w 7338959"/>
              <a:gd name="connsiteY80" fmla="*/ 322053 h 1265207"/>
              <a:gd name="connsiteX81" fmla="*/ 5044633 w 7338959"/>
              <a:gd name="connsiteY81" fmla="*/ 316302 h 1265207"/>
              <a:gd name="connsiteX82" fmla="*/ 5096391 w 7338959"/>
              <a:gd name="connsiteY82" fmla="*/ 304800 h 1265207"/>
              <a:gd name="connsiteX83" fmla="*/ 5125146 w 7338959"/>
              <a:gd name="connsiteY83" fmla="*/ 299049 h 1265207"/>
              <a:gd name="connsiteX84" fmla="*/ 5159651 w 7338959"/>
              <a:gd name="connsiteY84" fmla="*/ 293298 h 1265207"/>
              <a:gd name="connsiteX85" fmla="*/ 5314927 w 7338959"/>
              <a:gd name="connsiteY85" fmla="*/ 287547 h 1265207"/>
              <a:gd name="connsiteX86" fmla="*/ 6114308 w 7338959"/>
              <a:gd name="connsiteY86" fmla="*/ 281796 h 1265207"/>
              <a:gd name="connsiteX87" fmla="*/ 6171817 w 7338959"/>
              <a:gd name="connsiteY87" fmla="*/ 276045 h 1265207"/>
              <a:gd name="connsiteX88" fmla="*/ 6309840 w 7338959"/>
              <a:gd name="connsiteY88" fmla="*/ 247290 h 1265207"/>
              <a:gd name="connsiteX89" fmla="*/ 6332844 w 7338959"/>
              <a:gd name="connsiteY89" fmla="*/ 241539 h 1265207"/>
              <a:gd name="connsiteX90" fmla="*/ 6355848 w 7338959"/>
              <a:gd name="connsiteY90" fmla="*/ 230037 h 1265207"/>
              <a:gd name="connsiteX91" fmla="*/ 6378851 w 7338959"/>
              <a:gd name="connsiteY91" fmla="*/ 224287 h 1265207"/>
              <a:gd name="connsiteX92" fmla="*/ 6413357 w 7338959"/>
              <a:gd name="connsiteY92" fmla="*/ 212785 h 1265207"/>
              <a:gd name="connsiteX93" fmla="*/ 6430610 w 7338959"/>
              <a:gd name="connsiteY93" fmla="*/ 207034 h 1265207"/>
              <a:gd name="connsiteX94" fmla="*/ 6453614 w 7338959"/>
              <a:gd name="connsiteY94" fmla="*/ 201283 h 1265207"/>
              <a:gd name="connsiteX95" fmla="*/ 6482368 w 7338959"/>
              <a:gd name="connsiteY95" fmla="*/ 184030 h 1265207"/>
              <a:gd name="connsiteX96" fmla="*/ 6516874 w 7338959"/>
              <a:gd name="connsiteY96" fmla="*/ 172528 h 1265207"/>
              <a:gd name="connsiteX97" fmla="*/ 6557131 w 7338959"/>
              <a:gd name="connsiteY97" fmla="*/ 155275 h 1265207"/>
              <a:gd name="connsiteX98" fmla="*/ 6580134 w 7338959"/>
              <a:gd name="connsiteY98" fmla="*/ 143773 h 1265207"/>
              <a:gd name="connsiteX99" fmla="*/ 6597387 w 7338959"/>
              <a:gd name="connsiteY99" fmla="*/ 138022 h 1265207"/>
              <a:gd name="connsiteX100" fmla="*/ 6626142 w 7338959"/>
              <a:gd name="connsiteY100" fmla="*/ 126521 h 1265207"/>
              <a:gd name="connsiteX101" fmla="*/ 6672150 w 7338959"/>
              <a:gd name="connsiteY101" fmla="*/ 103517 h 1265207"/>
              <a:gd name="connsiteX102" fmla="*/ 6700904 w 7338959"/>
              <a:gd name="connsiteY102" fmla="*/ 97766 h 1265207"/>
              <a:gd name="connsiteX103" fmla="*/ 6718157 w 7338959"/>
              <a:gd name="connsiteY103" fmla="*/ 92015 h 1265207"/>
              <a:gd name="connsiteX104" fmla="*/ 6741161 w 7338959"/>
              <a:gd name="connsiteY104" fmla="*/ 86264 h 1265207"/>
              <a:gd name="connsiteX105" fmla="*/ 6758414 w 7338959"/>
              <a:gd name="connsiteY105" fmla="*/ 74762 h 1265207"/>
              <a:gd name="connsiteX106" fmla="*/ 6787168 w 7338959"/>
              <a:gd name="connsiteY106" fmla="*/ 69011 h 1265207"/>
              <a:gd name="connsiteX107" fmla="*/ 6833176 w 7338959"/>
              <a:gd name="connsiteY107" fmla="*/ 57509 h 1265207"/>
              <a:gd name="connsiteX108" fmla="*/ 6861931 w 7338959"/>
              <a:gd name="connsiteY108" fmla="*/ 51758 h 1265207"/>
              <a:gd name="connsiteX109" fmla="*/ 6925191 w 7338959"/>
              <a:gd name="connsiteY109" fmla="*/ 34505 h 1265207"/>
              <a:gd name="connsiteX110" fmla="*/ 6988451 w 7338959"/>
              <a:gd name="connsiteY110" fmla="*/ 28754 h 1265207"/>
              <a:gd name="connsiteX111" fmla="*/ 7057463 w 7338959"/>
              <a:gd name="connsiteY111" fmla="*/ 34505 h 1265207"/>
              <a:gd name="connsiteX112" fmla="*/ 7155229 w 7338959"/>
              <a:gd name="connsiteY112" fmla="*/ 23004 h 1265207"/>
              <a:gd name="connsiteX113" fmla="*/ 7218489 w 7338959"/>
              <a:gd name="connsiteY113" fmla="*/ 5751 h 1265207"/>
              <a:gd name="connsiteX114" fmla="*/ 7333508 w 7338959"/>
              <a:gd name="connsiteY114" fmla="*/ 0 h 1265207"/>
              <a:gd name="connsiteX115" fmla="*/ 7333508 w 7338959"/>
              <a:gd name="connsiteY115"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378852 w 7338960"/>
              <a:gd name="connsiteY91" fmla="*/ 224287 h 1265207"/>
              <a:gd name="connsiteX92" fmla="*/ 6413358 w 7338960"/>
              <a:gd name="connsiteY92" fmla="*/ 212785 h 1265207"/>
              <a:gd name="connsiteX93" fmla="*/ 6430611 w 7338960"/>
              <a:gd name="connsiteY93" fmla="*/ 207034 h 1265207"/>
              <a:gd name="connsiteX94" fmla="*/ 6453615 w 7338960"/>
              <a:gd name="connsiteY94" fmla="*/ 201283 h 1265207"/>
              <a:gd name="connsiteX95" fmla="*/ 6482369 w 7338960"/>
              <a:gd name="connsiteY95" fmla="*/ 184030 h 1265207"/>
              <a:gd name="connsiteX96" fmla="*/ 6516875 w 7338960"/>
              <a:gd name="connsiteY96" fmla="*/ 172528 h 1265207"/>
              <a:gd name="connsiteX97" fmla="*/ 6557132 w 7338960"/>
              <a:gd name="connsiteY97" fmla="*/ 155275 h 1265207"/>
              <a:gd name="connsiteX98" fmla="*/ 6580135 w 7338960"/>
              <a:gd name="connsiteY98" fmla="*/ 143773 h 1265207"/>
              <a:gd name="connsiteX99" fmla="*/ 6597388 w 7338960"/>
              <a:gd name="connsiteY99" fmla="*/ 138022 h 1265207"/>
              <a:gd name="connsiteX100" fmla="*/ 6626143 w 7338960"/>
              <a:gd name="connsiteY100" fmla="*/ 126521 h 1265207"/>
              <a:gd name="connsiteX101" fmla="*/ 6672151 w 7338960"/>
              <a:gd name="connsiteY101" fmla="*/ 103517 h 1265207"/>
              <a:gd name="connsiteX102" fmla="*/ 6700905 w 7338960"/>
              <a:gd name="connsiteY102" fmla="*/ 97766 h 1265207"/>
              <a:gd name="connsiteX103" fmla="*/ 6718158 w 7338960"/>
              <a:gd name="connsiteY103" fmla="*/ 92015 h 1265207"/>
              <a:gd name="connsiteX104" fmla="*/ 6741162 w 7338960"/>
              <a:gd name="connsiteY104" fmla="*/ 86264 h 1265207"/>
              <a:gd name="connsiteX105" fmla="*/ 6758415 w 7338960"/>
              <a:gd name="connsiteY105" fmla="*/ 74762 h 1265207"/>
              <a:gd name="connsiteX106" fmla="*/ 6787169 w 7338960"/>
              <a:gd name="connsiteY106" fmla="*/ 69011 h 1265207"/>
              <a:gd name="connsiteX107" fmla="*/ 6833177 w 7338960"/>
              <a:gd name="connsiteY107" fmla="*/ 57509 h 1265207"/>
              <a:gd name="connsiteX108" fmla="*/ 6861932 w 7338960"/>
              <a:gd name="connsiteY108" fmla="*/ 51758 h 1265207"/>
              <a:gd name="connsiteX109" fmla="*/ 6925192 w 7338960"/>
              <a:gd name="connsiteY109" fmla="*/ 34505 h 1265207"/>
              <a:gd name="connsiteX110" fmla="*/ 6988452 w 7338960"/>
              <a:gd name="connsiteY110" fmla="*/ 28754 h 1265207"/>
              <a:gd name="connsiteX111" fmla="*/ 7057464 w 7338960"/>
              <a:gd name="connsiteY111" fmla="*/ 34505 h 1265207"/>
              <a:gd name="connsiteX112" fmla="*/ 7155230 w 7338960"/>
              <a:gd name="connsiteY112" fmla="*/ 23004 h 1265207"/>
              <a:gd name="connsiteX113" fmla="*/ 7218490 w 7338960"/>
              <a:gd name="connsiteY113" fmla="*/ 5751 h 1265207"/>
              <a:gd name="connsiteX114" fmla="*/ 7333509 w 7338960"/>
              <a:gd name="connsiteY114" fmla="*/ 0 h 1265207"/>
              <a:gd name="connsiteX115" fmla="*/ 7333509 w 7338960"/>
              <a:gd name="connsiteY115"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378852 w 7338960"/>
              <a:gd name="connsiteY91" fmla="*/ 224287 h 1265207"/>
              <a:gd name="connsiteX92" fmla="*/ 6413358 w 7338960"/>
              <a:gd name="connsiteY92" fmla="*/ 212785 h 1265207"/>
              <a:gd name="connsiteX93" fmla="*/ 6430611 w 7338960"/>
              <a:gd name="connsiteY93" fmla="*/ 207034 h 1265207"/>
              <a:gd name="connsiteX94" fmla="*/ 6453615 w 7338960"/>
              <a:gd name="connsiteY94" fmla="*/ 201283 h 1265207"/>
              <a:gd name="connsiteX95" fmla="*/ 6482369 w 7338960"/>
              <a:gd name="connsiteY95" fmla="*/ 184030 h 1265207"/>
              <a:gd name="connsiteX96" fmla="*/ 6516875 w 7338960"/>
              <a:gd name="connsiteY96" fmla="*/ 172528 h 1265207"/>
              <a:gd name="connsiteX97" fmla="*/ 6557132 w 7338960"/>
              <a:gd name="connsiteY97" fmla="*/ 155275 h 1265207"/>
              <a:gd name="connsiteX98" fmla="*/ 6580135 w 7338960"/>
              <a:gd name="connsiteY98" fmla="*/ 143773 h 1265207"/>
              <a:gd name="connsiteX99" fmla="*/ 6597388 w 7338960"/>
              <a:gd name="connsiteY99" fmla="*/ 138022 h 1265207"/>
              <a:gd name="connsiteX100" fmla="*/ 6626143 w 7338960"/>
              <a:gd name="connsiteY100" fmla="*/ 126521 h 1265207"/>
              <a:gd name="connsiteX101" fmla="*/ 6672151 w 7338960"/>
              <a:gd name="connsiteY101" fmla="*/ 103517 h 1265207"/>
              <a:gd name="connsiteX102" fmla="*/ 6700905 w 7338960"/>
              <a:gd name="connsiteY102" fmla="*/ 97766 h 1265207"/>
              <a:gd name="connsiteX103" fmla="*/ 6718158 w 7338960"/>
              <a:gd name="connsiteY103" fmla="*/ 92015 h 1265207"/>
              <a:gd name="connsiteX104" fmla="*/ 6741162 w 7338960"/>
              <a:gd name="connsiteY104" fmla="*/ 86264 h 1265207"/>
              <a:gd name="connsiteX105" fmla="*/ 6758415 w 7338960"/>
              <a:gd name="connsiteY105" fmla="*/ 74762 h 1265207"/>
              <a:gd name="connsiteX106" fmla="*/ 6787169 w 7338960"/>
              <a:gd name="connsiteY106" fmla="*/ 69011 h 1265207"/>
              <a:gd name="connsiteX107" fmla="*/ 6833177 w 7338960"/>
              <a:gd name="connsiteY107" fmla="*/ 57509 h 1265207"/>
              <a:gd name="connsiteX108" fmla="*/ 6861932 w 7338960"/>
              <a:gd name="connsiteY108" fmla="*/ 51758 h 1265207"/>
              <a:gd name="connsiteX109" fmla="*/ 6925192 w 7338960"/>
              <a:gd name="connsiteY109" fmla="*/ 34505 h 1265207"/>
              <a:gd name="connsiteX110" fmla="*/ 7057464 w 7338960"/>
              <a:gd name="connsiteY110" fmla="*/ 34505 h 1265207"/>
              <a:gd name="connsiteX111" fmla="*/ 7155230 w 7338960"/>
              <a:gd name="connsiteY111" fmla="*/ 23004 h 1265207"/>
              <a:gd name="connsiteX112" fmla="*/ 7218490 w 7338960"/>
              <a:gd name="connsiteY112" fmla="*/ 5751 h 1265207"/>
              <a:gd name="connsiteX113" fmla="*/ 7333509 w 7338960"/>
              <a:gd name="connsiteY113" fmla="*/ 0 h 1265207"/>
              <a:gd name="connsiteX114" fmla="*/ 7333509 w 7338960"/>
              <a:gd name="connsiteY114"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378852 w 7338960"/>
              <a:gd name="connsiteY91" fmla="*/ 224287 h 1265207"/>
              <a:gd name="connsiteX92" fmla="*/ 6413358 w 7338960"/>
              <a:gd name="connsiteY92" fmla="*/ 212785 h 1265207"/>
              <a:gd name="connsiteX93" fmla="*/ 6430611 w 7338960"/>
              <a:gd name="connsiteY93" fmla="*/ 207034 h 1265207"/>
              <a:gd name="connsiteX94" fmla="*/ 6453615 w 7338960"/>
              <a:gd name="connsiteY94" fmla="*/ 201283 h 1265207"/>
              <a:gd name="connsiteX95" fmla="*/ 6482369 w 7338960"/>
              <a:gd name="connsiteY95" fmla="*/ 184030 h 1265207"/>
              <a:gd name="connsiteX96" fmla="*/ 6516875 w 7338960"/>
              <a:gd name="connsiteY96" fmla="*/ 172528 h 1265207"/>
              <a:gd name="connsiteX97" fmla="*/ 6557132 w 7338960"/>
              <a:gd name="connsiteY97" fmla="*/ 155275 h 1265207"/>
              <a:gd name="connsiteX98" fmla="*/ 6580135 w 7338960"/>
              <a:gd name="connsiteY98" fmla="*/ 143773 h 1265207"/>
              <a:gd name="connsiteX99" fmla="*/ 6597388 w 7338960"/>
              <a:gd name="connsiteY99" fmla="*/ 138022 h 1265207"/>
              <a:gd name="connsiteX100" fmla="*/ 6626143 w 7338960"/>
              <a:gd name="connsiteY100" fmla="*/ 126521 h 1265207"/>
              <a:gd name="connsiteX101" fmla="*/ 6672151 w 7338960"/>
              <a:gd name="connsiteY101" fmla="*/ 103517 h 1265207"/>
              <a:gd name="connsiteX102" fmla="*/ 6700905 w 7338960"/>
              <a:gd name="connsiteY102" fmla="*/ 97766 h 1265207"/>
              <a:gd name="connsiteX103" fmla="*/ 6718158 w 7338960"/>
              <a:gd name="connsiteY103" fmla="*/ 92015 h 1265207"/>
              <a:gd name="connsiteX104" fmla="*/ 6741162 w 7338960"/>
              <a:gd name="connsiteY104" fmla="*/ 86264 h 1265207"/>
              <a:gd name="connsiteX105" fmla="*/ 6758415 w 7338960"/>
              <a:gd name="connsiteY105" fmla="*/ 74762 h 1265207"/>
              <a:gd name="connsiteX106" fmla="*/ 6787169 w 7338960"/>
              <a:gd name="connsiteY106" fmla="*/ 69011 h 1265207"/>
              <a:gd name="connsiteX107" fmla="*/ 6833177 w 7338960"/>
              <a:gd name="connsiteY107" fmla="*/ 57509 h 1265207"/>
              <a:gd name="connsiteX108" fmla="*/ 6861932 w 7338960"/>
              <a:gd name="connsiteY108" fmla="*/ 51758 h 1265207"/>
              <a:gd name="connsiteX109" fmla="*/ 6925192 w 7338960"/>
              <a:gd name="connsiteY109" fmla="*/ 34505 h 1265207"/>
              <a:gd name="connsiteX110" fmla="*/ 7155230 w 7338960"/>
              <a:gd name="connsiteY110" fmla="*/ 23004 h 1265207"/>
              <a:gd name="connsiteX111" fmla="*/ 7218490 w 7338960"/>
              <a:gd name="connsiteY111" fmla="*/ 5751 h 1265207"/>
              <a:gd name="connsiteX112" fmla="*/ 7333509 w 7338960"/>
              <a:gd name="connsiteY112" fmla="*/ 0 h 1265207"/>
              <a:gd name="connsiteX113" fmla="*/ 7333509 w 7338960"/>
              <a:gd name="connsiteY113"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378852 w 7338960"/>
              <a:gd name="connsiteY91" fmla="*/ 224287 h 1265207"/>
              <a:gd name="connsiteX92" fmla="*/ 6413358 w 7338960"/>
              <a:gd name="connsiteY92" fmla="*/ 212785 h 1265207"/>
              <a:gd name="connsiteX93" fmla="*/ 6430611 w 7338960"/>
              <a:gd name="connsiteY93" fmla="*/ 207034 h 1265207"/>
              <a:gd name="connsiteX94" fmla="*/ 6453615 w 7338960"/>
              <a:gd name="connsiteY94" fmla="*/ 201283 h 1265207"/>
              <a:gd name="connsiteX95" fmla="*/ 6482369 w 7338960"/>
              <a:gd name="connsiteY95" fmla="*/ 184030 h 1265207"/>
              <a:gd name="connsiteX96" fmla="*/ 6516875 w 7338960"/>
              <a:gd name="connsiteY96" fmla="*/ 172528 h 1265207"/>
              <a:gd name="connsiteX97" fmla="*/ 6557132 w 7338960"/>
              <a:gd name="connsiteY97" fmla="*/ 155275 h 1265207"/>
              <a:gd name="connsiteX98" fmla="*/ 6580135 w 7338960"/>
              <a:gd name="connsiteY98" fmla="*/ 143773 h 1265207"/>
              <a:gd name="connsiteX99" fmla="*/ 6597388 w 7338960"/>
              <a:gd name="connsiteY99" fmla="*/ 138022 h 1265207"/>
              <a:gd name="connsiteX100" fmla="*/ 6626143 w 7338960"/>
              <a:gd name="connsiteY100" fmla="*/ 126521 h 1265207"/>
              <a:gd name="connsiteX101" fmla="*/ 6672151 w 7338960"/>
              <a:gd name="connsiteY101" fmla="*/ 103517 h 1265207"/>
              <a:gd name="connsiteX102" fmla="*/ 6700905 w 7338960"/>
              <a:gd name="connsiteY102" fmla="*/ 97766 h 1265207"/>
              <a:gd name="connsiteX103" fmla="*/ 6718158 w 7338960"/>
              <a:gd name="connsiteY103" fmla="*/ 92015 h 1265207"/>
              <a:gd name="connsiteX104" fmla="*/ 6741162 w 7338960"/>
              <a:gd name="connsiteY104" fmla="*/ 86264 h 1265207"/>
              <a:gd name="connsiteX105" fmla="*/ 6758415 w 7338960"/>
              <a:gd name="connsiteY105" fmla="*/ 74762 h 1265207"/>
              <a:gd name="connsiteX106" fmla="*/ 6787169 w 7338960"/>
              <a:gd name="connsiteY106" fmla="*/ 69011 h 1265207"/>
              <a:gd name="connsiteX107" fmla="*/ 6833177 w 7338960"/>
              <a:gd name="connsiteY107" fmla="*/ 57509 h 1265207"/>
              <a:gd name="connsiteX108" fmla="*/ 6925192 w 7338960"/>
              <a:gd name="connsiteY108" fmla="*/ 34505 h 1265207"/>
              <a:gd name="connsiteX109" fmla="*/ 7155230 w 7338960"/>
              <a:gd name="connsiteY109" fmla="*/ 23004 h 1265207"/>
              <a:gd name="connsiteX110" fmla="*/ 7218490 w 7338960"/>
              <a:gd name="connsiteY110" fmla="*/ 5751 h 1265207"/>
              <a:gd name="connsiteX111" fmla="*/ 7333509 w 7338960"/>
              <a:gd name="connsiteY111" fmla="*/ 0 h 1265207"/>
              <a:gd name="connsiteX112" fmla="*/ 7333509 w 7338960"/>
              <a:gd name="connsiteY112"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378852 w 7338960"/>
              <a:gd name="connsiteY91" fmla="*/ 224287 h 1265207"/>
              <a:gd name="connsiteX92" fmla="*/ 6413358 w 7338960"/>
              <a:gd name="connsiteY92" fmla="*/ 212785 h 1265207"/>
              <a:gd name="connsiteX93" fmla="*/ 6430611 w 7338960"/>
              <a:gd name="connsiteY93" fmla="*/ 207034 h 1265207"/>
              <a:gd name="connsiteX94" fmla="*/ 6453615 w 7338960"/>
              <a:gd name="connsiteY94" fmla="*/ 201283 h 1265207"/>
              <a:gd name="connsiteX95" fmla="*/ 6482369 w 7338960"/>
              <a:gd name="connsiteY95" fmla="*/ 184030 h 1265207"/>
              <a:gd name="connsiteX96" fmla="*/ 6516875 w 7338960"/>
              <a:gd name="connsiteY96" fmla="*/ 172528 h 1265207"/>
              <a:gd name="connsiteX97" fmla="*/ 6557132 w 7338960"/>
              <a:gd name="connsiteY97" fmla="*/ 155275 h 1265207"/>
              <a:gd name="connsiteX98" fmla="*/ 6580135 w 7338960"/>
              <a:gd name="connsiteY98" fmla="*/ 143773 h 1265207"/>
              <a:gd name="connsiteX99" fmla="*/ 6597388 w 7338960"/>
              <a:gd name="connsiteY99" fmla="*/ 138022 h 1265207"/>
              <a:gd name="connsiteX100" fmla="*/ 6626143 w 7338960"/>
              <a:gd name="connsiteY100" fmla="*/ 126521 h 1265207"/>
              <a:gd name="connsiteX101" fmla="*/ 6672151 w 7338960"/>
              <a:gd name="connsiteY101" fmla="*/ 103517 h 1265207"/>
              <a:gd name="connsiteX102" fmla="*/ 6700905 w 7338960"/>
              <a:gd name="connsiteY102" fmla="*/ 97766 h 1265207"/>
              <a:gd name="connsiteX103" fmla="*/ 6718158 w 7338960"/>
              <a:gd name="connsiteY103" fmla="*/ 92015 h 1265207"/>
              <a:gd name="connsiteX104" fmla="*/ 6758415 w 7338960"/>
              <a:gd name="connsiteY104" fmla="*/ 74762 h 1265207"/>
              <a:gd name="connsiteX105" fmla="*/ 6787169 w 7338960"/>
              <a:gd name="connsiteY105" fmla="*/ 69011 h 1265207"/>
              <a:gd name="connsiteX106" fmla="*/ 6833177 w 7338960"/>
              <a:gd name="connsiteY106" fmla="*/ 57509 h 1265207"/>
              <a:gd name="connsiteX107" fmla="*/ 6925192 w 7338960"/>
              <a:gd name="connsiteY107" fmla="*/ 34505 h 1265207"/>
              <a:gd name="connsiteX108" fmla="*/ 7155230 w 7338960"/>
              <a:gd name="connsiteY108" fmla="*/ 23004 h 1265207"/>
              <a:gd name="connsiteX109" fmla="*/ 7218490 w 7338960"/>
              <a:gd name="connsiteY109" fmla="*/ 5751 h 1265207"/>
              <a:gd name="connsiteX110" fmla="*/ 7333509 w 7338960"/>
              <a:gd name="connsiteY110" fmla="*/ 0 h 1265207"/>
              <a:gd name="connsiteX111" fmla="*/ 7333509 w 7338960"/>
              <a:gd name="connsiteY111"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378852 w 7338960"/>
              <a:gd name="connsiteY91" fmla="*/ 224287 h 1265207"/>
              <a:gd name="connsiteX92" fmla="*/ 6413358 w 7338960"/>
              <a:gd name="connsiteY92" fmla="*/ 212785 h 1265207"/>
              <a:gd name="connsiteX93" fmla="*/ 6430611 w 7338960"/>
              <a:gd name="connsiteY93" fmla="*/ 207034 h 1265207"/>
              <a:gd name="connsiteX94" fmla="*/ 6453615 w 7338960"/>
              <a:gd name="connsiteY94" fmla="*/ 201283 h 1265207"/>
              <a:gd name="connsiteX95" fmla="*/ 6482369 w 7338960"/>
              <a:gd name="connsiteY95" fmla="*/ 184030 h 1265207"/>
              <a:gd name="connsiteX96" fmla="*/ 6516875 w 7338960"/>
              <a:gd name="connsiteY96" fmla="*/ 172528 h 1265207"/>
              <a:gd name="connsiteX97" fmla="*/ 6557132 w 7338960"/>
              <a:gd name="connsiteY97" fmla="*/ 155275 h 1265207"/>
              <a:gd name="connsiteX98" fmla="*/ 6580135 w 7338960"/>
              <a:gd name="connsiteY98" fmla="*/ 143773 h 1265207"/>
              <a:gd name="connsiteX99" fmla="*/ 6597388 w 7338960"/>
              <a:gd name="connsiteY99" fmla="*/ 138022 h 1265207"/>
              <a:gd name="connsiteX100" fmla="*/ 6626143 w 7338960"/>
              <a:gd name="connsiteY100" fmla="*/ 126521 h 1265207"/>
              <a:gd name="connsiteX101" fmla="*/ 6672151 w 7338960"/>
              <a:gd name="connsiteY101" fmla="*/ 103517 h 1265207"/>
              <a:gd name="connsiteX102" fmla="*/ 6718158 w 7338960"/>
              <a:gd name="connsiteY102" fmla="*/ 92015 h 1265207"/>
              <a:gd name="connsiteX103" fmla="*/ 6758415 w 7338960"/>
              <a:gd name="connsiteY103" fmla="*/ 74762 h 1265207"/>
              <a:gd name="connsiteX104" fmla="*/ 6787169 w 7338960"/>
              <a:gd name="connsiteY104" fmla="*/ 69011 h 1265207"/>
              <a:gd name="connsiteX105" fmla="*/ 6833177 w 7338960"/>
              <a:gd name="connsiteY105" fmla="*/ 57509 h 1265207"/>
              <a:gd name="connsiteX106" fmla="*/ 6925192 w 7338960"/>
              <a:gd name="connsiteY106" fmla="*/ 34505 h 1265207"/>
              <a:gd name="connsiteX107" fmla="*/ 7155230 w 7338960"/>
              <a:gd name="connsiteY107" fmla="*/ 23004 h 1265207"/>
              <a:gd name="connsiteX108" fmla="*/ 7218490 w 7338960"/>
              <a:gd name="connsiteY108" fmla="*/ 5751 h 1265207"/>
              <a:gd name="connsiteX109" fmla="*/ 7333509 w 7338960"/>
              <a:gd name="connsiteY109" fmla="*/ 0 h 1265207"/>
              <a:gd name="connsiteX110" fmla="*/ 7333509 w 7338960"/>
              <a:gd name="connsiteY110"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378852 w 7338960"/>
              <a:gd name="connsiteY91" fmla="*/ 224287 h 1265207"/>
              <a:gd name="connsiteX92" fmla="*/ 6413358 w 7338960"/>
              <a:gd name="connsiteY92" fmla="*/ 212785 h 1265207"/>
              <a:gd name="connsiteX93" fmla="*/ 6430611 w 7338960"/>
              <a:gd name="connsiteY93" fmla="*/ 207034 h 1265207"/>
              <a:gd name="connsiteX94" fmla="*/ 6453615 w 7338960"/>
              <a:gd name="connsiteY94" fmla="*/ 201283 h 1265207"/>
              <a:gd name="connsiteX95" fmla="*/ 6482369 w 7338960"/>
              <a:gd name="connsiteY95" fmla="*/ 184030 h 1265207"/>
              <a:gd name="connsiteX96" fmla="*/ 6516875 w 7338960"/>
              <a:gd name="connsiteY96" fmla="*/ 172528 h 1265207"/>
              <a:gd name="connsiteX97" fmla="*/ 6557132 w 7338960"/>
              <a:gd name="connsiteY97" fmla="*/ 155275 h 1265207"/>
              <a:gd name="connsiteX98" fmla="*/ 6580135 w 7338960"/>
              <a:gd name="connsiteY98" fmla="*/ 143773 h 1265207"/>
              <a:gd name="connsiteX99" fmla="*/ 6626143 w 7338960"/>
              <a:gd name="connsiteY99" fmla="*/ 126521 h 1265207"/>
              <a:gd name="connsiteX100" fmla="*/ 6672151 w 7338960"/>
              <a:gd name="connsiteY100" fmla="*/ 103517 h 1265207"/>
              <a:gd name="connsiteX101" fmla="*/ 6718158 w 7338960"/>
              <a:gd name="connsiteY101" fmla="*/ 92015 h 1265207"/>
              <a:gd name="connsiteX102" fmla="*/ 6758415 w 7338960"/>
              <a:gd name="connsiteY102" fmla="*/ 74762 h 1265207"/>
              <a:gd name="connsiteX103" fmla="*/ 6787169 w 7338960"/>
              <a:gd name="connsiteY103" fmla="*/ 69011 h 1265207"/>
              <a:gd name="connsiteX104" fmla="*/ 6833177 w 7338960"/>
              <a:gd name="connsiteY104" fmla="*/ 57509 h 1265207"/>
              <a:gd name="connsiteX105" fmla="*/ 6925192 w 7338960"/>
              <a:gd name="connsiteY105" fmla="*/ 34505 h 1265207"/>
              <a:gd name="connsiteX106" fmla="*/ 7155230 w 7338960"/>
              <a:gd name="connsiteY106" fmla="*/ 23004 h 1265207"/>
              <a:gd name="connsiteX107" fmla="*/ 7218490 w 7338960"/>
              <a:gd name="connsiteY107" fmla="*/ 5751 h 1265207"/>
              <a:gd name="connsiteX108" fmla="*/ 7333509 w 7338960"/>
              <a:gd name="connsiteY108" fmla="*/ 0 h 1265207"/>
              <a:gd name="connsiteX109" fmla="*/ 7333509 w 7338960"/>
              <a:gd name="connsiteY109"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378852 w 7338960"/>
              <a:gd name="connsiteY91" fmla="*/ 224287 h 1265207"/>
              <a:gd name="connsiteX92" fmla="*/ 6413358 w 7338960"/>
              <a:gd name="connsiteY92" fmla="*/ 212785 h 1265207"/>
              <a:gd name="connsiteX93" fmla="*/ 6430611 w 7338960"/>
              <a:gd name="connsiteY93" fmla="*/ 207034 h 1265207"/>
              <a:gd name="connsiteX94" fmla="*/ 6453615 w 7338960"/>
              <a:gd name="connsiteY94" fmla="*/ 201283 h 1265207"/>
              <a:gd name="connsiteX95" fmla="*/ 6482369 w 7338960"/>
              <a:gd name="connsiteY95" fmla="*/ 184030 h 1265207"/>
              <a:gd name="connsiteX96" fmla="*/ 6557132 w 7338960"/>
              <a:gd name="connsiteY96" fmla="*/ 155275 h 1265207"/>
              <a:gd name="connsiteX97" fmla="*/ 6580135 w 7338960"/>
              <a:gd name="connsiteY97" fmla="*/ 143773 h 1265207"/>
              <a:gd name="connsiteX98" fmla="*/ 6626143 w 7338960"/>
              <a:gd name="connsiteY98" fmla="*/ 126521 h 1265207"/>
              <a:gd name="connsiteX99" fmla="*/ 6672151 w 7338960"/>
              <a:gd name="connsiteY99" fmla="*/ 103517 h 1265207"/>
              <a:gd name="connsiteX100" fmla="*/ 6718158 w 7338960"/>
              <a:gd name="connsiteY100" fmla="*/ 92015 h 1265207"/>
              <a:gd name="connsiteX101" fmla="*/ 6758415 w 7338960"/>
              <a:gd name="connsiteY101" fmla="*/ 74762 h 1265207"/>
              <a:gd name="connsiteX102" fmla="*/ 6787169 w 7338960"/>
              <a:gd name="connsiteY102" fmla="*/ 69011 h 1265207"/>
              <a:gd name="connsiteX103" fmla="*/ 6833177 w 7338960"/>
              <a:gd name="connsiteY103" fmla="*/ 57509 h 1265207"/>
              <a:gd name="connsiteX104" fmla="*/ 6925192 w 7338960"/>
              <a:gd name="connsiteY104" fmla="*/ 34505 h 1265207"/>
              <a:gd name="connsiteX105" fmla="*/ 7155230 w 7338960"/>
              <a:gd name="connsiteY105" fmla="*/ 23004 h 1265207"/>
              <a:gd name="connsiteX106" fmla="*/ 7218490 w 7338960"/>
              <a:gd name="connsiteY106" fmla="*/ 5751 h 1265207"/>
              <a:gd name="connsiteX107" fmla="*/ 7333509 w 7338960"/>
              <a:gd name="connsiteY107" fmla="*/ 0 h 1265207"/>
              <a:gd name="connsiteX108" fmla="*/ 7333509 w 7338960"/>
              <a:gd name="connsiteY108"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378852 w 7338960"/>
              <a:gd name="connsiteY91" fmla="*/ 224287 h 1265207"/>
              <a:gd name="connsiteX92" fmla="*/ 6413358 w 7338960"/>
              <a:gd name="connsiteY92" fmla="*/ 212785 h 1265207"/>
              <a:gd name="connsiteX93" fmla="*/ 6430611 w 7338960"/>
              <a:gd name="connsiteY93" fmla="*/ 207034 h 1265207"/>
              <a:gd name="connsiteX94" fmla="*/ 6482369 w 7338960"/>
              <a:gd name="connsiteY94" fmla="*/ 184030 h 1265207"/>
              <a:gd name="connsiteX95" fmla="*/ 6557132 w 7338960"/>
              <a:gd name="connsiteY95" fmla="*/ 155275 h 1265207"/>
              <a:gd name="connsiteX96" fmla="*/ 6580135 w 7338960"/>
              <a:gd name="connsiteY96" fmla="*/ 143773 h 1265207"/>
              <a:gd name="connsiteX97" fmla="*/ 6626143 w 7338960"/>
              <a:gd name="connsiteY97" fmla="*/ 126521 h 1265207"/>
              <a:gd name="connsiteX98" fmla="*/ 6672151 w 7338960"/>
              <a:gd name="connsiteY98" fmla="*/ 103517 h 1265207"/>
              <a:gd name="connsiteX99" fmla="*/ 6718158 w 7338960"/>
              <a:gd name="connsiteY99" fmla="*/ 92015 h 1265207"/>
              <a:gd name="connsiteX100" fmla="*/ 6758415 w 7338960"/>
              <a:gd name="connsiteY100" fmla="*/ 74762 h 1265207"/>
              <a:gd name="connsiteX101" fmla="*/ 6787169 w 7338960"/>
              <a:gd name="connsiteY101" fmla="*/ 69011 h 1265207"/>
              <a:gd name="connsiteX102" fmla="*/ 6833177 w 7338960"/>
              <a:gd name="connsiteY102" fmla="*/ 57509 h 1265207"/>
              <a:gd name="connsiteX103" fmla="*/ 6925192 w 7338960"/>
              <a:gd name="connsiteY103" fmla="*/ 34505 h 1265207"/>
              <a:gd name="connsiteX104" fmla="*/ 7155230 w 7338960"/>
              <a:gd name="connsiteY104" fmla="*/ 23004 h 1265207"/>
              <a:gd name="connsiteX105" fmla="*/ 7218490 w 7338960"/>
              <a:gd name="connsiteY105" fmla="*/ 5751 h 1265207"/>
              <a:gd name="connsiteX106" fmla="*/ 7333509 w 7338960"/>
              <a:gd name="connsiteY106" fmla="*/ 0 h 1265207"/>
              <a:gd name="connsiteX107" fmla="*/ 7333509 w 7338960"/>
              <a:gd name="connsiteY107"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413358 w 7338960"/>
              <a:gd name="connsiteY91" fmla="*/ 212785 h 1265207"/>
              <a:gd name="connsiteX92" fmla="*/ 6430611 w 7338960"/>
              <a:gd name="connsiteY92" fmla="*/ 207034 h 1265207"/>
              <a:gd name="connsiteX93" fmla="*/ 6482369 w 7338960"/>
              <a:gd name="connsiteY93" fmla="*/ 184030 h 1265207"/>
              <a:gd name="connsiteX94" fmla="*/ 6557132 w 7338960"/>
              <a:gd name="connsiteY94" fmla="*/ 155275 h 1265207"/>
              <a:gd name="connsiteX95" fmla="*/ 6580135 w 7338960"/>
              <a:gd name="connsiteY95" fmla="*/ 143773 h 1265207"/>
              <a:gd name="connsiteX96" fmla="*/ 6626143 w 7338960"/>
              <a:gd name="connsiteY96" fmla="*/ 126521 h 1265207"/>
              <a:gd name="connsiteX97" fmla="*/ 6672151 w 7338960"/>
              <a:gd name="connsiteY97" fmla="*/ 103517 h 1265207"/>
              <a:gd name="connsiteX98" fmla="*/ 6718158 w 7338960"/>
              <a:gd name="connsiteY98" fmla="*/ 92015 h 1265207"/>
              <a:gd name="connsiteX99" fmla="*/ 6758415 w 7338960"/>
              <a:gd name="connsiteY99" fmla="*/ 74762 h 1265207"/>
              <a:gd name="connsiteX100" fmla="*/ 6787169 w 7338960"/>
              <a:gd name="connsiteY100" fmla="*/ 69011 h 1265207"/>
              <a:gd name="connsiteX101" fmla="*/ 6833177 w 7338960"/>
              <a:gd name="connsiteY101" fmla="*/ 57509 h 1265207"/>
              <a:gd name="connsiteX102" fmla="*/ 6925192 w 7338960"/>
              <a:gd name="connsiteY102" fmla="*/ 34505 h 1265207"/>
              <a:gd name="connsiteX103" fmla="*/ 7155230 w 7338960"/>
              <a:gd name="connsiteY103" fmla="*/ 23004 h 1265207"/>
              <a:gd name="connsiteX104" fmla="*/ 7218490 w 7338960"/>
              <a:gd name="connsiteY104" fmla="*/ 5751 h 1265207"/>
              <a:gd name="connsiteX105" fmla="*/ 7333509 w 7338960"/>
              <a:gd name="connsiteY105" fmla="*/ 0 h 1265207"/>
              <a:gd name="connsiteX106" fmla="*/ 7333509 w 7338960"/>
              <a:gd name="connsiteY106"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413358 w 7338960"/>
              <a:gd name="connsiteY91" fmla="*/ 212785 h 1265207"/>
              <a:gd name="connsiteX92" fmla="*/ 6430611 w 7338960"/>
              <a:gd name="connsiteY92" fmla="*/ 207034 h 1265207"/>
              <a:gd name="connsiteX93" fmla="*/ 6482369 w 7338960"/>
              <a:gd name="connsiteY93" fmla="*/ 184030 h 1265207"/>
              <a:gd name="connsiteX94" fmla="*/ 6557132 w 7338960"/>
              <a:gd name="connsiteY94" fmla="*/ 155275 h 1265207"/>
              <a:gd name="connsiteX95" fmla="*/ 6580135 w 7338960"/>
              <a:gd name="connsiteY95" fmla="*/ 143773 h 1265207"/>
              <a:gd name="connsiteX96" fmla="*/ 6626143 w 7338960"/>
              <a:gd name="connsiteY96" fmla="*/ 126521 h 1265207"/>
              <a:gd name="connsiteX97" fmla="*/ 6672151 w 7338960"/>
              <a:gd name="connsiteY97" fmla="*/ 103517 h 1265207"/>
              <a:gd name="connsiteX98" fmla="*/ 6718158 w 7338960"/>
              <a:gd name="connsiteY98" fmla="*/ 92015 h 1265207"/>
              <a:gd name="connsiteX99" fmla="*/ 6758415 w 7338960"/>
              <a:gd name="connsiteY99" fmla="*/ 74762 h 1265207"/>
              <a:gd name="connsiteX100" fmla="*/ 6787169 w 7338960"/>
              <a:gd name="connsiteY100" fmla="*/ 69011 h 1265207"/>
              <a:gd name="connsiteX101" fmla="*/ 6833177 w 7338960"/>
              <a:gd name="connsiteY101" fmla="*/ 57509 h 1265207"/>
              <a:gd name="connsiteX102" fmla="*/ 6925192 w 7338960"/>
              <a:gd name="connsiteY102" fmla="*/ 34505 h 1265207"/>
              <a:gd name="connsiteX103" fmla="*/ 7218490 w 7338960"/>
              <a:gd name="connsiteY103" fmla="*/ 5751 h 1265207"/>
              <a:gd name="connsiteX104" fmla="*/ 7333509 w 7338960"/>
              <a:gd name="connsiteY104" fmla="*/ 0 h 1265207"/>
              <a:gd name="connsiteX105" fmla="*/ 7333509 w 7338960"/>
              <a:gd name="connsiteY105" fmla="*/ 1265207 h 1265207"/>
              <a:gd name="connsiteX0" fmla="*/ 1 w 7338960"/>
              <a:gd name="connsiteY0" fmla="*/ 1241989 h 1265207"/>
              <a:gd name="connsiteX1" fmla="*/ 0 w 7338960"/>
              <a:gd name="connsiteY1" fmla="*/ 235198 h 1265207"/>
              <a:gd name="connsiteX2" fmla="*/ 150581 w 7338960"/>
              <a:gd name="connsiteY2" fmla="*/ 253041 h 1265207"/>
              <a:gd name="connsiteX3" fmla="*/ 202339 w 7338960"/>
              <a:gd name="connsiteY3" fmla="*/ 258792 h 1265207"/>
              <a:gd name="connsiteX4" fmla="*/ 236845 w 7338960"/>
              <a:gd name="connsiteY4" fmla="*/ 264543 h 1265207"/>
              <a:gd name="connsiteX5" fmla="*/ 426626 w 7338960"/>
              <a:gd name="connsiteY5" fmla="*/ 276045 h 1265207"/>
              <a:gd name="connsiteX6" fmla="*/ 656664 w 7338960"/>
              <a:gd name="connsiteY6" fmla="*/ 270294 h 1265207"/>
              <a:gd name="connsiteX7" fmla="*/ 685418 w 7338960"/>
              <a:gd name="connsiteY7" fmla="*/ 264543 h 1265207"/>
              <a:gd name="connsiteX8" fmla="*/ 748679 w 7338960"/>
              <a:gd name="connsiteY8" fmla="*/ 258792 h 1265207"/>
              <a:gd name="connsiteX9" fmla="*/ 777434 w 7338960"/>
              <a:gd name="connsiteY9" fmla="*/ 253041 h 1265207"/>
              <a:gd name="connsiteX10" fmla="*/ 823441 w 7338960"/>
              <a:gd name="connsiteY10" fmla="*/ 247290 h 1265207"/>
              <a:gd name="connsiteX11" fmla="*/ 846445 w 7338960"/>
              <a:gd name="connsiteY11" fmla="*/ 235788 h 1265207"/>
              <a:gd name="connsiteX12" fmla="*/ 869449 w 7338960"/>
              <a:gd name="connsiteY12" fmla="*/ 230037 h 1265207"/>
              <a:gd name="connsiteX13" fmla="*/ 886701 w 7338960"/>
              <a:gd name="connsiteY13" fmla="*/ 224287 h 1265207"/>
              <a:gd name="connsiteX14" fmla="*/ 932709 w 7338960"/>
              <a:gd name="connsiteY14" fmla="*/ 212785 h 1265207"/>
              <a:gd name="connsiteX15" fmla="*/ 955713 w 7338960"/>
              <a:gd name="connsiteY15" fmla="*/ 207034 h 1265207"/>
              <a:gd name="connsiteX16" fmla="*/ 984467 w 7338960"/>
              <a:gd name="connsiteY16" fmla="*/ 189781 h 1265207"/>
              <a:gd name="connsiteX17" fmla="*/ 1018973 w 7338960"/>
              <a:gd name="connsiteY17" fmla="*/ 178279 h 1265207"/>
              <a:gd name="connsiteX18" fmla="*/ 1036226 w 7338960"/>
              <a:gd name="connsiteY18" fmla="*/ 172528 h 1265207"/>
              <a:gd name="connsiteX19" fmla="*/ 1099486 w 7338960"/>
              <a:gd name="connsiteY19" fmla="*/ 155275 h 1265207"/>
              <a:gd name="connsiteX20" fmla="*/ 1151245 w 7338960"/>
              <a:gd name="connsiteY20" fmla="*/ 132271 h 1265207"/>
              <a:gd name="connsiteX21" fmla="*/ 1168498 w 7338960"/>
              <a:gd name="connsiteY21" fmla="*/ 126521 h 1265207"/>
              <a:gd name="connsiteX22" fmla="*/ 1191501 w 7338960"/>
              <a:gd name="connsiteY22" fmla="*/ 115019 h 1265207"/>
              <a:gd name="connsiteX23" fmla="*/ 1208754 w 7338960"/>
              <a:gd name="connsiteY23" fmla="*/ 109268 h 1265207"/>
              <a:gd name="connsiteX24" fmla="*/ 1231758 w 7338960"/>
              <a:gd name="connsiteY24" fmla="*/ 97766 h 1265207"/>
              <a:gd name="connsiteX25" fmla="*/ 1266264 w 7338960"/>
              <a:gd name="connsiteY25" fmla="*/ 92015 h 1265207"/>
              <a:gd name="connsiteX26" fmla="*/ 1300769 w 7338960"/>
              <a:gd name="connsiteY26" fmla="*/ 80513 h 1265207"/>
              <a:gd name="connsiteX27" fmla="*/ 1335275 w 7338960"/>
              <a:gd name="connsiteY27" fmla="*/ 74762 h 1265207"/>
              <a:gd name="connsiteX28" fmla="*/ 1358279 w 7338960"/>
              <a:gd name="connsiteY28" fmla="*/ 69011 h 1265207"/>
              <a:gd name="connsiteX29" fmla="*/ 1565313 w 7338960"/>
              <a:gd name="connsiteY29" fmla="*/ 63260 h 1265207"/>
              <a:gd name="connsiteX30" fmla="*/ 1749343 w 7338960"/>
              <a:gd name="connsiteY30" fmla="*/ 69011 h 1265207"/>
              <a:gd name="connsiteX31" fmla="*/ 1783849 w 7338960"/>
              <a:gd name="connsiteY31" fmla="*/ 86264 h 1265207"/>
              <a:gd name="connsiteX32" fmla="*/ 1824105 w 7338960"/>
              <a:gd name="connsiteY32" fmla="*/ 97766 h 1265207"/>
              <a:gd name="connsiteX33" fmla="*/ 1847109 w 7338960"/>
              <a:gd name="connsiteY33" fmla="*/ 109268 h 1265207"/>
              <a:gd name="connsiteX34" fmla="*/ 1870113 w 7338960"/>
              <a:gd name="connsiteY34" fmla="*/ 115019 h 1265207"/>
              <a:gd name="connsiteX35" fmla="*/ 1904618 w 7338960"/>
              <a:gd name="connsiteY35" fmla="*/ 126521 h 1265207"/>
              <a:gd name="connsiteX36" fmla="*/ 1921871 w 7338960"/>
              <a:gd name="connsiteY36" fmla="*/ 132271 h 1265207"/>
              <a:gd name="connsiteX37" fmla="*/ 1973630 w 7338960"/>
              <a:gd name="connsiteY37" fmla="*/ 138022 h 1265207"/>
              <a:gd name="connsiteX38" fmla="*/ 2036890 w 7338960"/>
              <a:gd name="connsiteY38" fmla="*/ 149524 h 1265207"/>
              <a:gd name="connsiteX39" fmla="*/ 2100151 w 7338960"/>
              <a:gd name="connsiteY39" fmla="*/ 155275 h 1265207"/>
              <a:gd name="connsiteX40" fmla="*/ 2169162 w 7338960"/>
              <a:gd name="connsiteY40" fmla="*/ 166777 h 1265207"/>
              <a:gd name="connsiteX41" fmla="*/ 2232422 w 7338960"/>
              <a:gd name="connsiteY41" fmla="*/ 172528 h 1265207"/>
              <a:gd name="connsiteX42" fmla="*/ 2295683 w 7338960"/>
              <a:gd name="connsiteY42" fmla="*/ 189781 h 1265207"/>
              <a:gd name="connsiteX43" fmla="*/ 2335939 w 7338960"/>
              <a:gd name="connsiteY43" fmla="*/ 201283 h 1265207"/>
              <a:gd name="connsiteX44" fmla="*/ 2358943 w 7338960"/>
              <a:gd name="connsiteY44" fmla="*/ 212785 h 1265207"/>
              <a:gd name="connsiteX45" fmla="*/ 2393449 w 7338960"/>
              <a:gd name="connsiteY45" fmla="*/ 218536 h 1265207"/>
              <a:gd name="connsiteX46" fmla="*/ 2422203 w 7338960"/>
              <a:gd name="connsiteY46" fmla="*/ 224287 h 1265207"/>
              <a:gd name="connsiteX47" fmla="*/ 2445207 w 7338960"/>
              <a:gd name="connsiteY47" fmla="*/ 230037 h 1265207"/>
              <a:gd name="connsiteX48" fmla="*/ 2623486 w 7338960"/>
              <a:gd name="connsiteY48" fmla="*/ 235788 h 1265207"/>
              <a:gd name="connsiteX49" fmla="*/ 2692498 w 7338960"/>
              <a:gd name="connsiteY49" fmla="*/ 241539 h 1265207"/>
              <a:gd name="connsiteX50" fmla="*/ 2715501 w 7338960"/>
              <a:gd name="connsiteY50" fmla="*/ 253041 h 1265207"/>
              <a:gd name="connsiteX51" fmla="*/ 2767260 w 7338960"/>
              <a:gd name="connsiteY51" fmla="*/ 276045 h 1265207"/>
              <a:gd name="connsiteX52" fmla="*/ 2819018 w 7338960"/>
              <a:gd name="connsiteY52" fmla="*/ 299049 h 1265207"/>
              <a:gd name="connsiteX53" fmla="*/ 2870777 w 7338960"/>
              <a:gd name="connsiteY53" fmla="*/ 322053 h 1265207"/>
              <a:gd name="connsiteX54" fmla="*/ 2893781 w 7338960"/>
              <a:gd name="connsiteY54" fmla="*/ 333554 h 1265207"/>
              <a:gd name="connsiteX55" fmla="*/ 2945539 w 7338960"/>
              <a:gd name="connsiteY55" fmla="*/ 350807 h 1265207"/>
              <a:gd name="connsiteX56" fmla="*/ 2962792 w 7338960"/>
              <a:gd name="connsiteY56" fmla="*/ 356558 h 1265207"/>
              <a:gd name="connsiteX57" fmla="*/ 2991547 w 7338960"/>
              <a:gd name="connsiteY57" fmla="*/ 373811 h 1265207"/>
              <a:gd name="connsiteX58" fmla="*/ 3031803 w 7338960"/>
              <a:gd name="connsiteY58" fmla="*/ 385313 h 1265207"/>
              <a:gd name="connsiteX59" fmla="*/ 3066309 w 7338960"/>
              <a:gd name="connsiteY59" fmla="*/ 396815 h 1265207"/>
              <a:gd name="connsiteX60" fmla="*/ 3106566 w 7338960"/>
              <a:gd name="connsiteY60" fmla="*/ 402566 h 1265207"/>
              <a:gd name="connsiteX61" fmla="*/ 3261841 w 7338960"/>
              <a:gd name="connsiteY61" fmla="*/ 414068 h 1265207"/>
              <a:gd name="connsiteX62" fmla="*/ 3451622 w 7338960"/>
              <a:gd name="connsiteY62" fmla="*/ 425570 h 1265207"/>
              <a:gd name="connsiteX63" fmla="*/ 3572392 w 7338960"/>
              <a:gd name="connsiteY63" fmla="*/ 437071 h 1265207"/>
              <a:gd name="connsiteX64" fmla="*/ 3710415 w 7338960"/>
              <a:gd name="connsiteY64" fmla="*/ 448573 h 1265207"/>
              <a:gd name="connsiteX65" fmla="*/ 3767924 w 7338960"/>
              <a:gd name="connsiteY65" fmla="*/ 454324 h 1265207"/>
              <a:gd name="connsiteX66" fmla="*/ 3951954 w 7338960"/>
              <a:gd name="connsiteY66" fmla="*/ 465826 h 1265207"/>
              <a:gd name="connsiteX67" fmla="*/ 4193494 w 7338960"/>
              <a:gd name="connsiteY67" fmla="*/ 477328 h 1265207"/>
              <a:gd name="connsiteX68" fmla="*/ 4498294 w 7338960"/>
              <a:gd name="connsiteY68" fmla="*/ 471577 h 1265207"/>
              <a:gd name="connsiteX69" fmla="*/ 4538551 w 7338960"/>
              <a:gd name="connsiteY69" fmla="*/ 460075 h 1265207"/>
              <a:gd name="connsiteX70" fmla="*/ 4590309 w 7338960"/>
              <a:gd name="connsiteY70" fmla="*/ 448573 h 1265207"/>
              <a:gd name="connsiteX71" fmla="*/ 4619064 w 7338960"/>
              <a:gd name="connsiteY71" fmla="*/ 442822 h 1265207"/>
              <a:gd name="connsiteX72" fmla="*/ 4647818 w 7338960"/>
              <a:gd name="connsiteY72" fmla="*/ 431321 h 1265207"/>
              <a:gd name="connsiteX73" fmla="*/ 4711079 w 7338960"/>
              <a:gd name="connsiteY73" fmla="*/ 419819 h 1265207"/>
              <a:gd name="connsiteX74" fmla="*/ 4757086 w 7338960"/>
              <a:gd name="connsiteY74" fmla="*/ 408317 h 1265207"/>
              <a:gd name="connsiteX75" fmla="*/ 4820347 w 7338960"/>
              <a:gd name="connsiteY75" fmla="*/ 391064 h 1265207"/>
              <a:gd name="connsiteX76" fmla="*/ 4837600 w 7338960"/>
              <a:gd name="connsiteY76" fmla="*/ 379562 h 1265207"/>
              <a:gd name="connsiteX77" fmla="*/ 4877856 w 7338960"/>
              <a:gd name="connsiteY77" fmla="*/ 368060 h 1265207"/>
              <a:gd name="connsiteX78" fmla="*/ 4941117 w 7338960"/>
              <a:gd name="connsiteY78" fmla="*/ 345056 h 1265207"/>
              <a:gd name="connsiteX79" fmla="*/ 4975622 w 7338960"/>
              <a:gd name="connsiteY79" fmla="*/ 333554 h 1265207"/>
              <a:gd name="connsiteX80" fmla="*/ 4998626 w 7338960"/>
              <a:gd name="connsiteY80" fmla="*/ 322053 h 1265207"/>
              <a:gd name="connsiteX81" fmla="*/ 5044634 w 7338960"/>
              <a:gd name="connsiteY81" fmla="*/ 316302 h 1265207"/>
              <a:gd name="connsiteX82" fmla="*/ 5096392 w 7338960"/>
              <a:gd name="connsiteY82" fmla="*/ 304800 h 1265207"/>
              <a:gd name="connsiteX83" fmla="*/ 5125147 w 7338960"/>
              <a:gd name="connsiteY83" fmla="*/ 299049 h 1265207"/>
              <a:gd name="connsiteX84" fmla="*/ 5159652 w 7338960"/>
              <a:gd name="connsiteY84" fmla="*/ 293298 h 1265207"/>
              <a:gd name="connsiteX85" fmla="*/ 5314928 w 7338960"/>
              <a:gd name="connsiteY85" fmla="*/ 287547 h 1265207"/>
              <a:gd name="connsiteX86" fmla="*/ 6114309 w 7338960"/>
              <a:gd name="connsiteY86" fmla="*/ 281796 h 1265207"/>
              <a:gd name="connsiteX87" fmla="*/ 6171818 w 7338960"/>
              <a:gd name="connsiteY87" fmla="*/ 276045 h 1265207"/>
              <a:gd name="connsiteX88" fmla="*/ 6309841 w 7338960"/>
              <a:gd name="connsiteY88" fmla="*/ 247290 h 1265207"/>
              <a:gd name="connsiteX89" fmla="*/ 6332845 w 7338960"/>
              <a:gd name="connsiteY89" fmla="*/ 241539 h 1265207"/>
              <a:gd name="connsiteX90" fmla="*/ 6355849 w 7338960"/>
              <a:gd name="connsiteY90" fmla="*/ 230037 h 1265207"/>
              <a:gd name="connsiteX91" fmla="*/ 6413358 w 7338960"/>
              <a:gd name="connsiteY91" fmla="*/ 212785 h 1265207"/>
              <a:gd name="connsiteX92" fmla="*/ 6430611 w 7338960"/>
              <a:gd name="connsiteY92" fmla="*/ 207034 h 1265207"/>
              <a:gd name="connsiteX93" fmla="*/ 6482369 w 7338960"/>
              <a:gd name="connsiteY93" fmla="*/ 184030 h 1265207"/>
              <a:gd name="connsiteX94" fmla="*/ 6557132 w 7338960"/>
              <a:gd name="connsiteY94" fmla="*/ 155275 h 1265207"/>
              <a:gd name="connsiteX95" fmla="*/ 6580135 w 7338960"/>
              <a:gd name="connsiteY95" fmla="*/ 143773 h 1265207"/>
              <a:gd name="connsiteX96" fmla="*/ 6626143 w 7338960"/>
              <a:gd name="connsiteY96" fmla="*/ 126521 h 1265207"/>
              <a:gd name="connsiteX97" fmla="*/ 6672151 w 7338960"/>
              <a:gd name="connsiteY97" fmla="*/ 103517 h 1265207"/>
              <a:gd name="connsiteX98" fmla="*/ 6718158 w 7338960"/>
              <a:gd name="connsiteY98" fmla="*/ 92015 h 1265207"/>
              <a:gd name="connsiteX99" fmla="*/ 6758415 w 7338960"/>
              <a:gd name="connsiteY99" fmla="*/ 74762 h 1265207"/>
              <a:gd name="connsiteX100" fmla="*/ 6787169 w 7338960"/>
              <a:gd name="connsiteY100" fmla="*/ 69011 h 1265207"/>
              <a:gd name="connsiteX101" fmla="*/ 6833177 w 7338960"/>
              <a:gd name="connsiteY101" fmla="*/ 57509 h 1265207"/>
              <a:gd name="connsiteX102" fmla="*/ 6925192 w 7338960"/>
              <a:gd name="connsiteY102" fmla="*/ 34505 h 1265207"/>
              <a:gd name="connsiteX103" fmla="*/ 7333509 w 7338960"/>
              <a:gd name="connsiteY103" fmla="*/ 0 h 1265207"/>
              <a:gd name="connsiteX104" fmla="*/ 7333509 w 7338960"/>
              <a:gd name="connsiteY104" fmla="*/ 1265207 h 1265207"/>
              <a:gd name="connsiteX0" fmla="*/ 1 w 7333509"/>
              <a:gd name="connsiteY0" fmla="*/ 1207484 h 1230702"/>
              <a:gd name="connsiteX1" fmla="*/ 0 w 7333509"/>
              <a:gd name="connsiteY1" fmla="*/ 200693 h 1230702"/>
              <a:gd name="connsiteX2" fmla="*/ 150581 w 7333509"/>
              <a:gd name="connsiteY2" fmla="*/ 218536 h 1230702"/>
              <a:gd name="connsiteX3" fmla="*/ 202339 w 7333509"/>
              <a:gd name="connsiteY3" fmla="*/ 224287 h 1230702"/>
              <a:gd name="connsiteX4" fmla="*/ 236845 w 7333509"/>
              <a:gd name="connsiteY4" fmla="*/ 230038 h 1230702"/>
              <a:gd name="connsiteX5" fmla="*/ 426626 w 7333509"/>
              <a:gd name="connsiteY5" fmla="*/ 241540 h 1230702"/>
              <a:gd name="connsiteX6" fmla="*/ 656664 w 7333509"/>
              <a:gd name="connsiteY6" fmla="*/ 235789 h 1230702"/>
              <a:gd name="connsiteX7" fmla="*/ 685418 w 7333509"/>
              <a:gd name="connsiteY7" fmla="*/ 230038 h 1230702"/>
              <a:gd name="connsiteX8" fmla="*/ 748679 w 7333509"/>
              <a:gd name="connsiteY8" fmla="*/ 224287 h 1230702"/>
              <a:gd name="connsiteX9" fmla="*/ 777434 w 7333509"/>
              <a:gd name="connsiteY9" fmla="*/ 218536 h 1230702"/>
              <a:gd name="connsiteX10" fmla="*/ 823441 w 7333509"/>
              <a:gd name="connsiteY10" fmla="*/ 212785 h 1230702"/>
              <a:gd name="connsiteX11" fmla="*/ 846445 w 7333509"/>
              <a:gd name="connsiteY11" fmla="*/ 201283 h 1230702"/>
              <a:gd name="connsiteX12" fmla="*/ 869449 w 7333509"/>
              <a:gd name="connsiteY12" fmla="*/ 195532 h 1230702"/>
              <a:gd name="connsiteX13" fmla="*/ 886701 w 7333509"/>
              <a:gd name="connsiteY13" fmla="*/ 189782 h 1230702"/>
              <a:gd name="connsiteX14" fmla="*/ 932709 w 7333509"/>
              <a:gd name="connsiteY14" fmla="*/ 178280 h 1230702"/>
              <a:gd name="connsiteX15" fmla="*/ 955713 w 7333509"/>
              <a:gd name="connsiteY15" fmla="*/ 172529 h 1230702"/>
              <a:gd name="connsiteX16" fmla="*/ 984467 w 7333509"/>
              <a:gd name="connsiteY16" fmla="*/ 155276 h 1230702"/>
              <a:gd name="connsiteX17" fmla="*/ 1018973 w 7333509"/>
              <a:gd name="connsiteY17" fmla="*/ 143774 h 1230702"/>
              <a:gd name="connsiteX18" fmla="*/ 1036226 w 7333509"/>
              <a:gd name="connsiteY18" fmla="*/ 138023 h 1230702"/>
              <a:gd name="connsiteX19" fmla="*/ 1099486 w 7333509"/>
              <a:gd name="connsiteY19" fmla="*/ 120770 h 1230702"/>
              <a:gd name="connsiteX20" fmla="*/ 1151245 w 7333509"/>
              <a:gd name="connsiteY20" fmla="*/ 97766 h 1230702"/>
              <a:gd name="connsiteX21" fmla="*/ 1168498 w 7333509"/>
              <a:gd name="connsiteY21" fmla="*/ 92016 h 1230702"/>
              <a:gd name="connsiteX22" fmla="*/ 1191501 w 7333509"/>
              <a:gd name="connsiteY22" fmla="*/ 80514 h 1230702"/>
              <a:gd name="connsiteX23" fmla="*/ 1208754 w 7333509"/>
              <a:gd name="connsiteY23" fmla="*/ 74763 h 1230702"/>
              <a:gd name="connsiteX24" fmla="*/ 1231758 w 7333509"/>
              <a:gd name="connsiteY24" fmla="*/ 63261 h 1230702"/>
              <a:gd name="connsiteX25" fmla="*/ 1266264 w 7333509"/>
              <a:gd name="connsiteY25" fmla="*/ 57510 h 1230702"/>
              <a:gd name="connsiteX26" fmla="*/ 1300769 w 7333509"/>
              <a:gd name="connsiteY26" fmla="*/ 46008 h 1230702"/>
              <a:gd name="connsiteX27" fmla="*/ 1335275 w 7333509"/>
              <a:gd name="connsiteY27" fmla="*/ 40257 h 1230702"/>
              <a:gd name="connsiteX28" fmla="*/ 1358279 w 7333509"/>
              <a:gd name="connsiteY28" fmla="*/ 34506 h 1230702"/>
              <a:gd name="connsiteX29" fmla="*/ 1565313 w 7333509"/>
              <a:gd name="connsiteY29" fmla="*/ 28755 h 1230702"/>
              <a:gd name="connsiteX30" fmla="*/ 1749343 w 7333509"/>
              <a:gd name="connsiteY30" fmla="*/ 34506 h 1230702"/>
              <a:gd name="connsiteX31" fmla="*/ 1783849 w 7333509"/>
              <a:gd name="connsiteY31" fmla="*/ 51759 h 1230702"/>
              <a:gd name="connsiteX32" fmla="*/ 1824105 w 7333509"/>
              <a:gd name="connsiteY32" fmla="*/ 63261 h 1230702"/>
              <a:gd name="connsiteX33" fmla="*/ 1847109 w 7333509"/>
              <a:gd name="connsiteY33" fmla="*/ 74763 h 1230702"/>
              <a:gd name="connsiteX34" fmla="*/ 1870113 w 7333509"/>
              <a:gd name="connsiteY34" fmla="*/ 80514 h 1230702"/>
              <a:gd name="connsiteX35" fmla="*/ 1904618 w 7333509"/>
              <a:gd name="connsiteY35" fmla="*/ 92016 h 1230702"/>
              <a:gd name="connsiteX36" fmla="*/ 1921871 w 7333509"/>
              <a:gd name="connsiteY36" fmla="*/ 97766 h 1230702"/>
              <a:gd name="connsiteX37" fmla="*/ 1973630 w 7333509"/>
              <a:gd name="connsiteY37" fmla="*/ 103517 h 1230702"/>
              <a:gd name="connsiteX38" fmla="*/ 2036890 w 7333509"/>
              <a:gd name="connsiteY38" fmla="*/ 115019 h 1230702"/>
              <a:gd name="connsiteX39" fmla="*/ 2100151 w 7333509"/>
              <a:gd name="connsiteY39" fmla="*/ 120770 h 1230702"/>
              <a:gd name="connsiteX40" fmla="*/ 2169162 w 7333509"/>
              <a:gd name="connsiteY40" fmla="*/ 132272 h 1230702"/>
              <a:gd name="connsiteX41" fmla="*/ 2232422 w 7333509"/>
              <a:gd name="connsiteY41" fmla="*/ 138023 h 1230702"/>
              <a:gd name="connsiteX42" fmla="*/ 2295683 w 7333509"/>
              <a:gd name="connsiteY42" fmla="*/ 155276 h 1230702"/>
              <a:gd name="connsiteX43" fmla="*/ 2335939 w 7333509"/>
              <a:gd name="connsiteY43" fmla="*/ 166778 h 1230702"/>
              <a:gd name="connsiteX44" fmla="*/ 2358943 w 7333509"/>
              <a:gd name="connsiteY44" fmla="*/ 178280 h 1230702"/>
              <a:gd name="connsiteX45" fmla="*/ 2393449 w 7333509"/>
              <a:gd name="connsiteY45" fmla="*/ 184031 h 1230702"/>
              <a:gd name="connsiteX46" fmla="*/ 2422203 w 7333509"/>
              <a:gd name="connsiteY46" fmla="*/ 189782 h 1230702"/>
              <a:gd name="connsiteX47" fmla="*/ 2445207 w 7333509"/>
              <a:gd name="connsiteY47" fmla="*/ 195532 h 1230702"/>
              <a:gd name="connsiteX48" fmla="*/ 2623486 w 7333509"/>
              <a:gd name="connsiteY48" fmla="*/ 201283 h 1230702"/>
              <a:gd name="connsiteX49" fmla="*/ 2692498 w 7333509"/>
              <a:gd name="connsiteY49" fmla="*/ 207034 h 1230702"/>
              <a:gd name="connsiteX50" fmla="*/ 2715501 w 7333509"/>
              <a:gd name="connsiteY50" fmla="*/ 218536 h 1230702"/>
              <a:gd name="connsiteX51" fmla="*/ 2767260 w 7333509"/>
              <a:gd name="connsiteY51" fmla="*/ 241540 h 1230702"/>
              <a:gd name="connsiteX52" fmla="*/ 2819018 w 7333509"/>
              <a:gd name="connsiteY52" fmla="*/ 264544 h 1230702"/>
              <a:gd name="connsiteX53" fmla="*/ 2870777 w 7333509"/>
              <a:gd name="connsiteY53" fmla="*/ 287548 h 1230702"/>
              <a:gd name="connsiteX54" fmla="*/ 2893781 w 7333509"/>
              <a:gd name="connsiteY54" fmla="*/ 299049 h 1230702"/>
              <a:gd name="connsiteX55" fmla="*/ 2945539 w 7333509"/>
              <a:gd name="connsiteY55" fmla="*/ 316302 h 1230702"/>
              <a:gd name="connsiteX56" fmla="*/ 2962792 w 7333509"/>
              <a:gd name="connsiteY56" fmla="*/ 322053 h 1230702"/>
              <a:gd name="connsiteX57" fmla="*/ 2991547 w 7333509"/>
              <a:gd name="connsiteY57" fmla="*/ 339306 h 1230702"/>
              <a:gd name="connsiteX58" fmla="*/ 3031803 w 7333509"/>
              <a:gd name="connsiteY58" fmla="*/ 350808 h 1230702"/>
              <a:gd name="connsiteX59" fmla="*/ 3066309 w 7333509"/>
              <a:gd name="connsiteY59" fmla="*/ 362310 h 1230702"/>
              <a:gd name="connsiteX60" fmla="*/ 3106566 w 7333509"/>
              <a:gd name="connsiteY60" fmla="*/ 368061 h 1230702"/>
              <a:gd name="connsiteX61" fmla="*/ 3261841 w 7333509"/>
              <a:gd name="connsiteY61" fmla="*/ 379563 h 1230702"/>
              <a:gd name="connsiteX62" fmla="*/ 3451622 w 7333509"/>
              <a:gd name="connsiteY62" fmla="*/ 391065 h 1230702"/>
              <a:gd name="connsiteX63" fmla="*/ 3572392 w 7333509"/>
              <a:gd name="connsiteY63" fmla="*/ 402566 h 1230702"/>
              <a:gd name="connsiteX64" fmla="*/ 3710415 w 7333509"/>
              <a:gd name="connsiteY64" fmla="*/ 414068 h 1230702"/>
              <a:gd name="connsiteX65" fmla="*/ 3767924 w 7333509"/>
              <a:gd name="connsiteY65" fmla="*/ 419819 h 1230702"/>
              <a:gd name="connsiteX66" fmla="*/ 3951954 w 7333509"/>
              <a:gd name="connsiteY66" fmla="*/ 431321 h 1230702"/>
              <a:gd name="connsiteX67" fmla="*/ 4193494 w 7333509"/>
              <a:gd name="connsiteY67" fmla="*/ 442823 h 1230702"/>
              <a:gd name="connsiteX68" fmla="*/ 4498294 w 7333509"/>
              <a:gd name="connsiteY68" fmla="*/ 437072 h 1230702"/>
              <a:gd name="connsiteX69" fmla="*/ 4538551 w 7333509"/>
              <a:gd name="connsiteY69" fmla="*/ 425570 h 1230702"/>
              <a:gd name="connsiteX70" fmla="*/ 4590309 w 7333509"/>
              <a:gd name="connsiteY70" fmla="*/ 414068 h 1230702"/>
              <a:gd name="connsiteX71" fmla="*/ 4619064 w 7333509"/>
              <a:gd name="connsiteY71" fmla="*/ 408317 h 1230702"/>
              <a:gd name="connsiteX72" fmla="*/ 4647818 w 7333509"/>
              <a:gd name="connsiteY72" fmla="*/ 396816 h 1230702"/>
              <a:gd name="connsiteX73" fmla="*/ 4711079 w 7333509"/>
              <a:gd name="connsiteY73" fmla="*/ 385314 h 1230702"/>
              <a:gd name="connsiteX74" fmla="*/ 4757086 w 7333509"/>
              <a:gd name="connsiteY74" fmla="*/ 373812 h 1230702"/>
              <a:gd name="connsiteX75" fmla="*/ 4820347 w 7333509"/>
              <a:gd name="connsiteY75" fmla="*/ 356559 h 1230702"/>
              <a:gd name="connsiteX76" fmla="*/ 4837600 w 7333509"/>
              <a:gd name="connsiteY76" fmla="*/ 345057 h 1230702"/>
              <a:gd name="connsiteX77" fmla="*/ 4877856 w 7333509"/>
              <a:gd name="connsiteY77" fmla="*/ 333555 h 1230702"/>
              <a:gd name="connsiteX78" fmla="*/ 4941117 w 7333509"/>
              <a:gd name="connsiteY78" fmla="*/ 310551 h 1230702"/>
              <a:gd name="connsiteX79" fmla="*/ 4975622 w 7333509"/>
              <a:gd name="connsiteY79" fmla="*/ 299049 h 1230702"/>
              <a:gd name="connsiteX80" fmla="*/ 4998626 w 7333509"/>
              <a:gd name="connsiteY80" fmla="*/ 287548 h 1230702"/>
              <a:gd name="connsiteX81" fmla="*/ 5044634 w 7333509"/>
              <a:gd name="connsiteY81" fmla="*/ 281797 h 1230702"/>
              <a:gd name="connsiteX82" fmla="*/ 5096392 w 7333509"/>
              <a:gd name="connsiteY82" fmla="*/ 270295 h 1230702"/>
              <a:gd name="connsiteX83" fmla="*/ 5125147 w 7333509"/>
              <a:gd name="connsiteY83" fmla="*/ 264544 h 1230702"/>
              <a:gd name="connsiteX84" fmla="*/ 5159652 w 7333509"/>
              <a:gd name="connsiteY84" fmla="*/ 258793 h 1230702"/>
              <a:gd name="connsiteX85" fmla="*/ 5314928 w 7333509"/>
              <a:gd name="connsiteY85" fmla="*/ 253042 h 1230702"/>
              <a:gd name="connsiteX86" fmla="*/ 6114309 w 7333509"/>
              <a:gd name="connsiteY86" fmla="*/ 247291 h 1230702"/>
              <a:gd name="connsiteX87" fmla="*/ 6171818 w 7333509"/>
              <a:gd name="connsiteY87" fmla="*/ 241540 h 1230702"/>
              <a:gd name="connsiteX88" fmla="*/ 6309841 w 7333509"/>
              <a:gd name="connsiteY88" fmla="*/ 212785 h 1230702"/>
              <a:gd name="connsiteX89" fmla="*/ 6332845 w 7333509"/>
              <a:gd name="connsiteY89" fmla="*/ 207034 h 1230702"/>
              <a:gd name="connsiteX90" fmla="*/ 6355849 w 7333509"/>
              <a:gd name="connsiteY90" fmla="*/ 195532 h 1230702"/>
              <a:gd name="connsiteX91" fmla="*/ 6413358 w 7333509"/>
              <a:gd name="connsiteY91" fmla="*/ 178280 h 1230702"/>
              <a:gd name="connsiteX92" fmla="*/ 6430611 w 7333509"/>
              <a:gd name="connsiteY92" fmla="*/ 172529 h 1230702"/>
              <a:gd name="connsiteX93" fmla="*/ 6482369 w 7333509"/>
              <a:gd name="connsiteY93" fmla="*/ 149525 h 1230702"/>
              <a:gd name="connsiteX94" fmla="*/ 6557132 w 7333509"/>
              <a:gd name="connsiteY94" fmla="*/ 120770 h 1230702"/>
              <a:gd name="connsiteX95" fmla="*/ 6580135 w 7333509"/>
              <a:gd name="connsiteY95" fmla="*/ 109268 h 1230702"/>
              <a:gd name="connsiteX96" fmla="*/ 6626143 w 7333509"/>
              <a:gd name="connsiteY96" fmla="*/ 92016 h 1230702"/>
              <a:gd name="connsiteX97" fmla="*/ 6672151 w 7333509"/>
              <a:gd name="connsiteY97" fmla="*/ 69012 h 1230702"/>
              <a:gd name="connsiteX98" fmla="*/ 6718158 w 7333509"/>
              <a:gd name="connsiteY98" fmla="*/ 57510 h 1230702"/>
              <a:gd name="connsiteX99" fmla="*/ 6758415 w 7333509"/>
              <a:gd name="connsiteY99" fmla="*/ 40257 h 1230702"/>
              <a:gd name="connsiteX100" fmla="*/ 6787169 w 7333509"/>
              <a:gd name="connsiteY100" fmla="*/ 34506 h 1230702"/>
              <a:gd name="connsiteX101" fmla="*/ 6833177 w 7333509"/>
              <a:gd name="connsiteY101" fmla="*/ 23004 h 1230702"/>
              <a:gd name="connsiteX102" fmla="*/ 6925192 w 7333509"/>
              <a:gd name="connsiteY102" fmla="*/ 0 h 1230702"/>
              <a:gd name="connsiteX103" fmla="*/ 7333509 w 7333509"/>
              <a:gd name="connsiteY103" fmla="*/ 1230702 h 1230702"/>
              <a:gd name="connsiteX0" fmla="*/ 1 w 6925192"/>
              <a:gd name="connsiteY0" fmla="*/ 1207484 h 1207484"/>
              <a:gd name="connsiteX1" fmla="*/ 0 w 6925192"/>
              <a:gd name="connsiteY1" fmla="*/ 200693 h 1207484"/>
              <a:gd name="connsiteX2" fmla="*/ 150581 w 6925192"/>
              <a:gd name="connsiteY2" fmla="*/ 218536 h 1207484"/>
              <a:gd name="connsiteX3" fmla="*/ 202339 w 6925192"/>
              <a:gd name="connsiteY3" fmla="*/ 224287 h 1207484"/>
              <a:gd name="connsiteX4" fmla="*/ 236845 w 6925192"/>
              <a:gd name="connsiteY4" fmla="*/ 230038 h 1207484"/>
              <a:gd name="connsiteX5" fmla="*/ 426626 w 6925192"/>
              <a:gd name="connsiteY5" fmla="*/ 241540 h 1207484"/>
              <a:gd name="connsiteX6" fmla="*/ 656664 w 6925192"/>
              <a:gd name="connsiteY6" fmla="*/ 235789 h 1207484"/>
              <a:gd name="connsiteX7" fmla="*/ 685418 w 6925192"/>
              <a:gd name="connsiteY7" fmla="*/ 230038 h 1207484"/>
              <a:gd name="connsiteX8" fmla="*/ 748679 w 6925192"/>
              <a:gd name="connsiteY8" fmla="*/ 224287 h 1207484"/>
              <a:gd name="connsiteX9" fmla="*/ 777434 w 6925192"/>
              <a:gd name="connsiteY9" fmla="*/ 218536 h 1207484"/>
              <a:gd name="connsiteX10" fmla="*/ 823441 w 6925192"/>
              <a:gd name="connsiteY10" fmla="*/ 212785 h 1207484"/>
              <a:gd name="connsiteX11" fmla="*/ 846445 w 6925192"/>
              <a:gd name="connsiteY11" fmla="*/ 201283 h 1207484"/>
              <a:gd name="connsiteX12" fmla="*/ 869449 w 6925192"/>
              <a:gd name="connsiteY12" fmla="*/ 195532 h 1207484"/>
              <a:gd name="connsiteX13" fmla="*/ 886701 w 6925192"/>
              <a:gd name="connsiteY13" fmla="*/ 189782 h 1207484"/>
              <a:gd name="connsiteX14" fmla="*/ 932709 w 6925192"/>
              <a:gd name="connsiteY14" fmla="*/ 178280 h 1207484"/>
              <a:gd name="connsiteX15" fmla="*/ 955713 w 6925192"/>
              <a:gd name="connsiteY15" fmla="*/ 172529 h 1207484"/>
              <a:gd name="connsiteX16" fmla="*/ 984467 w 6925192"/>
              <a:gd name="connsiteY16" fmla="*/ 155276 h 1207484"/>
              <a:gd name="connsiteX17" fmla="*/ 1018973 w 6925192"/>
              <a:gd name="connsiteY17" fmla="*/ 143774 h 1207484"/>
              <a:gd name="connsiteX18" fmla="*/ 1036226 w 6925192"/>
              <a:gd name="connsiteY18" fmla="*/ 138023 h 1207484"/>
              <a:gd name="connsiteX19" fmla="*/ 1099486 w 6925192"/>
              <a:gd name="connsiteY19" fmla="*/ 120770 h 1207484"/>
              <a:gd name="connsiteX20" fmla="*/ 1151245 w 6925192"/>
              <a:gd name="connsiteY20" fmla="*/ 97766 h 1207484"/>
              <a:gd name="connsiteX21" fmla="*/ 1168498 w 6925192"/>
              <a:gd name="connsiteY21" fmla="*/ 92016 h 1207484"/>
              <a:gd name="connsiteX22" fmla="*/ 1191501 w 6925192"/>
              <a:gd name="connsiteY22" fmla="*/ 80514 h 1207484"/>
              <a:gd name="connsiteX23" fmla="*/ 1208754 w 6925192"/>
              <a:gd name="connsiteY23" fmla="*/ 74763 h 1207484"/>
              <a:gd name="connsiteX24" fmla="*/ 1231758 w 6925192"/>
              <a:gd name="connsiteY24" fmla="*/ 63261 h 1207484"/>
              <a:gd name="connsiteX25" fmla="*/ 1266264 w 6925192"/>
              <a:gd name="connsiteY25" fmla="*/ 57510 h 1207484"/>
              <a:gd name="connsiteX26" fmla="*/ 1300769 w 6925192"/>
              <a:gd name="connsiteY26" fmla="*/ 46008 h 1207484"/>
              <a:gd name="connsiteX27" fmla="*/ 1335275 w 6925192"/>
              <a:gd name="connsiteY27" fmla="*/ 40257 h 1207484"/>
              <a:gd name="connsiteX28" fmla="*/ 1358279 w 6925192"/>
              <a:gd name="connsiteY28" fmla="*/ 34506 h 1207484"/>
              <a:gd name="connsiteX29" fmla="*/ 1565313 w 6925192"/>
              <a:gd name="connsiteY29" fmla="*/ 28755 h 1207484"/>
              <a:gd name="connsiteX30" fmla="*/ 1749343 w 6925192"/>
              <a:gd name="connsiteY30" fmla="*/ 34506 h 1207484"/>
              <a:gd name="connsiteX31" fmla="*/ 1783849 w 6925192"/>
              <a:gd name="connsiteY31" fmla="*/ 51759 h 1207484"/>
              <a:gd name="connsiteX32" fmla="*/ 1824105 w 6925192"/>
              <a:gd name="connsiteY32" fmla="*/ 63261 h 1207484"/>
              <a:gd name="connsiteX33" fmla="*/ 1847109 w 6925192"/>
              <a:gd name="connsiteY33" fmla="*/ 74763 h 1207484"/>
              <a:gd name="connsiteX34" fmla="*/ 1870113 w 6925192"/>
              <a:gd name="connsiteY34" fmla="*/ 80514 h 1207484"/>
              <a:gd name="connsiteX35" fmla="*/ 1904618 w 6925192"/>
              <a:gd name="connsiteY35" fmla="*/ 92016 h 1207484"/>
              <a:gd name="connsiteX36" fmla="*/ 1921871 w 6925192"/>
              <a:gd name="connsiteY36" fmla="*/ 97766 h 1207484"/>
              <a:gd name="connsiteX37" fmla="*/ 1973630 w 6925192"/>
              <a:gd name="connsiteY37" fmla="*/ 103517 h 1207484"/>
              <a:gd name="connsiteX38" fmla="*/ 2036890 w 6925192"/>
              <a:gd name="connsiteY38" fmla="*/ 115019 h 1207484"/>
              <a:gd name="connsiteX39" fmla="*/ 2100151 w 6925192"/>
              <a:gd name="connsiteY39" fmla="*/ 120770 h 1207484"/>
              <a:gd name="connsiteX40" fmla="*/ 2169162 w 6925192"/>
              <a:gd name="connsiteY40" fmla="*/ 132272 h 1207484"/>
              <a:gd name="connsiteX41" fmla="*/ 2232422 w 6925192"/>
              <a:gd name="connsiteY41" fmla="*/ 138023 h 1207484"/>
              <a:gd name="connsiteX42" fmla="*/ 2295683 w 6925192"/>
              <a:gd name="connsiteY42" fmla="*/ 155276 h 1207484"/>
              <a:gd name="connsiteX43" fmla="*/ 2335939 w 6925192"/>
              <a:gd name="connsiteY43" fmla="*/ 166778 h 1207484"/>
              <a:gd name="connsiteX44" fmla="*/ 2358943 w 6925192"/>
              <a:gd name="connsiteY44" fmla="*/ 178280 h 1207484"/>
              <a:gd name="connsiteX45" fmla="*/ 2393449 w 6925192"/>
              <a:gd name="connsiteY45" fmla="*/ 184031 h 1207484"/>
              <a:gd name="connsiteX46" fmla="*/ 2422203 w 6925192"/>
              <a:gd name="connsiteY46" fmla="*/ 189782 h 1207484"/>
              <a:gd name="connsiteX47" fmla="*/ 2445207 w 6925192"/>
              <a:gd name="connsiteY47" fmla="*/ 195532 h 1207484"/>
              <a:gd name="connsiteX48" fmla="*/ 2623486 w 6925192"/>
              <a:gd name="connsiteY48" fmla="*/ 201283 h 1207484"/>
              <a:gd name="connsiteX49" fmla="*/ 2692498 w 6925192"/>
              <a:gd name="connsiteY49" fmla="*/ 207034 h 1207484"/>
              <a:gd name="connsiteX50" fmla="*/ 2715501 w 6925192"/>
              <a:gd name="connsiteY50" fmla="*/ 218536 h 1207484"/>
              <a:gd name="connsiteX51" fmla="*/ 2767260 w 6925192"/>
              <a:gd name="connsiteY51" fmla="*/ 241540 h 1207484"/>
              <a:gd name="connsiteX52" fmla="*/ 2819018 w 6925192"/>
              <a:gd name="connsiteY52" fmla="*/ 264544 h 1207484"/>
              <a:gd name="connsiteX53" fmla="*/ 2870777 w 6925192"/>
              <a:gd name="connsiteY53" fmla="*/ 287548 h 1207484"/>
              <a:gd name="connsiteX54" fmla="*/ 2893781 w 6925192"/>
              <a:gd name="connsiteY54" fmla="*/ 299049 h 1207484"/>
              <a:gd name="connsiteX55" fmla="*/ 2945539 w 6925192"/>
              <a:gd name="connsiteY55" fmla="*/ 316302 h 1207484"/>
              <a:gd name="connsiteX56" fmla="*/ 2962792 w 6925192"/>
              <a:gd name="connsiteY56" fmla="*/ 322053 h 1207484"/>
              <a:gd name="connsiteX57" fmla="*/ 2991547 w 6925192"/>
              <a:gd name="connsiteY57" fmla="*/ 339306 h 1207484"/>
              <a:gd name="connsiteX58" fmla="*/ 3031803 w 6925192"/>
              <a:gd name="connsiteY58" fmla="*/ 350808 h 1207484"/>
              <a:gd name="connsiteX59" fmla="*/ 3066309 w 6925192"/>
              <a:gd name="connsiteY59" fmla="*/ 362310 h 1207484"/>
              <a:gd name="connsiteX60" fmla="*/ 3106566 w 6925192"/>
              <a:gd name="connsiteY60" fmla="*/ 368061 h 1207484"/>
              <a:gd name="connsiteX61" fmla="*/ 3261841 w 6925192"/>
              <a:gd name="connsiteY61" fmla="*/ 379563 h 1207484"/>
              <a:gd name="connsiteX62" fmla="*/ 3451622 w 6925192"/>
              <a:gd name="connsiteY62" fmla="*/ 391065 h 1207484"/>
              <a:gd name="connsiteX63" fmla="*/ 3572392 w 6925192"/>
              <a:gd name="connsiteY63" fmla="*/ 402566 h 1207484"/>
              <a:gd name="connsiteX64" fmla="*/ 3710415 w 6925192"/>
              <a:gd name="connsiteY64" fmla="*/ 414068 h 1207484"/>
              <a:gd name="connsiteX65" fmla="*/ 3767924 w 6925192"/>
              <a:gd name="connsiteY65" fmla="*/ 419819 h 1207484"/>
              <a:gd name="connsiteX66" fmla="*/ 3951954 w 6925192"/>
              <a:gd name="connsiteY66" fmla="*/ 431321 h 1207484"/>
              <a:gd name="connsiteX67" fmla="*/ 4193494 w 6925192"/>
              <a:gd name="connsiteY67" fmla="*/ 442823 h 1207484"/>
              <a:gd name="connsiteX68" fmla="*/ 4498294 w 6925192"/>
              <a:gd name="connsiteY68" fmla="*/ 437072 h 1207484"/>
              <a:gd name="connsiteX69" fmla="*/ 4538551 w 6925192"/>
              <a:gd name="connsiteY69" fmla="*/ 425570 h 1207484"/>
              <a:gd name="connsiteX70" fmla="*/ 4590309 w 6925192"/>
              <a:gd name="connsiteY70" fmla="*/ 414068 h 1207484"/>
              <a:gd name="connsiteX71" fmla="*/ 4619064 w 6925192"/>
              <a:gd name="connsiteY71" fmla="*/ 408317 h 1207484"/>
              <a:gd name="connsiteX72" fmla="*/ 4647818 w 6925192"/>
              <a:gd name="connsiteY72" fmla="*/ 396816 h 1207484"/>
              <a:gd name="connsiteX73" fmla="*/ 4711079 w 6925192"/>
              <a:gd name="connsiteY73" fmla="*/ 385314 h 1207484"/>
              <a:gd name="connsiteX74" fmla="*/ 4757086 w 6925192"/>
              <a:gd name="connsiteY74" fmla="*/ 373812 h 1207484"/>
              <a:gd name="connsiteX75" fmla="*/ 4820347 w 6925192"/>
              <a:gd name="connsiteY75" fmla="*/ 356559 h 1207484"/>
              <a:gd name="connsiteX76" fmla="*/ 4837600 w 6925192"/>
              <a:gd name="connsiteY76" fmla="*/ 345057 h 1207484"/>
              <a:gd name="connsiteX77" fmla="*/ 4877856 w 6925192"/>
              <a:gd name="connsiteY77" fmla="*/ 333555 h 1207484"/>
              <a:gd name="connsiteX78" fmla="*/ 4941117 w 6925192"/>
              <a:gd name="connsiteY78" fmla="*/ 310551 h 1207484"/>
              <a:gd name="connsiteX79" fmla="*/ 4975622 w 6925192"/>
              <a:gd name="connsiteY79" fmla="*/ 299049 h 1207484"/>
              <a:gd name="connsiteX80" fmla="*/ 4998626 w 6925192"/>
              <a:gd name="connsiteY80" fmla="*/ 287548 h 1207484"/>
              <a:gd name="connsiteX81" fmla="*/ 5044634 w 6925192"/>
              <a:gd name="connsiteY81" fmla="*/ 281797 h 1207484"/>
              <a:gd name="connsiteX82" fmla="*/ 5096392 w 6925192"/>
              <a:gd name="connsiteY82" fmla="*/ 270295 h 1207484"/>
              <a:gd name="connsiteX83" fmla="*/ 5125147 w 6925192"/>
              <a:gd name="connsiteY83" fmla="*/ 264544 h 1207484"/>
              <a:gd name="connsiteX84" fmla="*/ 5159652 w 6925192"/>
              <a:gd name="connsiteY84" fmla="*/ 258793 h 1207484"/>
              <a:gd name="connsiteX85" fmla="*/ 5314928 w 6925192"/>
              <a:gd name="connsiteY85" fmla="*/ 253042 h 1207484"/>
              <a:gd name="connsiteX86" fmla="*/ 6114309 w 6925192"/>
              <a:gd name="connsiteY86" fmla="*/ 247291 h 1207484"/>
              <a:gd name="connsiteX87" fmla="*/ 6171818 w 6925192"/>
              <a:gd name="connsiteY87" fmla="*/ 241540 h 1207484"/>
              <a:gd name="connsiteX88" fmla="*/ 6309841 w 6925192"/>
              <a:gd name="connsiteY88" fmla="*/ 212785 h 1207484"/>
              <a:gd name="connsiteX89" fmla="*/ 6332845 w 6925192"/>
              <a:gd name="connsiteY89" fmla="*/ 207034 h 1207484"/>
              <a:gd name="connsiteX90" fmla="*/ 6355849 w 6925192"/>
              <a:gd name="connsiteY90" fmla="*/ 195532 h 1207484"/>
              <a:gd name="connsiteX91" fmla="*/ 6413358 w 6925192"/>
              <a:gd name="connsiteY91" fmla="*/ 178280 h 1207484"/>
              <a:gd name="connsiteX92" fmla="*/ 6430611 w 6925192"/>
              <a:gd name="connsiteY92" fmla="*/ 172529 h 1207484"/>
              <a:gd name="connsiteX93" fmla="*/ 6482369 w 6925192"/>
              <a:gd name="connsiteY93" fmla="*/ 149525 h 1207484"/>
              <a:gd name="connsiteX94" fmla="*/ 6557132 w 6925192"/>
              <a:gd name="connsiteY94" fmla="*/ 120770 h 1207484"/>
              <a:gd name="connsiteX95" fmla="*/ 6580135 w 6925192"/>
              <a:gd name="connsiteY95" fmla="*/ 109268 h 1207484"/>
              <a:gd name="connsiteX96" fmla="*/ 6626143 w 6925192"/>
              <a:gd name="connsiteY96" fmla="*/ 92016 h 1207484"/>
              <a:gd name="connsiteX97" fmla="*/ 6672151 w 6925192"/>
              <a:gd name="connsiteY97" fmla="*/ 69012 h 1207484"/>
              <a:gd name="connsiteX98" fmla="*/ 6718158 w 6925192"/>
              <a:gd name="connsiteY98" fmla="*/ 57510 h 1207484"/>
              <a:gd name="connsiteX99" fmla="*/ 6758415 w 6925192"/>
              <a:gd name="connsiteY99" fmla="*/ 40257 h 1207484"/>
              <a:gd name="connsiteX100" fmla="*/ 6787169 w 6925192"/>
              <a:gd name="connsiteY100" fmla="*/ 34506 h 1207484"/>
              <a:gd name="connsiteX101" fmla="*/ 6833177 w 6925192"/>
              <a:gd name="connsiteY101" fmla="*/ 23004 h 1207484"/>
              <a:gd name="connsiteX102" fmla="*/ 6925192 w 6925192"/>
              <a:gd name="connsiteY102" fmla="*/ 0 h 1207484"/>
              <a:gd name="connsiteX103" fmla="*/ 5880969 w 6925192"/>
              <a:gd name="connsiteY103" fmla="*/ 1176802 h 1207484"/>
              <a:gd name="connsiteX0" fmla="*/ 1 w 6833177"/>
              <a:gd name="connsiteY0" fmla="*/ 1184480 h 1184480"/>
              <a:gd name="connsiteX1" fmla="*/ 0 w 6833177"/>
              <a:gd name="connsiteY1" fmla="*/ 177689 h 1184480"/>
              <a:gd name="connsiteX2" fmla="*/ 150581 w 6833177"/>
              <a:gd name="connsiteY2" fmla="*/ 195532 h 1184480"/>
              <a:gd name="connsiteX3" fmla="*/ 202339 w 6833177"/>
              <a:gd name="connsiteY3" fmla="*/ 201283 h 1184480"/>
              <a:gd name="connsiteX4" fmla="*/ 236845 w 6833177"/>
              <a:gd name="connsiteY4" fmla="*/ 207034 h 1184480"/>
              <a:gd name="connsiteX5" fmla="*/ 426626 w 6833177"/>
              <a:gd name="connsiteY5" fmla="*/ 218536 h 1184480"/>
              <a:gd name="connsiteX6" fmla="*/ 656664 w 6833177"/>
              <a:gd name="connsiteY6" fmla="*/ 212785 h 1184480"/>
              <a:gd name="connsiteX7" fmla="*/ 685418 w 6833177"/>
              <a:gd name="connsiteY7" fmla="*/ 207034 h 1184480"/>
              <a:gd name="connsiteX8" fmla="*/ 748679 w 6833177"/>
              <a:gd name="connsiteY8" fmla="*/ 201283 h 1184480"/>
              <a:gd name="connsiteX9" fmla="*/ 777434 w 6833177"/>
              <a:gd name="connsiteY9" fmla="*/ 195532 h 1184480"/>
              <a:gd name="connsiteX10" fmla="*/ 823441 w 6833177"/>
              <a:gd name="connsiteY10" fmla="*/ 189781 h 1184480"/>
              <a:gd name="connsiteX11" fmla="*/ 846445 w 6833177"/>
              <a:gd name="connsiteY11" fmla="*/ 178279 h 1184480"/>
              <a:gd name="connsiteX12" fmla="*/ 869449 w 6833177"/>
              <a:gd name="connsiteY12" fmla="*/ 172528 h 1184480"/>
              <a:gd name="connsiteX13" fmla="*/ 886701 w 6833177"/>
              <a:gd name="connsiteY13" fmla="*/ 166778 h 1184480"/>
              <a:gd name="connsiteX14" fmla="*/ 932709 w 6833177"/>
              <a:gd name="connsiteY14" fmla="*/ 155276 h 1184480"/>
              <a:gd name="connsiteX15" fmla="*/ 955713 w 6833177"/>
              <a:gd name="connsiteY15" fmla="*/ 149525 h 1184480"/>
              <a:gd name="connsiteX16" fmla="*/ 984467 w 6833177"/>
              <a:gd name="connsiteY16" fmla="*/ 132272 h 1184480"/>
              <a:gd name="connsiteX17" fmla="*/ 1018973 w 6833177"/>
              <a:gd name="connsiteY17" fmla="*/ 120770 h 1184480"/>
              <a:gd name="connsiteX18" fmla="*/ 1036226 w 6833177"/>
              <a:gd name="connsiteY18" fmla="*/ 115019 h 1184480"/>
              <a:gd name="connsiteX19" fmla="*/ 1099486 w 6833177"/>
              <a:gd name="connsiteY19" fmla="*/ 97766 h 1184480"/>
              <a:gd name="connsiteX20" fmla="*/ 1151245 w 6833177"/>
              <a:gd name="connsiteY20" fmla="*/ 74762 h 1184480"/>
              <a:gd name="connsiteX21" fmla="*/ 1168498 w 6833177"/>
              <a:gd name="connsiteY21" fmla="*/ 69012 h 1184480"/>
              <a:gd name="connsiteX22" fmla="*/ 1191501 w 6833177"/>
              <a:gd name="connsiteY22" fmla="*/ 57510 h 1184480"/>
              <a:gd name="connsiteX23" fmla="*/ 1208754 w 6833177"/>
              <a:gd name="connsiteY23" fmla="*/ 51759 h 1184480"/>
              <a:gd name="connsiteX24" fmla="*/ 1231758 w 6833177"/>
              <a:gd name="connsiteY24" fmla="*/ 40257 h 1184480"/>
              <a:gd name="connsiteX25" fmla="*/ 1266264 w 6833177"/>
              <a:gd name="connsiteY25" fmla="*/ 34506 h 1184480"/>
              <a:gd name="connsiteX26" fmla="*/ 1300769 w 6833177"/>
              <a:gd name="connsiteY26" fmla="*/ 23004 h 1184480"/>
              <a:gd name="connsiteX27" fmla="*/ 1335275 w 6833177"/>
              <a:gd name="connsiteY27" fmla="*/ 17253 h 1184480"/>
              <a:gd name="connsiteX28" fmla="*/ 1358279 w 6833177"/>
              <a:gd name="connsiteY28" fmla="*/ 11502 h 1184480"/>
              <a:gd name="connsiteX29" fmla="*/ 1565313 w 6833177"/>
              <a:gd name="connsiteY29" fmla="*/ 5751 h 1184480"/>
              <a:gd name="connsiteX30" fmla="*/ 1749343 w 6833177"/>
              <a:gd name="connsiteY30" fmla="*/ 11502 h 1184480"/>
              <a:gd name="connsiteX31" fmla="*/ 1783849 w 6833177"/>
              <a:gd name="connsiteY31" fmla="*/ 28755 h 1184480"/>
              <a:gd name="connsiteX32" fmla="*/ 1824105 w 6833177"/>
              <a:gd name="connsiteY32" fmla="*/ 40257 h 1184480"/>
              <a:gd name="connsiteX33" fmla="*/ 1847109 w 6833177"/>
              <a:gd name="connsiteY33" fmla="*/ 51759 h 1184480"/>
              <a:gd name="connsiteX34" fmla="*/ 1870113 w 6833177"/>
              <a:gd name="connsiteY34" fmla="*/ 57510 h 1184480"/>
              <a:gd name="connsiteX35" fmla="*/ 1904618 w 6833177"/>
              <a:gd name="connsiteY35" fmla="*/ 69012 h 1184480"/>
              <a:gd name="connsiteX36" fmla="*/ 1921871 w 6833177"/>
              <a:gd name="connsiteY36" fmla="*/ 74762 h 1184480"/>
              <a:gd name="connsiteX37" fmla="*/ 1973630 w 6833177"/>
              <a:gd name="connsiteY37" fmla="*/ 80513 h 1184480"/>
              <a:gd name="connsiteX38" fmla="*/ 2036890 w 6833177"/>
              <a:gd name="connsiteY38" fmla="*/ 92015 h 1184480"/>
              <a:gd name="connsiteX39" fmla="*/ 2100151 w 6833177"/>
              <a:gd name="connsiteY39" fmla="*/ 97766 h 1184480"/>
              <a:gd name="connsiteX40" fmla="*/ 2169162 w 6833177"/>
              <a:gd name="connsiteY40" fmla="*/ 109268 h 1184480"/>
              <a:gd name="connsiteX41" fmla="*/ 2232422 w 6833177"/>
              <a:gd name="connsiteY41" fmla="*/ 115019 h 1184480"/>
              <a:gd name="connsiteX42" fmla="*/ 2295683 w 6833177"/>
              <a:gd name="connsiteY42" fmla="*/ 132272 h 1184480"/>
              <a:gd name="connsiteX43" fmla="*/ 2335939 w 6833177"/>
              <a:gd name="connsiteY43" fmla="*/ 143774 h 1184480"/>
              <a:gd name="connsiteX44" fmla="*/ 2358943 w 6833177"/>
              <a:gd name="connsiteY44" fmla="*/ 155276 h 1184480"/>
              <a:gd name="connsiteX45" fmla="*/ 2393449 w 6833177"/>
              <a:gd name="connsiteY45" fmla="*/ 161027 h 1184480"/>
              <a:gd name="connsiteX46" fmla="*/ 2422203 w 6833177"/>
              <a:gd name="connsiteY46" fmla="*/ 166778 h 1184480"/>
              <a:gd name="connsiteX47" fmla="*/ 2445207 w 6833177"/>
              <a:gd name="connsiteY47" fmla="*/ 172528 h 1184480"/>
              <a:gd name="connsiteX48" fmla="*/ 2623486 w 6833177"/>
              <a:gd name="connsiteY48" fmla="*/ 178279 h 1184480"/>
              <a:gd name="connsiteX49" fmla="*/ 2692498 w 6833177"/>
              <a:gd name="connsiteY49" fmla="*/ 184030 h 1184480"/>
              <a:gd name="connsiteX50" fmla="*/ 2715501 w 6833177"/>
              <a:gd name="connsiteY50" fmla="*/ 195532 h 1184480"/>
              <a:gd name="connsiteX51" fmla="*/ 2767260 w 6833177"/>
              <a:gd name="connsiteY51" fmla="*/ 218536 h 1184480"/>
              <a:gd name="connsiteX52" fmla="*/ 2819018 w 6833177"/>
              <a:gd name="connsiteY52" fmla="*/ 241540 h 1184480"/>
              <a:gd name="connsiteX53" fmla="*/ 2870777 w 6833177"/>
              <a:gd name="connsiteY53" fmla="*/ 264544 h 1184480"/>
              <a:gd name="connsiteX54" fmla="*/ 2893781 w 6833177"/>
              <a:gd name="connsiteY54" fmla="*/ 276045 h 1184480"/>
              <a:gd name="connsiteX55" fmla="*/ 2945539 w 6833177"/>
              <a:gd name="connsiteY55" fmla="*/ 293298 h 1184480"/>
              <a:gd name="connsiteX56" fmla="*/ 2962792 w 6833177"/>
              <a:gd name="connsiteY56" fmla="*/ 299049 h 1184480"/>
              <a:gd name="connsiteX57" fmla="*/ 2991547 w 6833177"/>
              <a:gd name="connsiteY57" fmla="*/ 316302 h 1184480"/>
              <a:gd name="connsiteX58" fmla="*/ 3031803 w 6833177"/>
              <a:gd name="connsiteY58" fmla="*/ 327804 h 1184480"/>
              <a:gd name="connsiteX59" fmla="*/ 3066309 w 6833177"/>
              <a:gd name="connsiteY59" fmla="*/ 339306 h 1184480"/>
              <a:gd name="connsiteX60" fmla="*/ 3106566 w 6833177"/>
              <a:gd name="connsiteY60" fmla="*/ 345057 h 1184480"/>
              <a:gd name="connsiteX61" fmla="*/ 3261841 w 6833177"/>
              <a:gd name="connsiteY61" fmla="*/ 356559 h 1184480"/>
              <a:gd name="connsiteX62" fmla="*/ 3451622 w 6833177"/>
              <a:gd name="connsiteY62" fmla="*/ 368061 h 1184480"/>
              <a:gd name="connsiteX63" fmla="*/ 3572392 w 6833177"/>
              <a:gd name="connsiteY63" fmla="*/ 379562 h 1184480"/>
              <a:gd name="connsiteX64" fmla="*/ 3710415 w 6833177"/>
              <a:gd name="connsiteY64" fmla="*/ 391064 h 1184480"/>
              <a:gd name="connsiteX65" fmla="*/ 3767924 w 6833177"/>
              <a:gd name="connsiteY65" fmla="*/ 396815 h 1184480"/>
              <a:gd name="connsiteX66" fmla="*/ 3951954 w 6833177"/>
              <a:gd name="connsiteY66" fmla="*/ 408317 h 1184480"/>
              <a:gd name="connsiteX67" fmla="*/ 4193494 w 6833177"/>
              <a:gd name="connsiteY67" fmla="*/ 419819 h 1184480"/>
              <a:gd name="connsiteX68" fmla="*/ 4498294 w 6833177"/>
              <a:gd name="connsiteY68" fmla="*/ 414068 h 1184480"/>
              <a:gd name="connsiteX69" fmla="*/ 4538551 w 6833177"/>
              <a:gd name="connsiteY69" fmla="*/ 402566 h 1184480"/>
              <a:gd name="connsiteX70" fmla="*/ 4590309 w 6833177"/>
              <a:gd name="connsiteY70" fmla="*/ 391064 h 1184480"/>
              <a:gd name="connsiteX71" fmla="*/ 4619064 w 6833177"/>
              <a:gd name="connsiteY71" fmla="*/ 385313 h 1184480"/>
              <a:gd name="connsiteX72" fmla="*/ 4647818 w 6833177"/>
              <a:gd name="connsiteY72" fmla="*/ 373812 h 1184480"/>
              <a:gd name="connsiteX73" fmla="*/ 4711079 w 6833177"/>
              <a:gd name="connsiteY73" fmla="*/ 362310 h 1184480"/>
              <a:gd name="connsiteX74" fmla="*/ 4757086 w 6833177"/>
              <a:gd name="connsiteY74" fmla="*/ 350808 h 1184480"/>
              <a:gd name="connsiteX75" fmla="*/ 4820347 w 6833177"/>
              <a:gd name="connsiteY75" fmla="*/ 333555 h 1184480"/>
              <a:gd name="connsiteX76" fmla="*/ 4837600 w 6833177"/>
              <a:gd name="connsiteY76" fmla="*/ 322053 h 1184480"/>
              <a:gd name="connsiteX77" fmla="*/ 4877856 w 6833177"/>
              <a:gd name="connsiteY77" fmla="*/ 310551 h 1184480"/>
              <a:gd name="connsiteX78" fmla="*/ 4941117 w 6833177"/>
              <a:gd name="connsiteY78" fmla="*/ 287547 h 1184480"/>
              <a:gd name="connsiteX79" fmla="*/ 4975622 w 6833177"/>
              <a:gd name="connsiteY79" fmla="*/ 276045 h 1184480"/>
              <a:gd name="connsiteX80" fmla="*/ 4998626 w 6833177"/>
              <a:gd name="connsiteY80" fmla="*/ 264544 h 1184480"/>
              <a:gd name="connsiteX81" fmla="*/ 5044634 w 6833177"/>
              <a:gd name="connsiteY81" fmla="*/ 258793 h 1184480"/>
              <a:gd name="connsiteX82" fmla="*/ 5096392 w 6833177"/>
              <a:gd name="connsiteY82" fmla="*/ 247291 h 1184480"/>
              <a:gd name="connsiteX83" fmla="*/ 5125147 w 6833177"/>
              <a:gd name="connsiteY83" fmla="*/ 241540 h 1184480"/>
              <a:gd name="connsiteX84" fmla="*/ 5159652 w 6833177"/>
              <a:gd name="connsiteY84" fmla="*/ 235789 h 1184480"/>
              <a:gd name="connsiteX85" fmla="*/ 5314928 w 6833177"/>
              <a:gd name="connsiteY85" fmla="*/ 230038 h 1184480"/>
              <a:gd name="connsiteX86" fmla="*/ 6114309 w 6833177"/>
              <a:gd name="connsiteY86" fmla="*/ 224287 h 1184480"/>
              <a:gd name="connsiteX87" fmla="*/ 6171818 w 6833177"/>
              <a:gd name="connsiteY87" fmla="*/ 218536 h 1184480"/>
              <a:gd name="connsiteX88" fmla="*/ 6309841 w 6833177"/>
              <a:gd name="connsiteY88" fmla="*/ 189781 h 1184480"/>
              <a:gd name="connsiteX89" fmla="*/ 6332845 w 6833177"/>
              <a:gd name="connsiteY89" fmla="*/ 184030 h 1184480"/>
              <a:gd name="connsiteX90" fmla="*/ 6355849 w 6833177"/>
              <a:gd name="connsiteY90" fmla="*/ 172528 h 1184480"/>
              <a:gd name="connsiteX91" fmla="*/ 6413358 w 6833177"/>
              <a:gd name="connsiteY91" fmla="*/ 155276 h 1184480"/>
              <a:gd name="connsiteX92" fmla="*/ 6430611 w 6833177"/>
              <a:gd name="connsiteY92" fmla="*/ 149525 h 1184480"/>
              <a:gd name="connsiteX93" fmla="*/ 6482369 w 6833177"/>
              <a:gd name="connsiteY93" fmla="*/ 126521 h 1184480"/>
              <a:gd name="connsiteX94" fmla="*/ 6557132 w 6833177"/>
              <a:gd name="connsiteY94" fmla="*/ 97766 h 1184480"/>
              <a:gd name="connsiteX95" fmla="*/ 6580135 w 6833177"/>
              <a:gd name="connsiteY95" fmla="*/ 86264 h 1184480"/>
              <a:gd name="connsiteX96" fmla="*/ 6626143 w 6833177"/>
              <a:gd name="connsiteY96" fmla="*/ 69012 h 1184480"/>
              <a:gd name="connsiteX97" fmla="*/ 6672151 w 6833177"/>
              <a:gd name="connsiteY97" fmla="*/ 46008 h 1184480"/>
              <a:gd name="connsiteX98" fmla="*/ 6718158 w 6833177"/>
              <a:gd name="connsiteY98" fmla="*/ 34506 h 1184480"/>
              <a:gd name="connsiteX99" fmla="*/ 6758415 w 6833177"/>
              <a:gd name="connsiteY99" fmla="*/ 17253 h 1184480"/>
              <a:gd name="connsiteX100" fmla="*/ 6787169 w 6833177"/>
              <a:gd name="connsiteY100" fmla="*/ 11502 h 1184480"/>
              <a:gd name="connsiteX101" fmla="*/ 6833177 w 6833177"/>
              <a:gd name="connsiteY101" fmla="*/ 0 h 1184480"/>
              <a:gd name="connsiteX102" fmla="*/ 5880969 w 6833177"/>
              <a:gd name="connsiteY102" fmla="*/ 1153798 h 1184480"/>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6114309 w 6979418"/>
              <a:gd name="connsiteY86" fmla="*/ 413711 h 1373904"/>
              <a:gd name="connsiteX87" fmla="*/ 6171818 w 6979418"/>
              <a:gd name="connsiteY87" fmla="*/ 407960 h 1373904"/>
              <a:gd name="connsiteX88" fmla="*/ 6309841 w 6979418"/>
              <a:gd name="connsiteY88" fmla="*/ 379205 h 1373904"/>
              <a:gd name="connsiteX89" fmla="*/ 6332845 w 6979418"/>
              <a:gd name="connsiteY89" fmla="*/ 373454 h 1373904"/>
              <a:gd name="connsiteX90" fmla="*/ 6355849 w 6979418"/>
              <a:gd name="connsiteY90" fmla="*/ 361952 h 1373904"/>
              <a:gd name="connsiteX91" fmla="*/ 6413358 w 6979418"/>
              <a:gd name="connsiteY91" fmla="*/ 344700 h 1373904"/>
              <a:gd name="connsiteX92" fmla="*/ 6430611 w 6979418"/>
              <a:gd name="connsiteY92" fmla="*/ 338949 h 1373904"/>
              <a:gd name="connsiteX93" fmla="*/ 6482369 w 6979418"/>
              <a:gd name="connsiteY93" fmla="*/ 315945 h 1373904"/>
              <a:gd name="connsiteX94" fmla="*/ 6557132 w 6979418"/>
              <a:gd name="connsiteY94" fmla="*/ 287190 h 1373904"/>
              <a:gd name="connsiteX95" fmla="*/ 6580135 w 6979418"/>
              <a:gd name="connsiteY95" fmla="*/ 275688 h 1373904"/>
              <a:gd name="connsiteX96" fmla="*/ 6626143 w 6979418"/>
              <a:gd name="connsiteY96" fmla="*/ 258436 h 1373904"/>
              <a:gd name="connsiteX97" fmla="*/ 6672151 w 6979418"/>
              <a:gd name="connsiteY97" fmla="*/ 235432 h 1373904"/>
              <a:gd name="connsiteX98" fmla="*/ 6718158 w 6979418"/>
              <a:gd name="connsiteY98" fmla="*/ 223930 h 1373904"/>
              <a:gd name="connsiteX99" fmla="*/ 6758415 w 6979418"/>
              <a:gd name="connsiteY99" fmla="*/ 206677 h 1373904"/>
              <a:gd name="connsiteX100" fmla="*/ 6833177 w 6979418"/>
              <a:gd name="connsiteY100" fmla="*/ 189424 h 1373904"/>
              <a:gd name="connsiteX101" fmla="*/ 5880969 w 6979418"/>
              <a:gd name="connsiteY101" fmla="*/ 1343222 h 1373904"/>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6114309 w 6979418"/>
              <a:gd name="connsiteY86" fmla="*/ 413711 h 1373904"/>
              <a:gd name="connsiteX87" fmla="*/ 6171818 w 6979418"/>
              <a:gd name="connsiteY87" fmla="*/ 407960 h 1373904"/>
              <a:gd name="connsiteX88" fmla="*/ 6309841 w 6979418"/>
              <a:gd name="connsiteY88" fmla="*/ 379205 h 1373904"/>
              <a:gd name="connsiteX89" fmla="*/ 6332845 w 6979418"/>
              <a:gd name="connsiteY89" fmla="*/ 373454 h 1373904"/>
              <a:gd name="connsiteX90" fmla="*/ 6413358 w 6979418"/>
              <a:gd name="connsiteY90" fmla="*/ 344700 h 1373904"/>
              <a:gd name="connsiteX91" fmla="*/ 6430611 w 6979418"/>
              <a:gd name="connsiteY91" fmla="*/ 338949 h 1373904"/>
              <a:gd name="connsiteX92" fmla="*/ 6482369 w 6979418"/>
              <a:gd name="connsiteY92" fmla="*/ 315945 h 1373904"/>
              <a:gd name="connsiteX93" fmla="*/ 6557132 w 6979418"/>
              <a:gd name="connsiteY93" fmla="*/ 287190 h 1373904"/>
              <a:gd name="connsiteX94" fmla="*/ 6580135 w 6979418"/>
              <a:gd name="connsiteY94" fmla="*/ 275688 h 1373904"/>
              <a:gd name="connsiteX95" fmla="*/ 6626143 w 6979418"/>
              <a:gd name="connsiteY95" fmla="*/ 258436 h 1373904"/>
              <a:gd name="connsiteX96" fmla="*/ 6672151 w 6979418"/>
              <a:gd name="connsiteY96" fmla="*/ 235432 h 1373904"/>
              <a:gd name="connsiteX97" fmla="*/ 6718158 w 6979418"/>
              <a:gd name="connsiteY97" fmla="*/ 223930 h 1373904"/>
              <a:gd name="connsiteX98" fmla="*/ 6758415 w 6979418"/>
              <a:gd name="connsiteY98" fmla="*/ 206677 h 1373904"/>
              <a:gd name="connsiteX99" fmla="*/ 6833177 w 6979418"/>
              <a:gd name="connsiteY99" fmla="*/ 189424 h 1373904"/>
              <a:gd name="connsiteX100" fmla="*/ 5880969 w 6979418"/>
              <a:gd name="connsiteY100" fmla="*/ 1343222 h 1373904"/>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5648945 w 6979418"/>
              <a:gd name="connsiteY86" fmla="*/ 366152 h 1373904"/>
              <a:gd name="connsiteX87" fmla="*/ 6171818 w 6979418"/>
              <a:gd name="connsiteY87" fmla="*/ 407960 h 1373904"/>
              <a:gd name="connsiteX88" fmla="*/ 6309841 w 6979418"/>
              <a:gd name="connsiteY88" fmla="*/ 379205 h 1373904"/>
              <a:gd name="connsiteX89" fmla="*/ 6332845 w 6979418"/>
              <a:gd name="connsiteY89" fmla="*/ 373454 h 1373904"/>
              <a:gd name="connsiteX90" fmla="*/ 6413358 w 6979418"/>
              <a:gd name="connsiteY90" fmla="*/ 344700 h 1373904"/>
              <a:gd name="connsiteX91" fmla="*/ 6430611 w 6979418"/>
              <a:gd name="connsiteY91" fmla="*/ 338949 h 1373904"/>
              <a:gd name="connsiteX92" fmla="*/ 6482369 w 6979418"/>
              <a:gd name="connsiteY92" fmla="*/ 315945 h 1373904"/>
              <a:gd name="connsiteX93" fmla="*/ 6557132 w 6979418"/>
              <a:gd name="connsiteY93" fmla="*/ 287190 h 1373904"/>
              <a:gd name="connsiteX94" fmla="*/ 6580135 w 6979418"/>
              <a:gd name="connsiteY94" fmla="*/ 275688 h 1373904"/>
              <a:gd name="connsiteX95" fmla="*/ 6626143 w 6979418"/>
              <a:gd name="connsiteY95" fmla="*/ 258436 h 1373904"/>
              <a:gd name="connsiteX96" fmla="*/ 6672151 w 6979418"/>
              <a:gd name="connsiteY96" fmla="*/ 235432 h 1373904"/>
              <a:gd name="connsiteX97" fmla="*/ 6718158 w 6979418"/>
              <a:gd name="connsiteY97" fmla="*/ 223930 h 1373904"/>
              <a:gd name="connsiteX98" fmla="*/ 6758415 w 6979418"/>
              <a:gd name="connsiteY98" fmla="*/ 206677 h 1373904"/>
              <a:gd name="connsiteX99" fmla="*/ 6833177 w 6979418"/>
              <a:gd name="connsiteY99" fmla="*/ 189424 h 1373904"/>
              <a:gd name="connsiteX100" fmla="*/ 5880969 w 6979418"/>
              <a:gd name="connsiteY100" fmla="*/ 1343222 h 1373904"/>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5648945 w 6979418"/>
              <a:gd name="connsiteY86" fmla="*/ 366152 h 1373904"/>
              <a:gd name="connsiteX87" fmla="*/ 5788276 w 6979418"/>
              <a:gd name="connsiteY87" fmla="*/ 319184 h 1373904"/>
              <a:gd name="connsiteX88" fmla="*/ 6309841 w 6979418"/>
              <a:gd name="connsiteY88" fmla="*/ 379205 h 1373904"/>
              <a:gd name="connsiteX89" fmla="*/ 6332845 w 6979418"/>
              <a:gd name="connsiteY89" fmla="*/ 373454 h 1373904"/>
              <a:gd name="connsiteX90" fmla="*/ 6413358 w 6979418"/>
              <a:gd name="connsiteY90" fmla="*/ 344700 h 1373904"/>
              <a:gd name="connsiteX91" fmla="*/ 6430611 w 6979418"/>
              <a:gd name="connsiteY91" fmla="*/ 338949 h 1373904"/>
              <a:gd name="connsiteX92" fmla="*/ 6482369 w 6979418"/>
              <a:gd name="connsiteY92" fmla="*/ 315945 h 1373904"/>
              <a:gd name="connsiteX93" fmla="*/ 6557132 w 6979418"/>
              <a:gd name="connsiteY93" fmla="*/ 287190 h 1373904"/>
              <a:gd name="connsiteX94" fmla="*/ 6580135 w 6979418"/>
              <a:gd name="connsiteY94" fmla="*/ 275688 h 1373904"/>
              <a:gd name="connsiteX95" fmla="*/ 6626143 w 6979418"/>
              <a:gd name="connsiteY95" fmla="*/ 258436 h 1373904"/>
              <a:gd name="connsiteX96" fmla="*/ 6672151 w 6979418"/>
              <a:gd name="connsiteY96" fmla="*/ 235432 h 1373904"/>
              <a:gd name="connsiteX97" fmla="*/ 6718158 w 6979418"/>
              <a:gd name="connsiteY97" fmla="*/ 223930 h 1373904"/>
              <a:gd name="connsiteX98" fmla="*/ 6758415 w 6979418"/>
              <a:gd name="connsiteY98" fmla="*/ 206677 h 1373904"/>
              <a:gd name="connsiteX99" fmla="*/ 6833177 w 6979418"/>
              <a:gd name="connsiteY99" fmla="*/ 189424 h 1373904"/>
              <a:gd name="connsiteX100" fmla="*/ 5880969 w 6979418"/>
              <a:gd name="connsiteY100" fmla="*/ 1343222 h 1373904"/>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5648945 w 6979418"/>
              <a:gd name="connsiteY86" fmla="*/ 366152 h 1373904"/>
              <a:gd name="connsiteX87" fmla="*/ 5788276 w 6979418"/>
              <a:gd name="connsiteY87" fmla="*/ 319184 h 1373904"/>
              <a:gd name="connsiteX88" fmla="*/ 6309841 w 6979418"/>
              <a:gd name="connsiteY88" fmla="*/ 379205 h 1373904"/>
              <a:gd name="connsiteX89" fmla="*/ 5880969 w 6979418"/>
              <a:gd name="connsiteY89" fmla="*/ 278336 h 1373904"/>
              <a:gd name="connsiteX90" fmla="*/ 6413358 w 6979418"/>
              <a:gd name="connsiteY90" fmla="*/ 344700 h 1373904"/>
              <a:gd name="connsiteX91" fmla="*/ 6430611 w 6979418"/>
              <a:gd name="connsiteY91" fmla="*/ 338949 h 1373904"/>
              <a:gd name="connsiteX92" fmla="*/ 6482369 w 6979418"/>
              <a:gd name="connsiteY92" fmla="*/ 315945 h 1373904"/>
              <a:gd name="connsiteX93" fmla="*/ 6557132 w 6979418"/>
              <a:gd name="connsiteY93" fmla="*/ 287190 h 1373904"/>
              <a:gd name="connsiteX94" fmla="*/ 6580135 w 6979418"/>
              <a:gd name="connsiteY94" fmla="*/ 275688 h 1373904"/>
              <a:gd name="connsiteX95" fmla="*/ 6626143 w 6979418"/>
              <a:gd name="connsiteY95" fmla="*/ 258436 h 1373904"/>
              <a:gd name="connsiteX96" fmla="*/ 6672151 w 6979418"/>
              <a:gd name="connsiteY96" fmla="*/ 235432 h 1373904"/>
              <a:gd name="connsiteX97" fmla="*/ 6718158 w 6979418"/>
              <a:gd name="connsiteY97" fmla="*/ 223930 h 1373904"/>
              <a:gd name="connsiteX98" fmla="*/ 6758415 w 6979418"/>
              <a:gd name="connsiteY98" fmla="*/ 206677 h 1373904"/>
              <a:gd name="connsiteX99" fmla="*/ 6833177 w 6979418"/>
              <a:gd name="connsiteY99" fmla="*/ 189424 h 1373904"/>
              <a:gd name="connsiteX100" fmla="*/ 5880969 w 6979418"/>
              <a:gd name="connsiteY100" fmla="*/ 1343222 h 1373904"/>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5648945 w 6979418"/>
              <a:gd name="connsiteY86" fmla="*/ 366152 h 1373904"/>
              <a:gd name="connsiteX87" fmla="*/ 5788276 w 6979418"/>
              <a:gd name="connsiteY87" fmla="*/ 319184 h 1373904"/>
              <a:gd name="connsiteX88" fmla="*/ 5880969 w 6979418"/>
              <a:gd name="connsiteY88" fmla="*/ 278336 h 1373904"/>
              <a:gd name="connsiteX89" fmla="*/ 6413358 w 6979418"/>
              <a:gd name="connsiteY89" fmla="*/ 344700 h 1373904"/>
              <a:gd name="connsiteX90" fmla="*/ 6430611 w 6979418"/>
              <a:gd name="connsiteY90" fmla="*/ 338949 h 1373904"/>
              <a:gd name="connsiteX91" fmla="*/ 6482369 w 6979418"/>
              <a:gd name="connsiteY91" fmla="*/ 315945 h 1373904"/>
              <a:gd name="connsiteX92" fmla="*/ 6557132 w 6979418"/>
              <a:gd name="connsiteY92" fmla="*/ 287190 h 1373904"/>
              <a:gd name="connsiteX93" fmla="*/ 6580135 w 6979418"/>
              <a:gd name="connsiteY93" fmla="*/ 275688 h 1373904"/>
              <a:gd name="connsiteX94" fmla="*/ 6626143 w 6979418"/>
              <a:gd name="connsiteY94" fmla="*/ 258436 h 1373904"/>
              <a:gd name="connsiteX95" fmla="*/ 6672151 w 6979418"/>
              <a:gd name="connsiteY95" fmla="*/ 235432 h 1373904"/>
              <a:gd name="connsiteX96" fmla="*/ 6718158 w 6979418"/>
              <a:gd name="connsiteY96" fmla="*/ 223930 h 1373904"/>
              <a:gd name="connsiteX97" fmla="*/ 6758415 w 6979418"/>
              <a:gd name="connsiteY97" fmla="*/ 206677 h 1373904"/>
              <a:gd name="connsiteX98" fmla="*/ 6833177 w 6979418"/>
              <a:gd name="connsiteY98" fmla="*/ 189424 h 1373904"/>
              <a:gd name="connsiteX99" fmla="*/ 5880969 w 6979418"/>
              <a:gd name="connsiteY99" fmla="*/ 1343222 h 1373904"/>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5648945 w 6979418"/>
              <a:gd name="connsiteY86" fmla="*/ 366152 h 1373904"/>
              <a:gd name="connsiteX87" fmla="*/ 5788276 w 6979418"/>
              <a:gd name="connsiteY87" fmla="*/ 319184 h 1373904"/>
              <a:gd name="connsiteX88" fmla="*/ 5880969 w 6979418"/>
              <a:gd name="connsiteY88" fmla="*/ 278336 h 1373904"/>
              <a:gd name="connsiteX89" fmla="*/ 6413358 w 6979418"/>
              <a:gd name="connsiteY89" fmla="*/ 344700 h 1373904"/>
              <a:gd name="connsiteX90" fmla="*/ 6482369 w 6979418"/>
              <a:gd name="connsiteY90" fmla="*/ 315945 h 1373904"/>
              <a:gd name="connsiteX91" fmla="*/ 6557132 w 6979418"/>
              <a:gd name="connsiteY91" fmla="*/ 287190 h 1373904"/>
              <a:gd name="connsiteX92" fmla="*/ 6580135 w 6979418"/>
              <a:gd name="connsiteY92" fmla="*/ 275688 h 1373904"/>
              <a:gd name="connsiteX93" fmla="*/ 6626143 w 6979418"/>
              <a:gd name="connsiteY93" fmla="*/ 258436 h 1373904"/>
              <a:gd name="connsiteX94" fmla="*/ 6672151 w 6979418"/>
              <a:gd name="connsiteY94" fmla="*/ 235432 h 1373904"/>
              <a:gd name="connsiteX95" fmla="*/ 6718158 w 6979418"/>
              <a:gd name="connsiteY95" fmla="*/ 223930 h 1373904"/>
              <a:gd name="connsiteX96" fmla="*/ 6758415 w 6979418"/>
              <a:gd name="connsiteY96" fmla="*/ 206677 h 1373904"/>
              <a:gd name="connsiteX97" fmla="*/ 6833177 w 6979418"/>
              <a:gd name="connsiteY97" fmla="*/ 189424 h 1373904"/>
              <a:gd name="connsiteX98" fmla="*/ 5880969 w 6979418"/>
              <a:gd name="connsiteY98" fmla="*/ 1343222 h 1373904"/>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5648945 w 6979418"/>
              <a:gd name="connsiteY86" fmla="*/ 366152 h 1373904"/>
              <a:gd name="connsiteX87" fmla="*/ 5788276 w 6979418"/>
              <a:gd name="connsiteY87" fmla="*/ 319184 h 1373904"/>
              <a:gd name="connsiteX88" fmla="*/ 5880969 w 6979418"/>
              <a:gd name="connsiteY88" fmla="*/ 278336 h 1373904"/>
              <a:gd name="connsiteX89" fmla="*/ 6413358 w 6979418"/>
              <a:gd name="connsiteY89" fmla="*/ 344700 h 1373904"/>
              <a:gd name="connsiteX90" fmla="*/ 6482369 w 6979418"/>
              <a:gd name="connsiteY90" fmla="*/ 315945 h 1373904"/>
              <a:gd name="connsiteX91" fmla="*/ 6557132 w 6979418"/>
              <a:gd name="connsiteY91" fmla="*/ 287190 h 1373904"/>
              <a:gd name="connsiteX92" fmla="*/ 6580135 w 6979418"/>
              <a:gd name="connsiteY92" fmla="*/ 275688 h 1373904"/>
              <a:gd name="connsiteX93" fmla="*/ 6626143 w 6979418"/>
              <a:gd name="connsiteY93" fmla="*/ 258436 h 1373904"/>
              <a:gd name="connsiteX94" fmla="*/ 6672151 w 6979418"/>
              <a:gd name="connsiteY94" fmla="*/ 235432 h 1373904"/>
              <a:gd name="connsiteX95" fmla="*/ 6758415 w 6979418"/>
              <a:gd name="connsiteY95" fmla="*/ 206677 h 1373904"/>
              <a:gd name="connsiteX96" fmla="*/ 6833177 w 6979418"/>
              <a:gd name="connsiteY96" fmla="*/ 189424 h 1373904"/>
              <a:gd name="connsiteX97" fmla="*/ 5880969 w 6979418"/>
              <a:gd name="connsiteY97" fmla="*/ 1343222 h 1373904"/>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5648945 w 6979418"/>
              <a:gd name="connsiteY86" fmla="*/ 366152 h 1373904"/>
              <a:gd name="connsiteX87" fmla="*/ 5788276 w 6979418"/>
              <a:gd name="connsiteY87" fmla="*/ 319184 h 1373904"/>
              <a:gd name="connsiteX88" fmla="*/ 5880969 w 6979418"/>
              <a:gd name="connsiteY88" fmla="*/ 278336 h 1373904"/>
              <a:gd name="connsiteX89" fmla="*/ 6413358 w 6979418"/>
              <a:gd name="connsiteY89" fmla="*/ 344700 h 1373904"/>
              <a:gd name="connsiteX90" fmla="*/ 6482369 w 6979418"/>
              <a:gd name="connsiteY90" fmla="*/ 315945 h 1373904"/>
              <a:gd name="connsiteX91" fmla="*/ 6557132 w 6979418"/>
              <a:gd name="connsiteY91" fmla="*/ 287190 h 1373904"/>
              <a:gd name="connsiteX92" fmla="*/ 6626143 w 6979418"/>
              <a:gd name="connsiteY92" fmla="*/ 258436 h 1373904"/>
              <a:gd name="connsiteX93" fmla="*/ 6672151 w 6979418"/>
              <a:gd name="connsiteY93" fmla="*/ 235432 h 1373904"/>
              <a:gd name="connsiteX94" fmla="*/ 6758415 w 6979418"/>
              <a:gd name="connsiteY94" fmla="*/ 206677 h 1373904"/>
              <a:gd name="connsiteX95" fmla="*/ 6833177 w 6979418"/>
              <a:gd name="connsiteY95" fmla="*/ 189424 h 1373904"/>
              <a:gd name="connsiteX96" fmla="*/ 5880969 w 6979418"/>
              <a:gd name="connsiteY96" fmla="*/ 1343222 h 1373904"/>
              <a:gd name="connsiteX0" fmla="*/ 1 w 6979418"/>
              <a:gd name="connsiteY0" fmla="*/ 1373904 h 1373904"/>
              <a:gd name="connsiteX1" fmla="*/ 0 w 6979418"/>
              <a:gd name="connsiteY1" fmla="*/ 367113 h 1373904"/>
              <a:gd name="connsiteX2" fmla="*/ 150581 w 6979418"/>
              <a:gd name="connsiteY2" fmla="*/ 384956 h 1373904"/>
              <a:gd name="connsiteX3" fmla="*/ 202339 w 6979418"/>
              <a:gd name="connsiteY3" fmla="*/ 390707 h 1373904"/>
              <a:gd name="connsiteX4" fmla="*/ 236845 w 6979418"/>
              <a:gd name="connsiteY4" fmla="*/ 396458 h 1373904"/>
              <a:gd name="connsiteX5" fmla="*/ 426626 w 6979418"/>
              <a:gd name="connsiteY5" fmla="*/ 407960 h 1373904"/>
              <a:gd name="connsiteX6" fmla="*/ 656664 w 6979418"/>
              <a:gd name="connsiteY6" fmla="*/ 402209 h 1373904"/>
              <a:gd name="connsiteX7" fmla="*/ 685418 w 6979418"/>
              <a:gd name="connsiteY7" fmla="*/ 396458 h 1373904"/>
              <a:gd name="connsiteX8" fmla="*/ 748679 w 6979418"/>
              <a:gd name="connsiteY8" fmla="*/ 390707 h 1373904"/>
              <a:gd name="connsiteX9" fmla="*/ 777434 w 6979418"/>
              <a:gd name="connsiteY9" fmla="*/ 384956 h 1373904"/>
              <a:gd name="connsiteX10" fmla="*/ 823441 w 6979418"/>
              <a:gd name="connsiteY10" fmla="*/ 379205 h 1373904"/>
              <a:gd name="connsiteX11" fmla="*/ 846445 w 6979418"/>
              <a:gd name="connsiteY11" fmla="*/ 367703 h 1373904"/>
              <a:gd name="connsiteX12" fmla="*/ 869449 w 6979418"/>
              <a:gd name="connsiteY12" fmla="*/ 361952 h 1373904"/>
              <a:gd name="connsiteX13" fmla="*/ 886701 w 6979418"/>
              <a:gd name="connsiteY13" fmla="*/ 356202 h 1373904"/>
              <a:gd name="connsiteX14" fmla="*/ 932709 w 6979418"/>
              <a:gd name="connsiteY14" fmla="*/ 344700 h 1373904"/>
              <a:gd name="connsiteX15" fmla="*/ 955713 w 6979418"/>
              <a:gd name="connsiteY15" fmla="*/ 338949 h 1373904"/>
              <a:gd name="connsiteX16" fmla="*/ 984467 w 6979418"/>
              <a:gd name="connsiteY16" fmla="*/ 321696 h 1373904"/>
              <a:gd name="connsiteX17" fmla="*/ 1018973 w 6979418"/>
              <a:gd name="connsiteY17" fmla="*/ 310194 h 1373904"/>
              <a:gd name="connsiteX18" fmla="*/ 1036226 w 6979418"/>
              <a:gd name="connsiteY18" fmla="*/ 304443 h 1373904"/>
              <a:gd name="connsiteX19" fmla="*/ 1099486 w 6979418"/>
              <a:gd name="connsiteY19" fmla="*/ 287190 h 1373904"/>
              <a:gd name="connsiteX20" fmla="*/ 1151245 w 6979418"/>
              <a:gd name="connsiteY20" fmla="*/ 264186 h 1373904"/>
              <a:gd name="connsiteX21" fmla="*/ 1168498 w 6979418"/>
              <a:gd name="connsiteY21" fmla="*/ 258436 h 1373904"/>
              <a:gd name="connsiteX22" fmla="*/ 1191501 w 6979418"/>
              <a:gd name="connsiteY22" fmla="*/ 246934 h 1373904"/>
              <a:gd name="connsiteX23" fmla="*/ 1208754 w 6979418"/>
              <a:gd name="connsiteY23" fmla="*/ 241183 h 1373904"/>
              <a:gd name="connsiteX24" fmla="*/ 1231758 w 6979418"/>
              <a:gd name="connsiteY24" fmla="*/ 229681 h 1373904"/>
              <a:gd name="connsiteX25" fmla="*/ 1266264 w 6979418"/>
              <a:gd name="connsiteY25" fmla="*/ 223930 h 1373904"/>
              <a:gd name="connsiteX26" fmla="*/ 1300769 w 6979418"/>
              <a:gd name="connsiteY26" fmla="*/ 212428 h 1373904"/>
              <a:gd name="connsiteX27" fmla="*/ 1335275 w 6979418"/>
              <a:gd name="connsiteY27" fmla="*/ 206677 h 1373904"/>
              <a:gd name="connsiteX28" fmla="*/ 1358279 w 6979418"/>
              <a:gd name="connsiteY28" fmla="*/ 200926 h 1373904"/>
              <a:gd name="connsiteX29" fmla="*/ 1565313 w 6979418"/>
              <a:gd name="connsiteY29" fmla="*/ 195175 h 1373904"/>
              <a:gd name="connsiteX30" fmla="*/ 1749343 w 6979418"/>
              <a:gd name="connsiteY30" fmla="*/ 200926 h 1373904"/>
              <a:gd name="connsiteX31" fmla="*/ 1783849 w 6979418"/>
              <a:gd name="connsiteY31" fmla="*/ 218179 h 1373904"/>
              <a:gd name="connsiteX32" fmla="*/ 1824105 w 6979418"/>
              <a:gd name="connsiteY32" fmla="*/ 229681 h 1373904"/>
              <a:gd name="connsiteX33" fmla="*/ 1847109 w 6979418"/>
              <a:gd name="connsiteY33" fmla="*/ 241183 h 1373904"/>
              <a:gd name="connsiteX34" fmla="*/ 1870113 w 6979418"/>
              <a:gd name="connsiteY34" fmla="*/ 246934 h 1373904"/>
              <a:gd name="connsiteX35" fmla="*/ 1904618 w 6979418"/>
              <a:gd name="connsiteY35" fmla="*/ 258436 h 1373904"/>
              <a:gd name="connsiteX36" fmla="*/ 1921871 w 6979418"/>
              <a:gd name="connsiteY36" fmla="*/ 264186 h 1373904"/>
              <a:gd name="connsiteX37" fmla="*/ 1973630 w 6979418"/>
              <a:gd name="connsiteY37" fmla="*/ 269937 h 1373904"/>
              <a:gd name="connsiteX38" fmla="*/ 2036890 w 6979418"/>
              <a:gd name="connsiteY38" fmla="*/ 281439 h 1373904"/>
              <a:gd name="connsiteX39" fmla="*/ 2100151 w 6979418"/>
              <a:gd name="connsiteY39" fmla="*/ 287190 h 1373904"/>
              <a:gd name="connsiteX40" fmla="*/ 2169162 w 6979418"/>
              <a:gd name="connsiteY40" fmla="*/ 298692 h 1373904"/>
              <a:gd name="connsiteX41" fmla="*/ 2232422 w 6979418"/>
              <a:gd name="connsiteY41" fmla="*/ 304443 h 1373904"/>
              <a:gd name="connsiteX42" fmla="*/ 2295683 w 6979418"/>
              <a:gd name="connsiteY42" fmla="*/ 321696 h 1373904"/>
              <a:gd name="connsiteX43" fmla="*/ 2335939 w 6979418"/>
              <a:gd name="connsiteY43" fmla="*/ 333198 h 1373904"/>
              <a:gd name="connsiteX44" fmla="*/ 2358943 w 6979418"/>
              <a:gd name="connsiteY44" fmla="*/ 344700 h 1373904"/>
              <a:gd name="connsiteX45" fmla="*/ 2393449 w 6979418"/>
              <a:gd name="connsiteY45" fmla="*/ 350451 h 1373904"/>
              <a:gd name="connsiteX46" fmla="*/ 2422203 w 6979418"/>
              <a:gd name="connsiteY46" fmla="*/ 356202 h 1373904"/>
              <a:gd name="connsiteX47" fmla="*/ 2445207 w 6979418"/>
              <a:gd name="connsiteY47" fmla="*/ 361952 h 1373904"/>
              <a:gd name="connsiteX48" fmla="*/ 2623486 w 6979418"/>
              <a:gd name="connsiteY48" fmla="*/ 367703 h 1373904"/>
              <a:gd name="connsiteX49" fmla="*/ 2692498 w 6979418"/>
              <a:gd name="connsiteY49" fmla="*/ 373454 h 1373904"/>
              <a:gd name="connsiteX50" fmla="*/ 2715501 w 6979418"/>
              <a:gd name="connsiteY50" fmla="*/ 384956 h 1373904"/>
              <a:gd name="connsiteX51" fmla="*/ 2767260 w 6979418"/>
              <a:gd name="connsiteY51" fmla="*/ 407960 h 1373904"/>
              <a:gd name="connsiteX52" fmla="*/ 2819018 w 6979418"/>
              <a:gd name="connsiteY52" fmla="*/ 430964 h 1373904"/>
              <a:gd name="connsiteX53" fmla="*/ 2870777 w 6979418"/>
              <a:gd name="connsiteY53" fmla="*/ 453968 h 1373904"/>
              <a:gd name="connsiteX54" fmla="*/ 2893781 w 6979418"/>
              <a:gd name="connsiteY54" fmla="*/ 465469 h 1373904"/>
              <a:gd name="connsiteX55" fmla="*/ 2945539 w 6979418"/>
              <a:gd name="connsiteY55" fmla="*/ 482722 h 1373904"/>
              <a:gd name="connsiteX56" fmla="*/ 2962792 w 6979418"/>
              <a:gd name="connsiteY56" fmla="*/ 488473 h 1373904"/>
              <a:gd name="connsiteX57" fmla="*/ 2991547 w 6979418"/>
              <a:gd name="connsiteY57" fmla="*/ 505726 h 1373904"/>
              <a:gd name="connsiteX58" fmla="*/ 3031803 w 6979418"/>
              <a:gd name="connsiteY58" fmla="*/ 517228 h 1373904"/>
              <a:gd name="connsiteX59" fmla="*/ 3066309 w 6979418"/>
              <a:gd name="connsiteY59" fmla="*/ 528730 h 1373904"/>
              <a:gd name="connsiteX60" fmla="*/ 3106566 w 6979418"/>
              <a:gd name="connsiteY60" fmla="*/ 534481 h 1373904"/>
              <a:gd name="connsiteX61" fmla="*/ 3261841 w 6979418"/>
              <a:gd name="connsiteY61" fmla="*/ 545983 h 1373904"/>
              <a:gd name="connsiteX62" fmla="*/ 3451622 w 6979418"/>
              <a:gd name="connsiteY62" fmla="*/ 557485 h 1373904"/>
              <a:gd name="connsiteX63" fmla="*/ 3572392 w 6979418"/>
              <a:gd name="connsiteY63" fmla="*/ 568986 h 1373904"/>
              <a:gd name="connsiteX64" fmla="*/ 3710415 w 6979418"/>
              <a:gd name="connsiteY64" fmla="*/ 580488 h 1373904"/>
              <a:gd name="connsiteX65" fmla="*/ 3767924 w 6979418"/>
              <a:gd name="connsiteY65" fmla="*/ 586239 h 1373904"/>
              <a:gd name="connsiteX66" fmla="*/ 3951954 w 6979418"/>
              <a:gd name="connsiteY66" fmla="*/ 597741 h 1373904"/>
              <a:gd name="connsiteX67" fmla="*/ 4193494 w 6979418"/>
              <a:gd name="connsiteY67" fmla="*/ 609243 h 1373904"/>
              <a:gd name="connsiteX68" fmla="*/ 4498294 w 6979418"/>
              <a:gd name="connsiteY68" fmla="*/ 603492 h 1373904"/>
              <a:gd name="connsiteX69" fmla="*/ 4538551 w 6979418"/>
              <a:gd name="connsiteY69" fmla="*/ 591990 h 1373904"/>
              <a:gd name="connsiteX70" fmla="*/ 4590309 w 6979418"/>
              <a:gd name="connsiteY70" fmla="*/ 580488 h 1373904"/>
              <a:gd name="connsiteX71" fmla="*/ 4619064 w 6979418"/>
              <a:gd name="connsiteY71" fmla="*/ 574737 h 1373904"/>
              <a:gd name="connsiteX72" fmla="*/ 4647818 w 6979418"/>
              <a:gd name="connsiteY72" fmla="*/ 563236 h 1373904"/>
              <a:gd name="connsiteX73" fmla="*/ 4711079 w 6979418"/>
              <a:gd name="connsiteY73" fmla="*/ 551734 h 1373904"/>
              <a:gd name="connsiteX74" fmla="*/ 4757086 w 6979418"/>
              <a:gd name="connsiteY74" fmla="*/ 540232 h 1373904"/>
              <a:gd name="connsiteX75" fmla="*/ 4820347 w 6979418"/>
              <a:gd name="connsiteY75" fmla="*/ 522979 h 1373904"/>
              <a:gd name="connsiteX76" fmla="*/ 4837600 w 6979418"/>
              <a:gd name="connsiteY76" fmla="*/ 511477 h 1373904"/>
              <a:gd name="connsiteX77" fmla="*/ 4877856 w 6979418"/>
              <a:gd name="connsiteY77" fmla="*/ 499975 h 1373904"/>
              <a:gd name="connsiteX78" fmla="*/ 4941117 w 6979418"/>
              <a:gd name="connsiteY78" fmla="*/ 476971 h 1373904"/>
              <a:gd name="connsiteX79" fmla="*/ 4975622 w 6979418"/>
              <a:gd name="connsiteY79" fmla="*/ 465469 h 1373904"/>
              <a:gd name="connsiteX80" fmla="*/ 4998626 w 6979418"/>
              <a:gd name="connsiteY80" fmla="*/ 453968 h 1373904"/>
              <a:gd name="connsiteX81" fmla="*/ 5044634 w 6979418"/>
              <a:gd name="connsiteY81" fmla="*/ 448217 h 1373904"/>
              <a:gd name="connsiteX82" fmla="*/ 5096392 w 6979418"/>
              <a:gd name="connsiteY82" fmla="*/ 436715 h 1373904"/>
              <a:gd name="connsiteX83" fmla="*/ 5125147 w 6979418"/>
              <a:gd name="connsiteY83" fmla="*/ 430964 h 1373904"/>
              <a:gd name="connsiteX84" fmla="*/ 5159652 w 6979418"/>
              <a:gd name="connsiteY84" fmla="*/ 425213 h 1373904"/>
              <a:gd name="connsiteX85" fmla="*/ 5314928 w 6979418"/>
              <a:gd name="connsiteY85" fmla="*/ 419462 h 1373904"/>
              <a:gd name="connsiteX86" fmla="*/ 5648945 w 6979418"/>
              <a:gd name="connsiteY86" fmla="*/ 366152 h 1373904"/>
              <a:gd name="connsiteX87" fmla="*/ 5788276 w 6979418"/>
              <a:gd name="connsiteY87" fmla="*/ 319184 h 1373904"/>
              <a:gd name="connsiteX88" fmla="*/ 5880969 w 6979418"/>
              <a:gd name="connsiteY88" fmla="*/ 278336 h 1373904"/>
              <a:gd name="connsiteX89" fmla="*/ 6413358 w 6979418"/>
              <a:gd name="connsiteY89" fmla="*/ 344700 h 1373904"/>
              <a:gd name="connsiteX90" fmla="*/ 6482369 w 6979418"/>
              <a:gd name="connsiteY90" fmla="*/ 315945 h 1373904"/>
              <a:gd name="connsiteX91" fmla="*/ 6626143 w 6979418"/>
              <a:gd name="connsiteY91" fmla="*/ 258436 h 1373904"/>
              <a:gd name="connsiteX92" fmla="*/ 6672151 w 6979418"/>
              <a:gd name="connsiteY92" fmla="*/ 235432 h 1373904"/>
              <a:gd name="connsiteX93" fmla="*/ 6758415 w 6979418"/>
              <a:gd name="connsiteY93" fmla="*/ 206677 h 1373904"/>
              <a:gd name="connsiteX94" fmla="*/ 6833177 w 6979418"/>
              <a:gd name="connsiteY94" fmla="*/ 189424 h 1373904"/>
              <a:gd name="connsiteX95" fmla="*/ 5880969 w 6979418"/>
              <a:gd name="connsiteY95" fmla="*/ 1343222 h 1373904"/>
              <a:gd name="connsiteX0" fmla="*/ 1 w 6758415"/>
              <a:gd name="connsiteY0" fmla="*/ 1178729 h 1178729"/>
              <a:gd name="connsiteX1" fmla="*/ 0 w 6758415"/>
              <a:gd name="connsiteY1" fmla="*/ 171938 h 1178729"/>
              <a:gd name="connsiteX2" fmla="*/ 150581 w 6758415"/>
              <a:gd name="connsiteY2" fmla="*/ 189781 h 1178729"/>
              <a:gd name="connsiteX3" fmla="*/ 202339 w 6758415"/>
              <a:gd name="connsiteY3" fmla="*/ 195532 h 1178729"/>
              <a:gd name="connsiteX4" fmla="*/ 236845 w 6758415"/>
              <a:gd name="connsiteY4" fmla="*/ 201283 h 1178729"/>
              <a:gd name="connsiteX5" fmla="*/ 426626 w 6758415"/>
              <a:gd name="connsiteY5" fmla="*/ 212785 h 1178729"/>
              <a:gd name="connsiteX6" fmla="*/ 656664 w 6758415"/>
              <a:gd name="connsiteY6" fmla="*/ 207034 h 1178729"/>
              <a:gd name="connsiteX7" fmla="*/ 685418 w 6758415"/>
              <a:gd name="connsiteY7" fmla="*/ 201283 h 1178729"/>
              <a:gd name="connsiteX8" fmla="*/ 748679 w 6758415"/>
              <a:gd name="connsiteY8" fmla="*/ 195532 h 1178729"/>
              <a:gd name="connsiteX9" fmla="*/ 777434 w 6758415"/>
              <a:gd name="connsiteY9" fmla="*/ 189781 h 1178729"/>
              <a:gd name="connsiteX10" fmla="*/ 823441 w 6758415"/>
              <a:gd name="connsiteY10" fmla="*/ 184030 h 1178729"/>
              <a:gd name="connsiteX11" fmla="*/ 846445 w 6758415"/>
              <a:gd name="connsiteY11" fmla="*/ 172528 h 1178729"/>
              <a:gd name="connsiteX12" fmla="*/ 869449 w 6758415"/>
              <a:gd name="connsiteY12" fmla="*/ 166777 h 1178729"/>
              <a:gd name="connsiteX13" fmla="*/ 886701 w 6758415"/>
              <a:gd name="connsiteY13" fmla="*/ 161027 h 1178729"/>
              <a:gd name="connsiteX14" fmla="*/ 932709 w 6758415"/>
              <a:gd name="connsiteY14" fmla="*/ 149525 h 1178729"/>
              <a:gd name="connsiteX15" fmla="*/ 955713 w 6758415"/>
              <a:gd name="connsiteY15" fmla="*/ 143774 h 1178729"/>
              <a:gd name="connsiteX16" fmla="*/ 984467 w 6758415"/>
              <a:gd name="connsiteY16" fmla="*/ 126521 h 1178729"/>
              <a:gd name="connsiteX17" fmla="*/ 1018973 w 6758415"/>
              <a:gd name="connsiteY17" fmla="*/ 115019 h 1178729"/>
              <a:gd name="connsiteX18" fmla="*/ 1036226 w 6758415"/>
              <a:gd name="connsiteY18" fmla="*/ 109268 h 1178729"/>
              <a:gd name="connsiteX19" fmla="*/ 1099486 w 6758415"/>
              <a:gd name="connsiteY19" fmla="*/ 92015 h 1178729"/>
              <a:gd name="connsiteX20" fmla="*/ 1151245 w 6758415"/>
              <a:gd name="connsiteY20" fmla="*/ 69011 h 1178729"/>
              <a:gd name="connsiteX21" fmla="*/ 1168498 w 6758415"/>
              <a:gd name="connsiteY21" fmla="*/ 63261 h 1178729"/>
              <a:gd name="connsiteX22" fmla="*/ 1191501 w 6758415"/>
              <a:gd name="connsiteY22" fmla="*/ 51759 h 1178729"/>
              <a:gd name="connsiteX23" fmla="*/ 1208754 w 6758415"/>
              <a:gd name="connsiteY23" fmla="*/ 46008 h 1178729"/>
              <a:gd name="connsiteX24" fmla="*/ 1231758 w 6758415"/>
              <a:gd name="connsiteY24" fmla="*/ 34506 h 1178729"/>
              <a:gd name="connsiteX25" fmla="*/ 1266264 w 6758415"/>
              <a:gd name="connsiteY25" fmla="*/ 28755 h 1178729"/>
              <a:gd name="connsiteX26" fmla="*/ 1300769 w 6758415"/>
              <a:gd name="connsiteY26" fmla="*/ 17253 h 1178729"/>
              <a:gd name="connsiteX27" fmla="*/ 1335275 w 6758415"/>
              <a:gd name="connsiteY27" fmla="*/ 11502 h 1178729"/>
              <a:gd name="connsiteX28" fmla="*/ 1358279 w 6758415"/>
              <a:gd name="connsiteY28" fmla="*/ 5751 h 1178729"/>
              <a:gd name="connsiteX29" fmla="*/ 1565313 w 6758415"/>
              <a:gd name="connsiteY29" fmla="*/ 0 h 1178729"/>
              <a:gd name="connsiteX30" fmla="*/ 1749343 w 6758415"/>
              <a:gd name="connsiteY30" fmla="*/ 5751 h 1178729"/>
              <a:gd name="connsiteX31" fmla="*/ 1783849 w 6758415"/>
              <a:gd name="connsiteY31" fmla="*/ 23004 h 1178729"/>
              <a:gd name="connsiteX32" fmla="*/ 1824105 w 6758415"/>
              <a:gd name="connsiteY32" fmla="*/ 34506 h 1178729"/>
              <a:gd name="connsiteX33" fmla="*/ 1847109 w 6758415"/>
              <a:gd name="connsiteY33" fmla="*/ 46008 h 1178729"/>
              <a:gd name="connsiteX34" fmla="*/ 1870113 w 6758415"/>
              <a:gd name="connsiteY34" fmla="*/ 51759 h 1178729"/>
              <a:gd name="connsiteX35" fmla="*/ 1904618 w 6758415"/>
              <a:gd name="connsiteY35" fmla="*/ 63261 h 1178729"/>
              <a:gd name="connsiteX36" fmla="*/ 1921871 w 6758415"/>
              <a:gd name="connsiteY36" fmla="*/ 69011 h 1178729"/>
              <a:gd name="connsiteX37" fmla="*/ 1973630 w 6758415"/>
              <a:gd name="connsiteY37" fmla="*/ 74762 h 1178729"/>
              <a:gd name="connsiteX38" fmla="*/ 2036890 w 6758415"/>
              <a:gd name="connsiteY38" fmla="*/ 86264 h 1178729"/>
              <a:gd name="connsiteX39" fmla="*/ 2100151 w 6758415"/>
              <a:gd name="connsiteY39" fmla="*/ 92015 h 1178729"/>
              <a:gd name="connsiteX40" fmla="*/ 2169162 w 6758415"/>
              <a:gd name="connsiteY40" fmla="*/ 103517 h 1178729"/>
              <a:gd name="connsiteX41" fmla="*/ 2232422 w 6758415"/>
              <a:gd name="connsiteY41" fmla="*/ 109268 h 1178729"/>
              <a:gd name="connsiteX42" fmla="*/ 2295683 w 6758415"/>
              <a:gd name="connsiteY42" fmla="*/ 126521 h 1178729"/>
              <a:gd name="connsiteX43" fmla="*/ 2335939 w 6758415"/>
              <a:gd name="connsiteY43" fmla="*/ 138023 h 1178729"/>
              <a:gd name="connsiteX44" fmla="*/ 2358943 w 6758415"/>
              <a:gd name="connsiteY44" fmla="*/ 149525 h 1178729"/>
              <a:gd name="connsiteX45" fmla="*/ 2393449 w 6758415"/>
              <a:gd name="connsiteY45" fmla="*/ 155276 h 1178729"/>
              <a:gd name="connsiteX46" fmla="*/ 2422203 w 6758415"/>
              <a:gd name="connsiteY46" fmla="*/ 161027 h 1178729"/>
              <a:gd name="connsiteX47" fmla="*/ 2445207 w 6758415"/>
              <a:gd name="connsiteY47" fmla="*/ 166777 h 1178729"/>
              <a:gd name="connsiteX48" fmla="*/ 2623486 w 6758415"/>
              <a:gd name="connsiteY48" fmla="*/ 172528 h 1178729"/>
              <a:gd name="connsiteX49" fmla="*/ 2692498 w 6758415"/>
              <a:gd name="connsiteY49" fmla="*/ 178279 h 1178729"/>
              <a:gd name="connsiteX50" fmla="*/ 2715501 w 6758415"/>
              <a:gd name="connsiteY50" fmla="*/ 189781 h 1178729"/>
              <a:gd name="connsiteX51" fmla="*/ 2767260 w 6758415"/>
              <a:gd name="connsiteY51" fmla="*/ 212785 h 1178729"/>
              <a:gd name="connsiteX52" fmla="*/ 2819018 w 6758415"/>
              <a:gd name="connsiteY52" fmla="*/ 235789 h 1178729"/>
              <a:gd name="connsiteX53" fmla="*/ 2870777 w 6758415"/>
              <a:gd name="connsiteY53" fmla="*/ 258793 h 1178729"/>
              <a:gd name="connsiteX54" fmla="*/ 2893781 w 6758415"/>
              <a:gd name="connsiteY54" fmla="*/ 270294 h 1178729"/>
              <a:gd name="connsiteX55" fmla="*/ 2945539 w 6758415"/>
              <a:gd name="connsiteY55" fmla="*/ 287547 h 1178729"/>
              <a:gd name="connsiteX56" fmla="*/ 2962792 w 6758415"/>
              <a:gd name="connsiteY56" fmla="*/ 293298 h 1178729"/>
              <a:gd name="connsiteX57" fmla="*/ 2991547 w 6758415"/>
              <a:gd name="connsiteY57" fmla="*/ 310551 h 1178729"/>
              <a:gd name="connsiteX58" fmla="*/ 3031803 w 6758415"/>
              <a:gd name="connsiteY58" fmla="*/ 322053 h 1178729"/>
              <a:gd name="connsiteX59" fmla="*/ 3066309 w 6758415"/>
              <a:gd name="connsiteY59" fmla="*/ 333555 h 1178729"/>
              <a:gd name="connsiteX60" fmla="*/ 3106566 w 6758415"/>
              <a:gd name="connsiteY60" fmla="*/ 339306 h 1178729"/>
              <a:gd name="connsiteX61" fmla="*/ 3261841 w 6758415"/>
              <a:gd name="connsiteY61" fmla="*/ 350808 h 1178729"/>
              <a:gd name="connsiteX62" fmla="*/ 3451622 w 6758415"/>
              <a:gd name="connsiteY62" fmla="*/ 362310 h 1178729"/>
              <a:gd name="connsiteX63" fmla="*/ 3572392 w 6758415"/>
              <a:gd name="connsiteY63" fmla="*/ 373811 h 1178729"/>
              <a:gd name="connsiteX64" fmla="*/ 3710415 w 6758415"/>
              <a:gd name="connsiteY64" fmla="*/ 385313 h 1178729"/>
              <a:gd name="connsiteX65" fmla="*/ 3767924 w 6758415"/>
              <a:gd name="connsiteY65" fmla="*/ 391064 h 1178729"/>
              <a:gd name="connsiteX66" fmla="*/ 3951954 w 6758415"/>
              <a:gd name="connsiteY66" fmla="*/ 402566 h 1178729"/>
              <a:gd name="connsiteX67" fmla="*/ 4193494 w 6758415"/>
              <a:gd name="connsiteY67" fmla="*/ 414068 h 1178729"/>
              <a:gd name="connsiteX68" fmla="*/ 4498294 w 6758415"/>
              <a:gd name="connsiteY68" fmla="*/ 408317 h 1178729"/>
              <a:gd name="connsiteX69" fmla="*/ 4538551 w 6758415"/>
              <a:gd name="connsiteY69" fmla="*/ 396815 h 1178729"/>
              <a:gd name="connsiteX70" fmla="*/ 4590309 w 6758415"/>
              <a:gd name="connsiteY70" fmla="*/ 385313 h 1178729"/>
              <a:gd name="connsiteX71" fmla="*/ 4619064 w 6758415"/>
              <a:gd name="connsiteY71" fmla="*/ 379562 h 1178729"/>
              <a:gd name="connsiteX72" fmla="*/ 4647818 w 6758415"/>
              <a:gd name="connsiteY72" fmla="*/ 368061 h 1178729"/>
              <a:gd name="connsiteX73" fmla="*/ 4711079 w 6758415"/>
              <a:gd name="connsiteY73" fmla="*/ 356559 h 1178729"/>
              <a:gd name="connsiteX74" fmla="*/ 4757086 w 6758415"/>
              <a:gd name="connsiteY74" fmla="*/ 345057 h 1178729"/>
              <a:gd name="connsiteX75" fmla="*/ 4820347 w 6758415"/>
              <a:gd name="connsiteY75" fmla="*/ 327804 h 1178729"/>
              <a:gd name="connsiteX76" fmla="*/ 4837600 w 6758415"/>
              <a:gd name="connsiteY76" fmla="*/ 316302 h 1178729"/>
              <a:gd name="connsiteX77" fmla="*/ 4877856 w 6758415"/>
              <a:gd name="connsiteY77" fmla="*/ 304800 h 1178729"/>
              <a:gd name="connsiteX78" fmla="*/ 4941117 w 6758415"/>
              <a:gd name="connsiteY78" fmla="*/ 281796 h 1178729"/>
              <a:gd name="connsiteX79" fmla="*/ 4975622 w 6758415"/>
              <a:gd name="connsiteY79" fmla="*/ 270294 h 1178729"/>
              <a:gd name="connsiteX80" fmla="*/ 4998626 w 6758415"/>
              <a:gd name="connsiteY80" fmla="*/ 258793 h 1178729"/>
              <a:gd name="connsiteX81" fmla="*/ 5044634 w 6758415"/>
              <a:gd name="connsiteY81" fmla="*/ 253042 h 1178729"/>
              <a:gd name="connsiteX82" fmla="*/ 5096392 w 6758415"/>
              <a:gd name="connsiteY82" fmla="*/ 241540 h 1178729"/>
              <a:gd name="connsiteX83" fmla="*/ 5125147 w 6758415"/>
              <a:gd name="connsiteY83" fmla="*/ 235789 h 1178729"/>
              <a:gd name="connsiteX84" fmla="*/ 5159652 w 6758415"/>
              <a:gd name="connsiteY84" fmla="*/ 230038 h 1178729"/>
              <a:gd name="connsiteX85" fmla="*/ 5314928 w 6758415"/>
              <a:gd name="connsiteY85" fmla="*/ 224287 h 1178729"/>
              <a:gd name="connsiteX86" fmla="*/ 5648945 w 6758415"/>
              <a:gd name="connsiteY86" fmla="*/ 170977 h 1178729"/>
              <a:gd name="connsiteX87" fmla="*/ 5788276 w 6758415"/>
              <a:gd name="connsiteY87" fmla="*/ 124009 h 1178729"/>
              <a:gd name="connsiteX88" fmla="*/ 5880969 w 6758415"/>
              <a:gd name="connsiteY88" fmla="*/ 83161 h 1178729"/>
              <a:gd name="connsiteX89" fmla="*/ 6413358 w 6758415"/>
              <a:gd name="connsiteY89" fmla="*/ 149525 h 1178729"/>
              <a:gd name="connsiteX90" fmla="*/ 6482369 w 6758415"/>
              <a:gd name="connsiteY90" fmla="*/ 120770 h 1178729"/>
              <a:gd name="connsiteX91" fmla="*/ 6626143 w 6758415"/>
              <a:gd name="connsiteY91" fmla="*/ 63261 h 1178729"/>
              <a:gd name="connsiteX92" fmla="*/ 6672151 w 6758415"/>
              <a:gd name="connsiteY92" fmla="*/ 40257 h 1178729"/>
              <a:gd name="connsiteX93" fmla="*/ 6758415 w 6758415"/>
              <a:gd name="connsiteY93" fmla="*/ 11502 h 1178729"/>
              <a:gd name="connsiteX94" fmla="*/ 5880969 w 6758415"/>
              <a:gd name="connsiteY94" fmla="*/ 1148047 h 1178729"/>
              <a:gd name="connsiteX0" fmla="*/ 1 w 6672151"/>
              <a:gd name="connsiteY0" fmla="*/ 1178729 h 1178729"/>
              <a:gd name="connsiteX1" fmla="*/ 0 w 6672151"/>
              <a:gd name="connsiteY1" fmla="*/ 171938 h 1178729"/>
              <a:gd name="connsiteX2" fmla="*/ 150581 w 6672151"/>
              <a:gd name="connsiteY2" fmla="*/ 189781 h 1178729"/>
              <a:gd name="connsiteX3" fmla="*/ 202339 w 6672151"/>
              <a:gd name="connsiteY3" fmla="*/ 195532 h 1178729"/>
              <a:gd name="connsiteX4" fmla="*/ 236845 w 6672151"/>
              <a:gd name="connsiteY4" fmla="*/ 201283 h 1178729"/>
              <a:gd name="connsiteX5" fmla="*/ 426626 w 6672151"/>
              <a:gd name="connsiteY5" fmla="*/ 212785 h 1178729"/>
              <a:gd name="connsiteX6" fmla="*/ 656664 w 6672151"/>
              <a:gd name="connsiteY6" fmla="*/ 207034 h 1178729"/>
              <a:gd name="connsiteX7" fmla="*/ 685418 w 6672151"/>
              <a:gd name="connsiteY7" fmla="*/ 201283 h 1178729"/>
              <a:gd name="connsiteX8" fmla="*/ 748679 w 6672151"/>
              <a:gd name="connsiteY8" fmla="*/ 195532 h 1178729"/>
              <a:gd name="connsiteX9" fmla="*/ 777434 w 6672151"/>
              <a:gd name="connsiteY9" fmla="*/ 189781 h 1178729"/>
              <a:gd name="connsiteX10" fmla="*/ 823441 w 6672151"/>
              <a:gd name="connsiteY10" fmla="*/ 184030 h 1178729"/>
              <a:gd name="connsiteX11" fmla="*/ 846445 w 6672151"/>
              <a:gd name="connsiteY11" fmla="*/ 172528 h 1178729"/>
              <a:gd name="connsiteX12" fmla="*/ 869449 w 6672151"/>
              <a:gd name="connsiteY12" fmla="*/ 166777 h 1178729"/>
              <a:gd name="connsiteX13" fmla="*/ 886701 w 6672151"/>
              <a:gd name="connsiteY13" fmla="*/ 161027 h 1178729"/>
              <a:gd name="connsiteX14" fmla="*/ 932709 w 6672151"/>
              <a:gd name="connsiteY14" fmla="*/ 149525 h 1178729"/>
              <a:gd name="connsiteX15" fmla="*/ 955713 w 6672151"/>
              <a:gd name="connsiteY15" fmla="*/ 143774 h 1178729"/>
              <a:gd name="connsiteX16" fmla="*/ 984467 w 6672151"/>
              <a:gd name="connsiteY16" fmla="*/ 126521 h 1178729"/>
              <a:gd name="connsiteX17" fmla="*/ 1018973 w 6672151"/>
              <a:gd name="connsiteY17" fmla="*/ 115019 h 1178729"/>
              <a:gd name="connsiteX18" fmla="*/ 1036226 w 6672151"/>
              <a:gd name="connsiteY18" fmla="*/ 109268 h 1178729"/>
              <a:gd name="connsiteX19" fmla="*/ 1099486 w 6672151"/>
              <a:gd name="connsiteY19" fmla="*/ 92015 h 1178729"/>
              <a:gd name="connsiteX20" fmla="*/ 1151245 w 6672151"/>
              <a:gd name="connsiteY20" fmla="*/ 69011 h 1178729"/>
              <a:gd name="connsiteX21" fmla="*/ 1168498 w 6672151"/>
              <a:gd name="connsiteY21" fmla="*/ 63261 h 1178729"/>
              <a:gd name="connsiteX22" fmla="*/ 1191501 w 6672151"/>
              <a:gd name="connsiteY22" fmla="*/ 51759 h 1178729"/>
              <a:gd name="connsiteX23" fmla="*/ 1208754 w 6672151"/>
              <a:gd name="connsiteY23" fmla="*/ 46008 h 1178729"/>
              <a:gd name="connsiteX24" fmla="*/ 1231758 w 6672151"/>
              <a:gd name="connsiteY24" fmla="*/ 34506 h 1178729"/>
              <a:gd name="connsiteX25" fmla="*/ 1266264 w 6672151"/>
              <a:gd name="connsiteY25" fmla="*/ 28755 h 1178729"/>
              <a:gd name="connsiteX26" fmla="*/ 1300769 w 6672151"/>
              <a:gd name="connsiteY26" fmla="*/ 17253 h 1178729"/>
              <a:gd name="connsiteX27" fmla="*/ 1335275 w 6672151"/>
              <a:gd name="connsiteY27" fmla="*/ 11502 h 1178729"/>
              <a:gd name="connsiteX28" fmla="*/ 1358279 w 6672151"/>
              <a:gd name="connsiteY28" fmla="*/ 5751 h 1178729"/>
              <a:gd name="connsiteX29" fmla="*/ 1565313 w 6672151"/>
              <a:gd name="connsiteY29" fmla="*/ 0 h 1178729"/>
              <a:gd name="connsiteX30" fmla="*/ 1749343 w 6672151"/>
              <a:gd name="connsiteY30" fmla="*/ 5751 h 1178729"/>
              <a:gd name="connsiteX31" fmla="*/ 1783849 w 6672151"/>
              <a:gd name="connsiteY31" fmla="*/ 23004 h 1178729"/>
              <a:gd name="connsiteX32" fmla="*/ 1824105 w 6672151"/>
              <a:gd name="connsiteY32" fmla="*/ 34506 h 1178729"/>
              <a:gd name="connsiteX33" fmla="*/ 1847109 w 6672151"/>
              <a:gd name="connsiteY33" fmla="*/ 46008 h 1178729"/>
              <a:gd name="connsiteX34" fmla="*/ 1870113 w 6672151"/>
              <a:gd name="connsiteY34" fmla="*/ 51759 h 1178729"/>
              <a:gd name="connsiteX35" fmla="*/ 1904618 w 6672151"/>
              <a:gd name="connsiteY35" fmla="*/ 63261 h 1178729"/>
              <a:gd name="connsiteX36" fmla="*/ 1921871 w 6672151"/>
              <a:gd name="connsiteY36" fmla="*/ 69011 h 1178729"/>
              <a:gd name="connsiteX37" fmla="*/ 1973630 w 6672151"/>
              <a:gd name="connsiteY37" fmla="*/ 74762 h 1178729"/>
              <a:gd name="connsiteX38" fmla="*/ 2036890 w 6672151"/>
              <a:gd name="connsiteY38" fmla="*/ 86264 h 1178729"/>
              <a:gd name="connsiteX39" fmla="*/ 2100151 w 6672151"/>
              <a:gd name="connsiteY39" fmla="*/ 92015 h 1178729"/>
              <a:gd name="connsiteX40" fmla="*/ 2169162 w 6672151"/>
              <a:gd name="connsiteY40" fmla="*/ 103517 h 1178729"/>
              <a:gd name="connsiteX41" fmla="*/ 2232422 w 6672151"/>
              <a:gd name="connsiteY41" fmla="*/ 109268 h 1178729"/>
              <a:gd name="connsiteX42" fmla="*/ 2295683 w 6672151"/>
              <a:gd name="connsiteY42" fmla="*/ 126521 h 1178729"/>
              <a:gd name="connsiteX43" fmla="*/ 2335939 w 6672151"/>
              <a:gd name="connsiteY43" fmla="*/ 138023 h 1178729"/>
              <a:gd name="connsiteX44" fmla="*/ 2358943 w 6672151"/>
              <a:gd name="connsiteY44" fmla="*/ 149525 h 1178729"/>
              <a:gd name="connsiteX45" fmla="*/ 2393449 w 6672151"/>
              <a:gd name="connsiteY45" fmla="*/ 155276 h 1178729"/>
              <a:gd name="connsiteX46" fmla="*/ 2422203 w 6672151"/>
              <a:gd name="connsiteY46" fmla="*/ 161027 h 1178729"/>
              <a:gd name="connsiteX47" fmla="*/ 2445207 w 6672151"/>
              <a:gd name="connsiteY47" fmla="*/ 166777 h 1178729"/>
              <a:gd name="connsiteX48" fmla="*/ 2623486 w 6672151"/>
              <a:gd name="connsiteY48" fmla="*/ 172528 h 1178729"/>
              <a:gd name="connsiteX49" fmla="*/ 2692498 w 6672151"/>
              <a:gd name="connsiteY49" fmla="*/ 178279 h 1178729"/>
              <a:gd name="connsiteX50" fmla="*/ 2715501 w 6672151"/>
              <a:gd name="connsiteY50" fmla="*/ 189781 h 1178729"/>
              <a:gd name="connsiteX51" fmla="*/ 2767260 w 6672151"/>
              <a:gd name="connsiteY51" fmla="*/ 212785 h 1178729"/>
              <a:gd name="connsiteX52" fmla="*/ 2819018 w 6672151"/>
              <a:gd name="connsiteY52" fmla="*/ 235789 h 1178729"/>
              <a:gd name="connsiteX53" fmla="*/ 2870777 w 6672151"/>
              <a:gd name="connsiteY53" fmla="*/ 258793 h 1178729"/>
              <a:gd name="connsiteX54" fmla="*/ 2893781 w 6672151"/>
              <a:gd name="connsiteY54" fmla="*/ 270294 h 1178729"/>
              <a:gd name="connsiteX55" fmla="*/ 2945539 w 6672151"/>
              <a:gd name="connsiteY55" fmla="*/ 287547 h 1178729"/>
              <a:gd name="connsiteX56" fmla="*/ 2962792 w 6672151"/>
              <a:gd name="connsiteY56" fmla="*/ 293298 h 1178729"/>
              <a:gd name="connsiteX57" fmla="*/ 2991547 w 6672151"/>
              <a:gd name="connsiteY57" fmla="*/ 310551 h 1178729"/>
              <a:gd name="connsiteX58" fmla="*/ 3031803 w 6672151"/>
              <a:gd name="connsiteY58" fmla="*/ 322053 h 1178729"/>
              <a:gd name="connsiteX59" fmla="*/ 3066309 w 6672151"/>
              <a:gd name="connsiteY59" fmla="*/ 333555 h 1178729"/>
              <a:gd name="connsiteX60" fmla="*/ 3106566 w 6672151"/>
              <a:gd name="connsiteY60" fmla="*/ 339306 h 1178729"/>
              <a:gd name="connsiteX61" fmla="*/ 3261841 w 6672151"/>
              <a:gd name="connsiteY61" fmla="*/ 350808 h 1178729"/>
              <a:gd name="connsiteX62" fmla="*/ 3451622 w 6672151"/>
              <a:gd name="connsiteY62" fmla="*/ 362310 h 1178729"/>
              <a:gd name="connsiteX63" fmla="*/ 3572392 w 6672151"/>
              <a:gd name="connsiteY63" fmla="*/ 373811 h 1178729"/>
              <a:gd name="connsiteX64" fmla="*/ 3710415 w 6672151"/>
              <a:gd name="connsiteY64" fmla="*/ 385313 h 1178729"/>
              <a:gd name="connsiteX65" fmla="*/ 3767924 w 6672151"/>
              <a:gd name="connsiteY65" fmla="*/ 391064 h 1178729"/>
              <a:gd name="connsiteX66" fmla="*/ 3951954 w 6672151"/>
              <a:gd name="connsiteY66" fmla="*/ 402566 h 1178729"/>
              <a:gd name="connsiteX67" fmla="*/ 4193494 w 6672151"/>
              <a:gd name="connsiteY67" fmla="*/ 414068 h 1178729"/>
              <a:gd name="connsiteX68" fmla="*/ 4498294 w 6672151"/>
              <a:gd name="connsiteY68" fmla="*/ 408317 h 1178729"/>
              <a:gd name="connsiteX69" fmla="*/ 4538551 w 6672151"/>
              <a:gd name="connsiteY69" fmla="*/ 396815 h 1178729"/>
              <a:gd name="connsiteX70" fmla="*/ 4590309 w 6672151"/>
              <a:gd name="connsiteY70" fmla="*/ 385313 h 1178729"/>
              <a:gd name="connsiteX71" fmla="*/ 4619064 w 6672151"/>
              <a:gd name="connsiteY71" fmla="*/ 379562 h 1178729"/>
              <a:gd name="connsiteX72" fmla="*/ 4647818 w 6672151"/>
              <a:gd name="connsiteY72" fmla="*/ 368061 h 1178729"/>
              <a:gd name="connsiteX73" fmla="*/ 4711079 w 6672151"/>
              <a:gd name="connsiteY73" fmla="*/ 356559 h 1178729"/>
              <a:gd name="connsiteX74" fmla="*/ 4757086 w 6672151"/>
              <a:gd name="connsiteY74" fmla="*/ 345057 h 1178729"/>
              <a:gd name="connsiteX75" fmla="*/ 4820347 w 6672151"/>
              <a:gd name="connsiteY75" fmla="*/ 327804 h 1178729"/>
              <a:gd name="connsiteX76" fmla="*/ 4837600 w 6672151"/>
              <a:gd name="connsiteY76" fmla="*/ 316302 h 1178729"/>
              <a:gd name="connsiteX77" fmla="*/ 4877856 w 6672151"/>
              <a:gd name="connsiteY77" fmla="*/ 304800 h 1178729"/>
              <a:gd name="connsiteX78" fmla="*/ 4941117 w 6672151"/>
              <a:gd name="connsiteY78" fmla="*/ 281796 h 1178729"/>
              <a:gd name="connsiteX79" fmla="*/ 4975622 w 6672151"/>
              <a:gd name="connsiteY79" fmla="*/ 270294 h 1178729"/>
              <a:gd name="connsiteX80" fmla="*/ 4998626 w 6672151"/>
              <a:gd name="connsiteY80" fmla="*/ 258793 h 1178729"/>
              <a:gd name="connsiteX81" fmla="*/ 5044634 w 6672151"/>
              <a:gd name="connsiteY81" fmla="*/ 253042 h 1178729"/>
              <a:gd name="connsiteX82" fmla="*/ 5096392 w 6672151"/>
              <a:gd name="connsiteY82" fmla="*/ 241540 h 1178729"/>
              <a:gd name="connsiteX83" fmla="*/ 5125147 w 6672151"/>
              <a:gd name="connsiteY83" fmla="*/ 235789 h 1178729"/>
              <a:gd name="connsiteX84" fmla="*/ 5159652 w 6672151"/>
              <a:gd name="connsiteY84" fmla="*/ 230038 h 1178729"/>
              <a:gd name="connsiteX85" fmla="*/ 5314928 w 6672151"/>
              <a:gd name="connsiteY85" fmla="*/ 224287 h 1178729"/>
              <a:gd name="connsiteX86" fmla="*/ 5648945 w 6672151"/>
              <a:gd name="connsiteY86" fmla="*/ 170977 h 1178729"/>
              <a:gd name="connsiteX87" fmla="*/ 5788276 w 6672151"/>
              <a:gd name="connsiteY87" fmla="*/ 124009 h 1178729"/>
              <a:gd name="connsiteX88" fmla="*/ 5880969 w 6672151"/>
              <a:gd name="connsiteY88" fmla="*/ 83161 h 1178729"/>
              <a:gd name="connsiteX89" fmla="*/ 6413358 w 6672151"/>
              <a:gd name="connsiteY89" fmla="*/ 149525 h 1178729"/>
              <a:gd name="connsiteX90" fmla="*/ 6482369 w 6672151"/>
              <a:gd name="connsiteY90" fmla="*/ 120770 h 1178729"/>
              <a:gd name="connsiteX91" fmla="*/ 6626143 w 6672151"/>
              <a:gd name="connsiteY91" fmla="*/ 63261 h 1178729"/>
              <a:gd name="connsiteX92" fmla="*/ 6672151 w 6672151"/>
              <a:gd name="connsiteY92" fmla="*/ 40257 h 1178729"/>
              <a:gd name="connsiteX93" fmla="*/ 5880969 w 6672151"/>
              <a:gd name="connsiteY93" fmla="*/ 1148047 h 1178729"/>
              <a:gd name="connsiteX0" fmla="*/ 1 w 6626143"/>
              <a:gd name="connsiteY0" fmla="*/ 1178729 h 1178729"/>
              <a:gd name="connsiteX1" fmla="*/ 0 w 6626143"/>
              <a:gd name="connsiteY1" fmla="*/ 171938 h 1178729"/>
              <a:gd name="connsiteX2" fmla="*/ 150581 w 6626143"/>
              <a:gd name="connsiteY2" fmla="*/ 189781 h 1178729"/>
              <a:gd name="connsiteX3" fmla="*/ 202339 w 6626143"/>
              <a:gd name="connsiteY3" fmla="*/ 195532 h 1178729"/>
              <a:gd name="connsiteX4" fmla="*/ 236845 w 6626143"/>
              <a:gd name="connsiteY4" fmla="*/ 201283 h 1178729"/>
              <a:gd name="connsiteX5" fmla="*/ 426626 w 6626143"/>
              <a:gd name="connsiteY5" fmla="*/ 212785 h 1178729"/>
              <a:gd name="connsiteX6" fmla="*/ 656664 w 6626143"/>
              <a:gd name="connsiteY6" fmla="*/ 207034 h 1178729"/>
              <a:gd name="connsiteX7" fmla="*/ 685418 w 6626143"/>
              <a:gd name="connsiteY7" fmla="*/ 201283 h 1178729"/>
              <a:gd name="connsiteX8" fmla="*/ 748679 w 6626143"/>
              <a:gd name="connsiteY8" fmla="*/ 195532 h 1178729"/>
              <a:gd name="connsiteX9" fmla="*/ 777434 w 6626143"/>
              <a:gd name="connsiteY9" fmla="*/ 189781 h 1178729"/>
              <a:gd name="connsiteX10" fmla="*/ 823441 w 6626143"/>
              <a:gd name="connsiteY10" fmla="*/ 184030 h 1178729"/>
              <a:gd name="connsiteX11" fmla="*/ 846445 w 6626143"/>
              <a:gd name="connsiteY11" fmla="*/ 172528 h 1178729"/>
              <a:gd name="connsiteX12" fmla="*/ 869449 w 6626143"/>
              <a:gd name="connsiteY12" fmla="*/ 166777 h 1178729"/>
              <a:gd name="connsiteX13" fmla="*/ 886701 w 6626143"/>
              <a:gd name="connsiteY13" fmla="*/ 161027 h 1178729"/>
              <a:gd name="connsiteX14" fmla="*/ 932709 w 6626143"/>
              <a:gd name="connsiteY14" fmla="*/ 149525 h 1178729"/>
              <a:gd name="connsiteX15" fmla="*/ 955713 w 6626143"/>
              <a:gd name="connsiteY15" fmla="*/ 143774 h 1178729"/>
              <a:gd name="connsiteX16" fmla="*/ 984467 w 6626143"/>
              <a:gd name="connsiteY16" fmla="*/ 126521 h 1178729"/>
              <a:gd name="connsiteX17" fmla="*/ 1018973 w 6626143"/>
              <a:gd name="connsiteY17" fmla="*/ 115019 h 1178729"/>
              <a:gd name="connsiteX18" fmla="*/ 1036226 w 6626143"/>
              <a:gd name="connsiteY18" fmla="*/ 109268 h 1178729"/>
              <a:gd name="connsiteX19" fmla="*/ 1099486 w 6626143"/>
              <a:gd name="connsiteY19" fmla="*/ 92015 h 1178729"/>
              <a:gd name="connsiteX20" fmla="*/ 1151245 w 6626143"/>
              <a:gd name="connsiteY20" fmla="*/ 69011 h 1178729"/>
              <a:gd name="connsiteX21" fmla="*/ 1168498 w 6626143"/>
              <a:gd name="connsiteY21" fmla="*/ 63261 h 1178729"/>
              <a:gd name="connsiteX22" fmla="*/ 1191501 w 6626143"/>
              <a:gd name="connsiteY22" fmla="*/ 51759 h 1178729"/>
              <a:gd name="connsiteX23" fmla="*/ 1208754 w 6626143"/>
              <a:gd name="connsiteY23" fmla="*/ 46008 h 1178729"/>
              <a:gd name="connsiteX24" fmla="*/ 1231758 w 6626143"/>
              <a:gd name="connsiteY24" fmla="*/ 34506 h 1178729"/>
              <a:gd name="connsiteX25" fmla="*/ 1266264 w 6626143"/>
              <a:gd name="connsiteY25" fmla="*/ 28755 h 1178729"/>
              <a:gd name="connsiteX26" fmla="*/ 1300769 w 6626143"/>
              <a:gd name="connsiteY26" fmla="*/ 17253 h 1178729"/>
              <a:gd name="connsiteX27" fmla="*/ 1335275 w 6626143"/>
              <a:gd name="connsiteY27" fmla="*/ 11502 h 1178729"/>
              <a:gd name="connsiteX28" fmla="*/ 1358279 w 6626143"/>
              <a:gd name="connsiteY28" fmla="*/ 5751 h 1178729"/>
              <a:gd name="connsiteX29" fmla="*/ 1565313 w 6626143"/>
              <a:gd name="connsiteY29" fmla="*/ 0 h 1178729"/>
              <a:gd name="connsiteX30" fmla="*/ 1749343 w 6626143"/>
              <a:gd name="connsiteY30" fmla="*/ 5751 h 1178729"/>
              <a:gd name="connsiteX31" fmla="*/ 1783849 w 6626143"/>
              <a:gd name="connsiteY31" fmla="*/ 23004 h 1178729"/>
              <a:gd name="connsiteX32" fmla="*/ 1824105 w 6626143"/>
              <a:gd name="connsiteY32" fmla="*/ 34506 h 1178729"/>
              <a:gd name="connsiteX33" fmla="*/ 1847109 w 6626143"/>
              <a:gd name="connsiteY33" fmla="*/ 46008 h 1178729"/>
              <a:gd name="connsiteX34" fmla="*/ 1870113 w 6626143"/>
              <a:gd name="connsiteY34" fmla="*/ 51759 h 1178729"/>
              <a:gd name="connsiteX35" fmla="*/ 1904618 w 6626143"/>
              <a:gd name="connsiteY35" fmla="*/ 63261 h 1178729"/>
              <a:gd name="connsiteX36" fmla="*/ 1921871 w 6626143"/>
              <a:gd name="connsiteY36" fmla="*/ 69011 h 1178729"/>
              <a:gd name="connsiteX37" fmla="*/ 1973630 w 6626143"/>
              <a:gd name="connsiteY37" fmla="*/ 74762 h 1178729"/>
              <a:gd name="connsiteX38" fmla="*/ 2036890 w 6626143"/>
              <a:gd name="connsiteY38" fmla="*/ 86264 h 1178729"/>
              <a:gd name="connsiteX39" fmla="*/ 2100151 w 6626143"/>
              <a:gd name="connsiteY39" fmla="*/ 92015 h 1178729"/>
              <a:gd name="connsiteX40" fmla="*/ 2169162 w 6626143"/>
              <a:gd name="connsiteY40" fmla="*/ 103517 h 1178729"/>
              <a:gd name="connsiteX41" fmla="*/ 2232422 w 6626143"/>
              <a:gd name="connsiteY41" fmla="*/ 109268 h 1178729"/>
              <a:gd name="connsiteX42" fmla="*/ 2295683 w 6626143"/>
              <a:gd name="connsiteY42" fmla="*/ 126521 h 1178729"/>
              <a:gd name="connsiteX43" fmla="*/ 2335939 w 6626143"/>
              <a:gd name="connsiteY43" fmla="*/ 138023 h 1178729"/>
              <a:gd name="connsiteX44" fmla="*/ 2358943 w 6626143"/>
              <a:gd name="connsiteY44" fmla="*/ 149525 h 1178729"/>
              <a:gd name="connsiteX45" fmla="*/ 2393449 w 6626143"/>
              <a:gd name="connsiteY45" fmla="*/ 155276 h 1178729"/>
              <a:gd name="connsiteX46" fmla="*/ 2422203 w 6626143"/>
              <a:gd name="connsiteY46" fmla="*/ 161027 h 1178729"/>
              <a:gd name="connsiteX47" fmla="*/ 2445207 w 6626143"/>
              <a:gd name="connsiteY47" fmla="*/ 166777 h 1178729"/>
              <a:gd name="connsiteX48" fmla="*/ 2623486 w 6626143"/>
              <a:gd name="connsiteY48" fmla="*/ 172528 h 1178729"/>
              <a:gd name="connsiteX49" fmla="*/ 2692498 w 6626143"/>
              <a:gd name="connsiteY49" fmla="*/ 178279 h 1178729"/>
              <a:gd name="connsiteX50" fmla="*/ 2715501 w 6626143"/>
              <a:gd name="connsiteY50" fmla="*/ 189781 h 1178729"/>
              <a:gd name="connsiteX51" fmla="*/ 2767260 w 6626143"/>
              <a:gd name="connsiteY51" fmla="*/ 212785 h 1178729"/>
              <a:gd name="connsiteX52" fmla="*/ 2819018 w 6626143"/>
              <a:gd name="connsiteY52" fmla="*/ 235789 h 1178729"/>
              <a:gd name="connsiteX53" fmla="*/ 2870777 w 6626143"/>
              <a:gd name="connsiteY53" fmla="*/ 258793 h 1178729"/>
              <a:gd name="connsiteX54" fmla="*/ 2893781 w 6626143"/>
              <a:gd name="connsiteY54" fmla="*/ 270294 h 1178729"/>
              <a:gd name="connsiteX55" fmla="*/ 2945539 w 6626143"/>
              <a:gd name="connsiteY55" fmla="*/ 287547 h 1178729"/>
              <a:gd name="connsiteX56" fmla="*/ 2962792 w 6626143"/>
              <a:gd name="connsiteY56" fmla="*/ 293298 h 1178729"/>
              <a:gd name="connsiteX57" fmla="*/ 2991547 w 6626143"/>
              <a:gd name="connsiteY57" fmla="*/ 310551 h 1178729"/>
              <a:gd name="connsiteX58" fmla="*/ 3031803 w 6626143"/>
              <a:gd name="connsiteY58" fmla="*/ 322053 h 1178729"/>
              <a:gd name="connsiteX59" fmla="*/ 3066309 w 6626143"/>
              <a:gd name="connsiteY59" fmla="*/ 333555 h 1178729"/>
              <a:gd name="connsiteX60" fmla="*/ 3106566 w 6626143"/>
              <a:gd name="connsiteY60" fmla="*/ 339306 h 1178729"/>
              <a:gd name="connsiteX61" fmla="*/ 3261841 w 6626143"/>
              <a:gd name="connsiteY61" fmla="*/ 350808 h 1178729"/>
              <a:gd name="connsiteX62" fmla="*/ 3451622 w 6626143"/>
              <a:gd name="connsiteY62" fmla="*/ 362310 h 1178729"/>
              <a:gd name="connsiteX63" fmla="*/ 3572392 w 6626143"/>
              <a:gd name="connsiteY63" fmla="*/ 373811 h 1178729"/>
              <a:gd name="connsiteX64" fmla="*/ 3710415 w 6626143"/>
              <a:gd name="connsiteY64" fmla="*/ 385313 h 1178729"/>
              <a:gd name="connsiteX65" fmla="*/ 3767924 w 6626143"/>
              <a:gd name="connsiteY65" fmla="*/ 391064 h 1178729"/>
              <a:gd name="connsiteX66" fmla="*/ 3951954 w 6626143"/>
              <a:gd name="connsiteY66" fmla="*/ 402566 h 1178729"/>
              <a:gd name="connsiteX67" fmla="*/ 4193494 w 6626143"/>
              <a:gd name="connsiteY67" fmla="*/ 414068 h 1178729"/>
              <a:gd name="connsiteX68" fmla="*/ 4498294 w 6626143"/>
              <a:gd name="connsiteY68" fmla="*/ 408317 h 1178729"/>
              <a:gd name="connsiteX69" fmla="*/ 4538551 w 6626143"/>
              <a:gd name="connsiteY69" fmla="*/ 396815 h 1178729"/>
              <a:gd name="connsiteX70" fmla="*/ 4590309 w 6626143"/>
              <a:gd name="connsiteY70" fmla="*/ 385313 h 1178729"/>
              <a:gd name="connsiteX71" fmla="*/ 4619064 w 6626143"/>
              <a:gd name="connsiteY71" fmla="*/ 379562 h 1178729"/>
              <a:gd name="connsiteX72" fmla="*/ 4647818 w 6626143"/>
              <a:gd name="connsiteY72" fmla="*/ 368061 h 1178729"/>
              <a:gd name="connsiteX73" fmla="*/ 4711079 w 6626143"/>
              <a:gd name="connsiteY73" fmla="*/ 356559 h 1178729"/>
              <a:gd name="connsiteX74" fmla="*/ 4757086 w 6626143"/>
              <a:gd name="connsiteY74" fmla="*/ 345057 h 1178729"/>
              <a:gd name="connsiteX75" fmla="*/ 4820347 w 6626143"/>
              <a:gd name="connsiteY75" fmla="*/ 327804 h 1178729"/>
              <a:gd name="connsiteX76" fmla="*/ 4837600 w 6626143"/>
              <a:gd name="connsiteY76" fmla="*/ 316302 h 1178729"/>
              <a:gd name="connsiteX77" fmla="*/ 4877856 w 6626143"/>
              <a:gd name="connsiteY77" fmla="*/ 304800 h 1178729"/>
              <a:gd name="connsiteX78" fmla="*/ 4941117 w 6626143"/>
              <a:gd name="connsiteY78" fmla="*/ 281796 h 1178729"/>
              <a:gd name="connsiteX79" fmla="*/ 4975622 w 6626143"/>
              <a:gd name="connsiteY79" fmla="*/ 270294 h 1178729"/>
              <a:gd name="connsiteX80" fmla="*/ 4998626 w 6626143"/>
              <a:gd name="connsiteY80" fmla="*/ 258793 h 1178729"/>
              <a:gd name="connsiteX81" fmla="*/ 5044634 w 6626143"/>
              <a:gd name="connsiteY81" fmla="*/ 253042 h 1178729"/>
              <a:gd name="connsiteX82" fmla="*/ 5096392 w 6626143"/>
              <a:gd name="connsiteY82" fmla="*/ 241540 h 1178729"/>
              <a:gd name="connsiteX83" fmla="*/ 5125147 w 6626143"/>
              <a:gd name="connsiteY83" fmla="*/ 235789 h 1178729"/>
              <a:gd name="connsiteX84" fmla="*/ 5159652 w 6626143"/>
              <a:gd name="connsiteY84" fmla="*/ 230038 h 1178729"/>
              <a:gd name="connsiteX85" fmla="*/ 5314928 w 6626143"/>
              <a:gd name="connsiteY85" fmla="*/ 224287 h 1178729"/>
              <a:gd name="connsiteX86" fmla="*/ 5648945 w 6626143"/>
              <a:gd name="connsiteY86" fmla="*/ 170977 h 1178729"/>
              <a:gd name="connsiteX87" fmla="*/ 5788276 w 6626143"/>
              <a:gd name="connsiteY87" fmla="*/ 124009 h 1178729"/>
              <a:gd name="connsiteX88" fmla="*/ 5880969 w 6626143"/>
              <a:gd name="connsiteY88" fmla="*/ 83161 h 1178729"/>
              <a:gd name="connsiteX89" fmla="*/ 6413358 w 6626143"/>
              <a:gd name="connsiteY89" fmla="*/ 149525 h 1178729"/>
              <a:gd name="connsiteX90" fmla="*/ 6482369 w 6626143"/>
              <a:gd name="connsiteY90" fmla="*/ 120770 h 1178729"/>
              <a:gd name="connsiteX91" fmla="*/ 6626143 w 6626143"/>
              <a:gd name="connsiteY91" fmla="*/ 63261 h 1178729"/>
              <a:gd name="connsiteX92" fmla="*/ 5880969 w 6626143"/>
              <a:gd name="connsiteY92" fmla="*/ 1148047 h 1178729"/>
              <a:gd name="connsiteX0" fmla="*/ 1 w 6513591"/>
              <a:gd name="connsiteY0" fmla="*/ 1178729 h 1178729"/>
              <a:gd name="connsiteX1" fmla="*/ 0 w 6513591"/>
              <a:gd name="connsiteY1" fmla="*/ 171938 h 1178729"/>
              <a:gd name="connsiteX2" fmla="*/ 150581 w 6513591"/>
              <a:gd name="connsiteY2" fmla="*/ 189781 h 1178729"/>
              <a:gd name="connsiteX3" fmla="*/ 202339 w 6513591"/>
              <a:gd name="connsiteY3" fmla="*/ 195532 h 1178729"/>
              <a:gd name="connsiteX4" fmla="*/ 236845 w 6513591"/>
              <a:gd name="connsiteY4" fmla="*/ 201283 h 1178729"/>
              <a:gd name="connsiteX5" fmla="*/ 426626 w 6513591"/>
              <a:gd name="connsiteY5" fmla="*/ 212785 h 1178729"/>
              <a:gd name="connsiteX6" fmla="*/ 656664 w 6513591"/>
              <a:gd name="connsiteY6" fmla="*/ 207034 h 1178729"/>
              <a:gd name="connsiteX7" fmla="*/ 685418 w 6513591"/>
              <a:gd name="connsiteY7" fmla="*/ 201283 h 1178729"/>
              <a:gd name="connsiteX8" fmla="*/ 748679 w 6513591"/>
              <a:gd name="connsiteY8" fmla="*/ 195532 h 1178729"/>
              <a:gd name="connsiteX9" fmla="*/ 777434 w 6513591"/>
              <a:gd name="connsiteY9" fmla="*/ 189781 h 1178729"/>
              <a:gd name="connsiteX10" fmla="*/ 823441 w 6513591"/>
              <a:gd name="connsiteY10" fmla="*/ 184030 h 1178729"/>
              <a:gd name="connsiteX11" fmla="*/ 846445 w 6513591"/>
              <a:gd name="connsiteY11" fmla="*/ 172528 h 1178729"/>
              <a:gd name="connsiteX12" fmla="*/ 869449 w 6513591"/>
              <a:gd name="connsiteY12" fmla="*/ 166777 h 1178729"/>
              <a:gd name="connsiteX13" fmla="*/ 886701 w 6513591"/>
              <a:gd name="connsiteY13" fmla="*/ 161027 h 1178729"/>
              <a:gd name="connsiteX14" fmla="*/ 932709 w 6513591"/>
              <a:gd name="connsiteY14" fmla="*/ 149525 h 1178729"/>
              <a:gd name="connsiteX15" fmla="*/ 955713 w 6513591"/>
              <a:gd name="connsiteY15" fmla="*/ 143774 h 1178729"/>
              <a:gd name="connsiteX16" fmla="*/ 984467 w 6513591"/>
              <a:gd name="connsiteY16" fmla="*/ 126521 h 1178729"/>
              <a:gd name="connsiteX17" fmla="*/ 1018973 w 6513591"/>
              <a:gd name="connsiteY17" fmla="*/ 115019 h 1178729"/>
              <a:gd name="connsiteX18" fmla="*/ 1036226 w 6513591"/>
              <a:gd name="connsiteY18" fmla="*/ 109268 h 1178729"/>
              <a:gd name="connsiteX19" fmla="*/ 1099486 w 6513591"/>
              <a:gd name="connsiteY19" fmla="*/ 92015 h 1178729"/>
              <a:gd name="connsiteX20" fmla="*/ 1151245 w 6513591"/>
              <a:gd name="connsiteY20" fmla="*/ 69011 h 1178729"/>
              <a:gd name="connsiteX21" fmla="*/ 1168498 w 6513591"/>
              <a:gd name="connsiteY21" fmla="*/ 63261 h 1178729"/>
              <a:gd name="connsiteX22" fmla="*/ 1191501 w 6513591"/>
              <a:gd name="connsiteY22" fmla="*/ 51759 h 1178729"/>
              <a:gd name="connsiteX23" fmla="*/ 1208754 w 6513591"/>
              <a:gd name="connsiteY23" fmla="*/ 46008 h 1178729"/>
              <a:gd name="connsiteX24" fmla="*/ 1231758 w 6513591"/>
              <a:gd name="connsiteY24" fmla="*/ 34506 h 1178729"/>
              <a:gd name="connsiteX25" fmla="*/ 1266264 w 6513591"/>
              <a:gd name="connsiteY25" fmla="*/ 28755 h 1178729"/>
              <a:gd name="connsiteX26" fmla="*/ 1300769 w 6513591"/>
              <a:gd name="connsiteY26" fmla="*/ 17253 h 1178729"/>
              <a:gd name="connsiteX27" fmla="*/ 1335275 w 6513591"/>
              <a:gd name="connsiteY27" fmla="*/ 11502 h 1178729"/>
              <a:gd name="connsiteX28" fmla="*/ 1358279 w 6513591"/>
              <a:gd name="connsiteY28" fmla="*/ 5751 h 1178729"/>
              <a:gd name="connsiteX29" fmla="*/ 1565313 w 6513591"/>
              <a:gd name="connsiteY29" fmla="*/ 0 h 1178729"/>
              <a:gd name="connsiteX30" fmla="*/ 1749343 w 6513591"/>
              <a:gd name="connsiteY30" fmla="*/ 5751 h 1178729"/>
              <a:gd name="connsiteX31" fmla="*/ 1783849 w 6513591"/>
              <a:gd name="connsiteY31" fmla="*/ 23004 h 1178729"/>
              <a:gd name="connsiteX32" fmla="*/ 1824105 w 6513591"/>
              <a:gd name="connsiteY32" fmla="*/ 34506 h 1178729"/>
              <a:gd name="connsiteX33" fmla="*/ 1847109 w 6513591"/>
              <a:gd name="connsiteY33" fmla="*/ 46008 h 1178729"/>
              <a:gd name="connsiteX34" fmla="*/ 1870113 w 6513591"/>
              <a:gd name="connsiteY34" fmla="*/ 51759 h 1178729"/>
              <a:gd name="connsiteX35" fmla="*/ 1904618 w 6513591"/>
              <a:gd name="connsiteY35" fmla="*/ 63261 h 1178729"/>
              <a:gd name="connsiteX36" fmla="*/ 1921871 w 6513591"/>
              <a:gd name="connsiteY36" fmla="*/ 69011 h 1178729"/>
              <a:gd name="connsiteX37" fmla="*/ 1973630 w 6513591"/>
              <a:gd name="connsiteY37" fmla="*/ 74762 h 1178729"/>
              <a:gd name="connsiteX38" fmla="*/ 2036890 w 6513591"/>
              <a:gd name="connsiteY38" fmla="*/ 86264 h 1178729"/>
              <a:gd name="connsiteX39" fmla="*/ 2100151 w 6513591"/>
              <a:gd name="connsiteY39" fmla="*/ 92015 h 1178729"/>
              <a:gd name="connsiteX40" fmla="*/ 2169162 w 6513591"/>
              <a:gd name="connsiteY40" fmla="*/ 103517 h 1178729"/>
              <a:gd name="connsiteX41" fmla="*/ 2232422 w 6513591"/>
              <a:gd name="connsiteY41" fmla="*/ 109268 h 1178729"/>
              <a:gd name="connsiteX42" fmla="*/ 2295683 w 6513591"/>
              <a:gd name="connsiteY42" fmla="*/ 126521 h 1178729"/>
              <a:gd name="connsiteX43" fmla="*/ 2335939 w 6513591"/>
              <a:gd name="connsiteY43" fmla="*/ 138023 h 1178729"/>
              <a:gd name="connsiteX44" fmla="*/ 2358943 w 6513591"/>
              <a:gd name="connsiteY44" fmla="*/ 149525 h 1178729"/>
              <a:gd name="connsiteX45" fmla="*/ 2393449 w 6513591"/>
              <a:gd name="connsiteY45" fmla="*/ 155276 h 1178729"/>
              <a:gd name="connsiteX46" fmla="*/ 2422203 w 6513591"/>
              <a:gd name="connsiteY46" fmla="*/ 161027 h 1178729"/>
              <a:gd name="connsiteX47" fmla="*/ 2445207 w 6513591"/>
              <a:gd name="connsiteY47" fmla="*/ 166777 h 1178729"/>
              <a:gd name="connsiteX48" fmla="*/ 2623486 w 6513591"/>
              <a:gd name="connsiteY48" fmla="*/ 172528 h 1178729"/>
              <a:gd name="connsiteX49" fmla="*/ 2692498 w 6513591"/>
              <a:gd name="connsiteY49" fmla="*/ 178279 h 1178729"/>
              <a:gd name="connsiteX50" fmla="*/ 2715501 w 6513591"/>
              <a:gd name="connsiteY50" fmla="*/ 189781 h 1178729"/>
              <a:gd name="connsiteX51" fmla="*/ 2767260 w 6513591"/>
              <a:gd name="connsiteY51" fmla="*/ 212785 h 1178729"/>
              <a:gd name="connsiteX52" fmla="*/ 2819018 w 6513591"/>
              <a:gd name="connsiteY52" fmla="*/ 235789 h 1178729"/>
              <a:gd name="connsiteX53" fmla="*/ 2870777 w 6513591"/>
              <a:gd name="connsiteY53" fmla="*/ 258793 h 1178729"/>
              <a:gd name="connsiteX54" fmla="*/ 2893781 w 6513591"/>
              <a:gd name="connsiteY54" fmla="*/ 270294 h 1178729"/>
              <a:gd name="connsiteX55" fmla="*/ 2945539 w 6513591"/>
              <a:gd name="connsiteY55" fmla="*/ 287547 h 1178729"/>
              <a:gd name="connsiteX56" fmla="*/ 2962792 w 6513591"/>
              <a:gd name="connsiteY56" fmla="*/ 293298 h 1178729"/>
              <a:gd name="connsiteX57" fmla="*/ 2991547 w 6513591"/>
              <a:gd name="connsiteY57" fmla="*/ 310551 h 1178729"/>
              <a:gd name="connsiteX58" fmla="*/ 3031803 w 6513591"/>
              <a:gd name="connsiteY58" fmla="*/ 322053 h 1178729"/>
              <a:gd name="connsiteX59" fmla="*/ 3066309 w 6513591"/>
              <a:gd name="connsiteY59" fmla="*/ 333555 h 1178729"/>
              <a:gd name="connsiteX60" fmla="*/ 3106566 w 6513591"/>
              <a:gd name="connsiteY60" fmla="*/ 339306 h 1178729"/>
              <a:gd name="connsiteX61" fmla="*/ 3261841 w 6513591"/>
              <a:gd name="connsiteY61" fmla="*/ 350808 h 1178729"/>
              <a:gd name="connsiteX62" fmla="*/ 3451622 w 6513591"/>
              <a:gd name="connsiteY62" fmla="*/ 362310 h 1178729"/>
              <a:gd name="connsiteX63" fmla="*/ 3572392 w 6513591"/>
              <a:gd name="connsiteY63" fmla="*/ 373811 h 1178729"/>
              <a:gd name="connsiteX64" fmla="*/ 3710415 w 6513591"/>
              <a:gd name="connsiteY64" fmla="*/ 385313 h 1178729"/>
              <a:gd name="connsiteX65" fmla="*/ 3767924 w 6513591"/>
              <a:gd name="connsiteY65" fmla="*/ 391064 h 1178729"/>
              <a:gd name="connsiteX66" fmla="*/ 3951954 w 6513591"/>
              <a:gd name="connsiteY66" fmla="*/ 402566 h 1178729"/>
              <a:gd name="connsiteX67" fmla="*/ 4193494 w 6513591"/>
              <a:gd name="connsiteY67" fmla="*/ 414068 h 1178729"/>
              <a:gd name="connsiteX68" fmla="*/ 4498294 w 6513591"/>
              <a:gd name="connsiteY68" fmla="*/ 408317 h 1178729"/>
              <a:gd name="connsiteX69" fmla="*/ 4538551 w 6513591"/>
              <a:gd name="connsiteY69" fmla="*/ 396815 h 1178729"/>
              <a:gd name="connsiteX70" fmla="*/ 4590309 w 6513591"/>
              <a:gd name="connsiteY70" fmla="*/ 385313 h 1178729"/>
              <a:gd name="connsiteX71" fmla="*/ 4619064 w 6513591"/>
              <a:gd name="connsiteY71" fmla="*/ 379562 h 1178729"/>
              <a:gd name="connsiteX72" fmla="*/ 4647818 w 6513591"/>
              <a:gd name="connsiteY72" fmla="*/ 368061 h 1178729"/>
              <a:gd name="connsiteX73" fmla="*/ 4711079 w 6513591"/>
              <a:gd name="connsiteY73" fmla="*/ 356559 h 1178729"/>
              <a:gd name="connsiteX74" fmla="*/ 4757086 w 6513591"/>
              <a:gd name="connsiteY74" fmla="*/ 345057 h 1178729"/>
              <a:gd name="connsiteX75" fmla="*/ 4820347 w 6513591"/>
              <a:gd name="connsiteY75" fmla="*/ 327804 h 1178729"/>
              <a:gd name="connsiteX76" fmla="*/ 4837600 w 6513591"/>
              <a:gd name="connsiteY76" fmla="*/ 316302 h 1178729"/>
              <a:gd name="connsiteX77" fmla="*/ 4877856 w 6513591"/>
              <a:gd name="connsiteY77" fmla="*/ 304800 h 1178729"/>
              <a:gd name="connsiteX78" fmla="*/ 4941117 w 6513591"/>
              <a:gd name="connsiteY78" fmla="*/ 281796 h 1178729"/>
              <a:gd name="connsiteX79" fmla="*/ 4975622 w 6513591"/>
              <a:gd name="connsiteY79" fmla="*/ 270294 h 1178729"/>
              <a:gd name="connsiteX80" fmla="*/ 4998626 w 6513591"/>
              <a:gd name="connsiteY80" fmla="*/ 258793 h 1178729"/>
              <a:gd name="connsiteX81" fmla="*/ 5044634 w 6513591"/>
              <a:gd name="connsiteY81" fmla="*/ 253042 h 1178729"/>
              <a:gd name="connsiteX82" fmla="*/ 5096392 w 6513591"/>
              <a:gd name="connsiteY82" fmla="*/ 241540 h 1178729"/>
              <a:gd name="connsiteX83" fmla="*/ 5125147 w 6513591"/>
              <a:gd name="connsiteY83" fmla="*/ 235789 h 1178729"/>
              <a:gd name="connsiteX84" fmla="*/ 5159652 w 6513591"/>
              <a:gd name="connsiteY84" fmla="*/ 230038 h 1178729"/>
              <a:gd name="connsiteX85" fmla="*/ 5314928 w 6513591"/>
              <a:gd name="connsiteY85" fmla="*/ 224287 h 1178729"/>
              <a:gd name="connsiteX86" fmla="*/ 5648945 w 6513591"/>
              <a:gd name="connsiteY86" fmla="*/ 170977 h 1178729"/>
              <a:gd name="connsiteX87" fmla="*/ 5788276 w 6513591"/>
              <a:gd name="connsiteY87" fmla="*/ 124009 h 1178729"/>
              <a:gd name="connsiteX88" fmla="*/ 5880969 w 6513591"/>
              <a:gd name="connsiteY88" fmla="*/ 83161 h 1178729"/>
              <a:gd name="connsiteX89" fmla="*/ 6413358 w 6513591"/>
              <a:gd name="connsiteY89" fmla="*/ 149525 h 1178729"/>
              <a:gd name="connsiteX90" fmla="*/ 6482369 w 6513591"/>
              <a:gd name="connsiteY90" fmla="*/ 120770 h 1178729"/>
              <a:gd name="connsiteX91" fmla="*/ 5880969 w 6513591"/>
              <a:gd name="connsiteY91" fmla="*/ 1148047 h 1178729"/>
              <a:gd name="connsiteX0" fmla="*/ 1 w 6413358"/>
              <a:gd name="connsiteY0" fmla="*/ 1178729 h 1178729"/>
              <a:gd name="connsiteX1" fmla="*/ 0 w 6413358"/>
              <a:gd name="connsiteY1" fmla="*/ 171938 h 1178729"/>
              <a:gd name="connsiteX2" fmla="*/ 150581 w 6413358"/>
              <a:gd name="connsiteY2" fmla="*/ 189781 h 1178729"/>
              <a:gd name="connsiteX3" fmla="*/ 202339 w 6413358"/>
              <a:gd name="connsiteY3" fmla="*/ 195532 h 1178729"/>
              <a:gd name="connsiteX4" fmla="*/ 236845 w 6413358"/>
              <a:gd name="connsiteY4" fmla="*/ 201283 h 1178729"/>
              <a:gd name="connsiteX5" fmla="*/ 426626 w 6413358"/>
              <a:gd name="connsiteY5" fmla="*/ 212785 h 1178729"/>
              <a:gd name="connsiteX6" fmla="*/ 656664 w 6413358"/>
              <a:gd name="connsiteY6" fmla="*/ 207034 h 1178729"/>
              <a:gd name="connsiteX7" fmla="*/ 685418 w 6413358"/>
              <a:gd name="connsiteY7" fmla="*/ 201283 h 1178729"/>
              <a:gd name="connsiteX8" fmla="*/ 748679 w 6413358"/>
              <a:gd name="connsiteY8" fmla="*/ 195532 h 1178729"/>
              <a:gd name="connsiteX9" fmla="*/ 777434 w 6413358"/>
              <a:gd name="connsiteY9" fmla="*/ 189781 h 1178729"/>
              <a:gd name="connsiteX10" fmla="*/ 823441 w 6413358"/>
              <a:gd name="connsiteY10" fmla="*/ 184030 h 1178729"/>
              <a:gd name="connsiteX11" fmla="*/ 846445 w 6413358"/>
              <a:gd name="connsiteY11" fmla="*/ 172528 h 1178729"/>
              <a:gd name="connsiteX12" fmla="*/ 869449 w 6413358"/>
              <a:gd name="connsiteY12" fmla="*/ 166777 h 1178729"/>
              <a:gd name="connsiteX13" fmla="*/ 886701 w 6413358"/>
              <a:gd name="connsiteY13" fmla="*/ 161027 h 1178729"/>
              <a:gd name="connsiteX14" fmla="*/ 932709 w 6413358"/>
              <a:gd name="connsiteY14" fmla="*/ 149525 h 1178729"/>
              <a:gd name="connsiteX15" fmla="*/ 955713 w 6413358"/>
              <a:gd name="connsiteY15" fmla="*/ 143774 h 1178729"/>
              <a:gd name="connsiteX16" fmla="*/ 984467 w 6413358"/>
              <a:gd name="connsiteY16" fmla="*/ 126521 h 1178729"/>
              <a:gd name="connsiteX17" fmla="*/ 1018973 w 6413358"/>
              <a:gd name="connsiteY17" fmla="*/ 115019 h 1178729"/>
              <a:gd name="connsiteX18" fmla="*/ 1036226 w 6413358"/>
              <a:gd name="connsiteY18" fmla="*/ 109268 h 1178729"/>
              <a:gd name="connsiteX19" fmla="*/ 1099486 w 6413358"/>
              <a:gd name="connsiteY19" fmla="*/ 92015 h 1178729"/>
              <a:gd name="connsiteX20" fmla="*/ 1151245 w 6413358"/>
              <a:gd name="connsiteY20" fmla="*/ 69011 h 1178729"/>
              <a:gd name="connsiteX21" fmla="*/ 1168498 w 6413358"/>
              <a:gd name="connsiteY21" fmla="*/ 63261 h 1178729"/>
              <a:gd name="connsiteX22" fmla="*/ 1191501 w 6413358"/>
              <a:gd name="connsiteY22" fmla="*/ 51759 h 1178729"/>
              <a:gd name="connsiteX23" fmla="*/ 1208754 w 6413358"/>
              <a:gd name="connsiteY23" fmla="*/ 46008 h 1178729"/>
              <a:gd name="connsiteX24" fmla="*/ 1231758 w 6413358"/>
              <a:gd name="connsiteY24" fmla="*/ 34506 h 1178729"/>
              <a:gd name="connsiteX25" fmla="*/ 1266264 w 6413358"/>
              <a:gd name="connsiteY25" fmla="*/ 28755 h 1178729"/>
              <a:gd name="connsiteX26" fmla="*/ 1300769 w 6413358"/>
              <a:gd name="connsiteY26" fmla="*/ 17253 h 1178729"/>
              <a:gd name="connsiteX27" fmla="*/ 1335275 w 6413358"/>
              <a:gd name="connsiteY27" fmla="*/ 11502 h 1178729"/>
              <a:gd name="connsiteX28" fmla="*/ 1358279 w 6413358"/>
              <a:gd name="connsiteY28" fmla="*/ 5751 h 1178729"/>
              <a:gd name="connsiteX29" fmla="*/ 1565313 w 6413358"/>
              <a:gd name="connsiteY29" fmla="*/ 0 h 1178729"/>
              <a:gd name="connsiteX30" fmla="*/ 1749343 w 6413358"/>
              <a:gd name="connsiteY30" fmla="*/ 5751 h 1178729"/>
              <a:gd name="connsiteX31" fmla="*/ 1783849 w 6413358"/>
              <a:gd name="connsiteY31" fmla="*/ 23004 h 1178729"/>
              <a:gd name="connsiteX32" fmla="*/ 1824105 w 6413358"/>
              <a:gd name="connsiteY32" fmla="*/ 34506 h 1178729"/>
              <a:gd name="connsiteX33" fmla="*/ 1847109 w 6413358"/>
              <a:gd name="connsiteY33" fmla="*/ 46008 h 1178729"/>
              <a:gd name="connsiteX34" fmla="*/ 1870113 w 6413358"/>
              <a:gd name="connsiteY34" fmla="*/ 51759 h 1178729"/>
              <a:gd name="connsiteX35" fmla="*/ 1904618 w 6413358"/>
              <a:gd name="connsiteY35" fmla="*/ 63261 h 1178729"/>
              <a:gd name="connsiteX36" fmla="*/ 1921871 w 6413358"/>
              <a:gd name="connsiteY36" fmla="*/ 69011 h 1178729"/>
              <a:gd name="connsiteX37" fmla="*/ 1973630 w 6413358"/>
              <a:gd name="connsiteY37" fmla="*/ 74762 h 1178729"/>
              <a:gd name="connsiteX38" fmla="*/ 2036890 w 6413358"/>
              <a:gd name="connsiteY38" fmla="*/ 86264 h 1178729"/>
              <a:gd name="connsiteX39" fmla="*/ 2100151 w 6413358"/>
              <a:gd name="connsiteY39" fmla="*/ 92015 h 1178729"/>
              <a:gd name="connsiteX40" fmla="*/ 2169162 w 6413358"/>
              <a:gd name="connsiteY40" fmla="*/ 103517 h 1178729"/>
              <a:gd name="connsiteX41" fmla="*/ 2232422 w 6413358"/>
              <a:gd name="connsiteY41" fmla="*/ 109268 h 1178729"/>
              <a:gd name="connsiteX42" fmla="*/ 2295683 w 6413358"/>
              <a:gd name="connsiteY42" fmla="*/ 126521 h 1178729"/>
              <a:gd name="connsiteX43" fmla="*/ 2335939 w 6413358"/>
              <a:gd name="connsiteY43" fmla="*/ 138023 h 1178729"/>
              <a:gd name="connsiteX44" fmla="*/ 2358943 w 6413358"/>
              <a:gd name="connsiteY44" fmla="*/ 149525 h 1178729"/>
              <a:gd name="connsiteX45" fmla="*/ 2393449 w 6413358"/>
              <a:gd name="connsiteY45" fmla="*/ 155276 h 1178729"/>
              <a:gd name="connsiteX46" fmla="*/ 2422203 w 6413358"/>
              <a:gd name="connsiteY46" fmla="*/ 161027 h 1178729"/>
              <a:gd name="connsiteX47" fmla="*/ 2445207 w 6413358"/>
              <a:gd name="connsiteY47" fmla="*/ 166777 h 1178729"/>
              <a:gd name="connsiteX48" fmla="*/ 2623486 w 6413358"/>
              <a:gd name="connsiteY48" fmla="*/ 172528 h 1178729"/>
              <a:gd name="connsiteX49" fmla="*/ 2692498 w 6413358"/>
              <a:gd name="connsiteY49" fmla="*/ 178279 h 1178729"/>
              <a:gd name="connsiteX50" fmla="*/ 2715501 w 6413358"/>
              <a:gd name="connsiteY50" fmla="*/ 189781 h 1178729"/>
              <a:gd name="connsiteX51" fmla="*/ 2767260 w 6413358"/>
              <a:gd name="connsiteY51" fmla="*/ 212785 h 1178729"/>
              <a:gd name="connsiteX52" fmla="*/ 2819018 w 6413358"/>
              <a:gd name="connsiteY52" fmla="*/ 235789 h 1178729"/>
              <a:gd name="connsiteX53" fmla="*/ 2870777 w 6413358"/>
              <a:gd name="connsiteY53" fmla="*/ 258793 h 1178729"/>
              <a:gd name="connsiteX54" fmla="*/ 2893781 w 6413358"/>
              <a:gd name="connsiteY54" fmla="*/ 270294 h 1178729"/>
              <a:gd name="connsiteX55" fmla="*/ 2945539 w 6413358"/>
              <a:gd name="connsiteY55" fmla="*/ 287547 h 1178729"/>
              <a:gd name="connsiteX56" fmla="*/ 2962792 w 6413358"/>
              <a:gd name="connsiteY56" fmla="*/ 293298 h 1178729"/>
              <a:gd name="connsiteX57" fmla="*/ 2991547 w 6413358"/>
              <a:gd name="connsiteY57" fmla="*/ 310551 h 1178729"/>
              <a:gd name="connsiteX58" fmla="*/ 3031803 w 6413358"/>
              <a:gd name="connsiteY58" fmla="*/ 322053 h 1178729"/>
              <a:gd name="connsiteX59" fmla="*/ 3066309 w 6413358"/>
              <a:gd name="connsiteY59" fmla="*/ 333555 h 1178729"/>
              <a:gd name="connsiteX60" fmla="*/ 3106566 w 6413358"/>
              <a:gd name="connsiteY60" fmla="*/ 339306 h 1178729"/>
              <a:gd name="connsiteX61" fmla="*/ 3261841 w 6413358"/>
              <a:gd name="connsiteY61" fmla="*/ 350808 h 1178729"/>
              <a:gd name="connsiteX62" fmla="*/ 3451622 w 6413358"/>
              <a:gd name="connsiteY62" fmla="*/ 362310 h 1178729"/>
              <a:gd name="connsiteX63" fmla="*/ 3572392 w 6413358"/>
              <a:gd name="connsiteY63" fmla="*/ 373811 h 1178729"/>
              <a:gd name="connsiteX64" fmla="*/ 3710415 w 6413358"/>
              <a:gd name="connsiteY64" fmla="*/ 385313 h 1178729"/>
              <a:gd name="connsiteX65" fmla="*/ 3767924 w 6413358"/>
              <a:gd name="connsiteY65" fmla="*/ 391064 h 1178729"/>
              <a:gd name="connsiteX66" fmla="*/ 3951954 w 6413358"/>
              <a:gd name="connsiteY66" fmla="*/ 402566 h 1178729"/>
              <a:gd name="connsiteX67" fmla="*/ 4193494 w 6413358"/>
              <a:gd name="connsiteY67" fmla="*/ 414068 h 1178729"/>
              <a:gd name="connsiteX68" fmla="*/ 4498294 w 6413358"/>
              <a:gd name="connsiteY68" fmla="*/ 408317 h 1178729"/>
              <a:gd name="connsiteX69" fmla="*/ 4538551 w 6413358"/>
              <a:gd name="connsiteY69" fmla="*/ 396815 h 1178729"/>
              <a:gd name="connsiteX70" fmla="*/ 4590309 w 6413358"/>
              <a:gd name="connsiteY70" fmla="*/ 385313 h 1178729"/>
              <a:gd name="connsiteX71" fmla="*/ 4619064 w 6413358"/>
              <a:gd name="connsiteY71" fmla="*/ 379562 h 1178729"/>
              <a:gd name="connsiteX72" fmla="*/ 4647818 w 6413358"/>
              <a:gd name="connsiteY72" fmla="*/ 368061 h 1178729"/>
              <a:gd name="connsiteX73" fmla="*/ 4711079 w 6413358"/>
              <a:gd name="connsiteY73" fmla="*/ 356559 h 1178729"/>
              <a:gd name="connsiteX74" fmla="*/ 4757086 w 6413358"/>
              <a:gd name="connsiteY74" fmla="*/ 345057 h 1178729"/>
              <a:gd name="connsiteX75" fmla="*/ 4820347 w 6413358"/>
              <a:gd name="connsiteY75" fmla="*/ 327804 h 1178729"/>
              <a:gd name="connsiteX76" fmla="*/ 4837600 w 6413358"/>
              <a:gd name="connsiteY76" fmla="*/ 316302 h 1178729"/>
              <a:gd name="connsiteX77" fmla="*/ 4877856 w 6413358"/>
              <a:gd name="connsiteY77" fmla="*/ 304800 h 1178729"/>
              <a:gd name="connsiteX78" fmla="*/ 4941117 w 6413358"/>
              <a:gd name="connsiteY78" fmla="*/ 281796 h 1178729"/>
              <a:gd name="connsiteX79" fmla="*/ 4975622 w 6413358"/>
              <a:gd name="connsiteY79" fmla="*/ 270294 h 1178729"/>
              <a:gd name="connsiteX80" fmla="*/ 4998626 w 6413358"/>
              <a:gd name="connsiteY80" fmla="*/ 258793 h 1178729"/>
              <a:gd name="connsiteX81" fmla="*/ 5044634 w 6413358"/>
              <a:gd name="connsiteY81" fmla="*/ 253042 h 1178729"/>
              <a:gd name="connsiteX82" fmla="*/ 5096392 w 6413358"/>
              <a:gd name="connsiteY82" fmla="*/ 241540 h 1178729"/>
              <a:gd name="connsiteX83" fmla="*/ 5125147 w 6413358"/>
              <a:gd name="connsiteY83" fmla="*/ 235789 h 1178729"/>
              <a:gd name="connsiteX84" fmla="*/ 5159652 w 6413358"/>
              <a:gd name="connsiteY84" fmla="*/ 230038 h 1178729"/>
              <a:gd name="connsiteX85" fmla="*/ 5314928 w 6413358"/>
              <a:gd name="connsiteY85" fmla="*/ 224287 h 1178729"/>
              <a:gd name="connsiteX86" fmla="*/ 5648945 w 6413358"/>
              <a:gd name="connsiteY86" fmla="*/ 170977 h 1178729"/>
              <a:gd name="connsiteX87" fmla="*/ 5788276 w 6413358"/>
              <a:gd name="connsiteY87" fmla="*/ 124009 h 1178729"/>
              <a:gd name="connsiteX88" fmla="*/ 5880969 w 6413358"/>
              <a:gd name="connsiteY88" fmla="*/ 83161 h 1178729"/>
              <a:gd name="connsiteX89" fmla="*/ 6413358 w 6413358"/>
              <a:gd name="connsiteY89" fmla="*/ 149525 h 1178729"/>
              <a:gd name="connsiteX90" fmla="*/ 5880969 w 6413358"/>
              <a:gd name="connsiteY90" fmla="*/ 1148047 h 1178729"/>
              <a:gd name="connsiteX0" fmla="*/ 1 w 5896418"/>
              <a:gd name="connsiteY0" fmla="*/ 1178729 h 1178729"/>
              <a:gd name="connsiteX1" fmla="*/ 0 w 5896418"/>
              <a:gd name="connsiteY1" fmla="*/ 171938 h 1178729"/>
              <a:gd name="connsiteX2" fmla="*/ 150581 w 5896418"/>
              <a:gd name="connsiteY2" fmla="*/ 189781 h 1178729"/>
              <a:gd name="connsiteX3" fmla="*/ 202339 w 5896418"/>
              <a:gd name="connsiteY3" fmla="*/ 195532 h 1178729"/>
              <a:gd name="connsiteX4" fmla="*/ 236845 w 5896418"/>
              <a:gd name="connsiteY4" fmla="*/ 201283 h 1178729"/>
              <a:gd name="connsiteX5" fmla="*/ 426626 w 5896418"/>
              <a:gd name="connsiteY5" fmla="*/ 212785 h 1178729"/>
              <a:gd name="connsiteX6" fmla="*/ 656664 w 5896418"/>
              <a:gd name="connsiteY6" fmla="*/ 207034 h 1178729"/>
              <a:gd name="connsiteX7" fmla="*/ 685418 w 5896418"/>
              <a:gd name="connsiteY7" fmla="*/ 201283 h 1178729"/>
              <a:gd name="connsiteX8" fmla="*/ 748679 w 5896418"/>
              <a:gd name="connsiteY8" fmla="*/ 195532 h 1178729"/>
              <a:gd name="connsiteX9" fmla="*/ 777434 w 5896418"/>
              <a:gd name="connsiteY9" fmla="*/ 189781 h 1178729"/>
              <a:gd name="connsiteX10" fmla="*/ 823441 w 5896418"/>
              <a:gd name="connsiteY10" fmla="*/ 184030 h 1178729"/>
              <a:gd name="connsiteX11" fmla="*/ 846445 w 5896418"/>
              <a:gd name="connsiteY11" fmla="*/ 172528 h 1178729"/>
              <a:gd name="connsiteX12" fmla="*/ 869449 w 5896418"/>
              <a:gd name="connsiteY12" fmla="*/ 166777 h 1178729"/>
              <a:gd name="connsiteX13" fmla="*/ 886701 w 5896418"/>
              <a:gd name="connsiteY13" fmla="*/ 161027 h 1178729"/>
              <a:gd name="connsiteX14" fmla="*/ 932709 w 5896418"/>
              <a:gd name="connsiteY14" fmla="*/ 149525 h 1178729"/>
              <a:gd name="connsiteX15" fmla="*/ 955713 w 5896418"/>
              <a:gd name="connsiteY15" fmla="*/ 143774 h 1178729"/>
              <a:gd name="connsiteX16" fmla="*/ 984467 w 5896418"/>
              <a:gd name="connsiteY16" fmla="*/ 126521 h 1178729"/>
              <a:gd name="connsiteX17" fmla="*/ 1018973 w 5896418"/>
              <a:gd name="connsiteY17" fmla="*/ 115019 h 1178729"/>
              <a:gd name="connsiteX18" fmla="*/ 1036226 w 5896418"/>
              <a:gd name="connsiteY18" fmla="*/ 109268 h 1178729"/>
              <a:gd name="connsiteX19" fmla="*/ 1099486 w 5896418"/>
              <a:gd name="connsiteY19" fmla="*/ 92015 h 1178729"/>
              <a:gd name="connsiteX20" fmla="*/ 1151245 w 5896418"/>
              <a:gd name="connsiteY20" fmla="*/ 69011 h 1178729"/>
              <a:gd name="connsiteX21" fmla="*/ 1168498 w 5896418"/>
              <a:gd name="connsiteY21" fmla="*/ 63261 h 1178729"/>
              <a:gd name="connsiteX22" fmla="*/ 1191501 w 5896418"/>
              <a:gd name="connsiteY22" fmla="*/ 51759 h 1178729"/>
              <a:gd name="connsiteX23" fmla="*/ 1208754 w 5896418"/>
              <a:gd name="connsiteY23" fmla="*/ 46008 h 1178729"/>
              <a:gd name="connsiteX24" fmla="*/ 1231758 w 5896418"/>
              <a:gd name="connsiteY24" fmla="*/ 34506 h 1178729"/>
              <a:gd name="connsiteX25" fmla="*/ 1266264 w 5896418"/>
              <a:gd name="connsiteY25" fmla="*/ 28755 h 1178729"/>
              <a:gd name="connsiteX26" fmla="*/ 1300769 w 5896418"/>
              <a:gd name="connsiteY26" fmla="*/ 17253 h 1178729"/>
              <a:gd name="connsiteX27" fmla="*/ 1335275 w 5896418"/>
              <a:gd name="connsiteY27" fmla="*/ 11502 h 1178729"/>
              <a:gd name="connsiteX28" fmla="*/ 1358279 w 5896418"/>
              <a:gd name="connsiteY28" fmla="*/ 5751 h 1178729"/>
              <a:gd name="connsiteX29" fmla="*/ 1565313 w 5896418"/>
              <a:gd name="connsiteY29" fmla="*/ 0 h 1178729"/>
              <a:gd name="connsiteX30" fmla="*/ 1749343 w 5896418"/>
              <a:gd name="connsiteY30" fmla="*/ 5751 h 1178729"/>
              <a:gd name="connsiteX31" fmla="*/ 1783849 w 5896418"/>
              <a:gd name="connsiteY31" fmla="*/ 23004 h 1178729"/>
              <a:gd name="connsiteX32" fmla="*/ 1824105 w 5896418"/>
              <a:gd name="connsiteY32" fmla="*/ 34506 h 1178729"/>
              <a:gd name="connsiteX33" fmla="*/ 1847109 w 5896418"/>
              <a:gd name="connsiteY33" fmla="*/ 46008 h 1178729"/>
              <a:gd name="connsiteX34" fmla="*/ 1870113 w 5896418"/>
              <a:gd name="connsiteY34" fmla="*/ 51759 h 1178729"/>
              <a:gd name="connsiteX35" fmla="*/ 1904618 w 5896418"/>
              <a:gd name="connsiteY35" fmla="*/ 63261 h 1178729"/>
              <a:gd name="connsiteX36" fmla="*/ 1921871 w 5896418"/>
              <a:gd name="connsiteY36" fmla="*/ 69011 h 1178729"/>
              <a:gd name="connsiteX37" fmla="*/ 1973630 w 5896418"/>
              <a:gd name="connsiteY37" fmla="*/ 74762 h 1178729"/>
              <a:gd name="connsiteX38" fmla="*/ 2036890 w 5896418"/>
              <a:gd name="connsiteY38" fmla="*/ 86264 h 1178729"/>
              <a:gd name="connsiteX39" fmla="*/ 2100151 w 5896418"/>
              <a:gd name="connsiteY39" fmla="*/ 92015 h 1178729"/>
              <a:gd name="connsiteX40" fmla="*/ 2169162 w 5896418"/>
              <a:gd name="connsiteY40" fmla="*/ 103517 h 1178729"/>
              <a:gd name="connsiteX41" fmla="*/ 2232422 w 5896418"/>
              <a:gd name="connsiteY41" fmla="*/ 109268 h 1178729"/>
              <a:gd name="connsiteX42" fmla="*/ 2295683 w 5896418"/>
              <a:gd name="connsiteY42" fmla="*/ 126521 h 1178729"/>
              <a:gd name="connsiteX43" fmla="*/ 2335939 w 5896418"/>
              <a:gd name="connsiteY43" fmla="*/ 138023 h 1178729"/>
              <a:gd name="connsiteX44" fmla="*/ 2358943 w 5896418"/>
              <a:gd name="connsiteY44" fmla="*/ 149525 h 1178729"/>
              <a:gd name="connsiteX45" fmla="*/ 2393449 w 5896418"/>
              <a:gd name="connsiteY45" fmla="*/ 155276 h 1178729"/>
              <a:gd name="connsiteX46" fmla="*/ 2422203 w 5896418"/>
              <a:gd name="connsiteY46" fmla="*/ 161027 h 1178729"/>
              <a:gd name="connsiteX47" fmla="*/ 2445207 w 5896418"/>
              <a:gd name="connsiteY47" fmla="*/ 166777 h 1178729"/>
              <a:gd name="connsiteX48" fmla="*/ 2623486 w 5896418"/>
              <a:gd name="connsiteY48" fmla="*/ 172528 h 1178729"/>
              <a:gd name="connsiteX49" fmla="*/ 2692498 w 5896418"/>
              <a:gd name="connsiteY49" fmla="*/ 178279 h 1178729"/>
              <a:gd name="connsiteX50" fmla="*/ 2715501 w 5896418"/>
              <a:gd name="connsiteY50" fmla="*/ 189781 h 1178729"/>
              <a:gd name="connsiteX51" fmla="*/ 2767260 w 5896418"/>
              <a:gd name="connsiteY51" fmla="*/ 212785 h 1178729"/>
              <a:gd name="connsiteX52" fmla="*/ 2819018 w 5896418"/>
              <a:gd name="connsiteY52" fmla="*/ 235789 h 1178729"/>
              <a:gd name="connsiteX53" fmla="*/ 2870777 w 5896418"/>
              <a:gd name="connsiteY53" fmla="*/ 258793 h 1178729"/>
              <a:gd name="connsiteX54" fmla="*/ 2893781 w 5896418"/>
              <a:gd name="connsiteY54" fmla="*/ 270294 h 1178729"/>
              <a:gd name="connsiteX55" fmla="*/ 2945539 w 5896418"/>
              <a:gd name="connsiteY55" fmla="*/ 287547 h 1178729"/>
              <a:gd name="connsiteX56" fmla="*/ 2962792 w 5896418"/>
              <a:gd name="connsiteY56" fmla="*/ 293298 h 1178729"/>
              <a:gd name="connsiteX57" fmla="*/ 2991547 w 5896418"/>
              <a:gd name="connsiteY57" fmla="*/ 310551 h 1178729"/>
              <a:gd name="connsiteX58" fmla="*/ 3031803 w 5896418"/>
              <a:gd name="connsiteY58" fmla="*/ 322053 h 1178729"/>
              <a:gd name="connsiteX59" fmla="*/ 3066309 w 5896418"/>
              <a:gd name="connsiteY59" fmla="*/ 333555 h 1178729"/>
              <a:gd name="connsiteX60" fmla="*/ 3106566 w 5896418"/>
              <a:gd name="connsiteY60" fmla="*/ 339306 h 1178729"/>
              <a:gd name="connsiteX61" fmla="*/ 3261841 w 5896418"/>
              <a:gd name="connsiteY61" fmla="*/ 350808 h 1178729"/>
              <a:gd name="connsiteX62" fmla="*/ 3451622 w 5896418"/>
              <a:gd name="connsiteY62" fmla="*/ 362310 h 1178729"/>
              <a:gd name="connsiteX63" fmla="*/ 3572392 w 5896418"/>
              <a:gd name="connsiteY63" fmla="*/ 373811 h 1178729"/>
              <a:gd name="connsiteX64" fmla="*/ 3710415 w 5896418"/>
              <a:gd name="connsiteY64" fmla="*/ 385313 h 1178729"/>
              <a:gd name="connsiteX65" fmla="*/ 3767924 w 5896418"/>
              <a:gd name="connsiteY65" fmla="*/ 391064 h 1178729"/>
              <a:gd name="connsiteX66" fmla="*/ 3951954 w 5896418"/>
              <a:gd name="connsiteY66" fmla="*/ 402566 h 1178729"/>
              <a:gd name="connsiteX67" fmla="*/ 4193494 w 5896418"/>
              <a:gd name="connsiteY67" fmla="*/ 414068 h 1178729"/>
              <a:gd name="connsiteX68" fmla="*/ 4498294 w 5896418"/>
              <a:gd name="connsiteY68" fmla="*/ 408317 h 1178729"/>
              <a:gd name="connsiteX69" fmla="*/ 4538551 w 5896418"/>
              <a:gd name="connsiteY69" fmla="*/ 396815 h 1178729"/>
              <a:gd name="connsiteX70" fmla="*/ 4590309 w 5896418"/>
              <a:gd name="connsiteY70" fmla="*/ 385313 h 1178729"/>
              <a:gd name="connsiteX71" fmla="*/ 4619064 w 5896418"/>
              <a:gd name="connsiteY71" fmla="*/ 379562 h 1178729"/>
              <a:gd name="connsiteX72" fmla="*/ 4647818 w 5896418"/>
              <a:gd name="connsiteY72" fmla="*/ 368061 h 1178729"/>
              <a:gd name="connsiteX73" fmla="*/ 4711079 w 5896418"/>
              <a:gd name="connsiteY73" fmla="*/ 356559 h 1178729"/>
              <a:gd name="connsiteX74" fmla="*/ 4757086 w 5896418"/>
              <a:gd name="connsiteY74" fmla="*/ 345057 h 1178729"/>
              <a:gd name="connsiteX75" fmla="*/ 4820347 w 5896418"/>
              <a:gd name="connsiteY75" fmla="*/ 327804 h 1178729"/>
              <a:gd name="connsiteX76" fmla="*/ 4837600 w 5896418"/>
              <a:gd name="connsiteY76" fmla="*/ 316302 h 1178729"/>
              <a:gd name="connsiteX77" fmla="*/ 4877856 w 5896418"/>
              <a:gd name="connsiteY77" fmla="*/ 304800 h 1178729"/>
              <a:gd name="connsiteX78" fmla="*/ 4941117 w 5896418"/>
              <a:gd name="connsiteY78" fmla="*/ 281796 h 1178729"/>
              <a:gd name="connsiteX79" fmla="*/ 4975622 w 5896418"/>
              <a:gd name="connsiteY79" fmla="*/ 270294 h 1178729"/>
              <a:gd name="connsiteX80" fmla="*/ 4998626 w 5896418"/>
              <a:gd name="connsiteY80" fmla="*/ 258793 h 1178729"/>
              <a:gd name="connsiteX81" fmla="*/ 5044634 w 5896418"/>
              <a:gd name="connsiteY81" fmla="*/ 253042 h 1178729"/>
              <a:gd name="connsiteX82" fmla="*/ 5096392 w 5896418"/>
              <a:gd name="connsiteY82" fmla="*/ 241540 h 1178729"/>
              <a:gd name="connsiteX83" fmla="*/ 5125147 w 5896418"/>
              <a:gd name="connsiteY83" fmla="*/ 235789 h 1178729"/>
              <a:gd name="connsiteX84" fmla="*/ 5159652 w 5896418"/>
              <a:gd name="connsiteY84" fmla="*/ 230038 h 1178729"/>
              <a:gd name="connsiteX85" fmla="*/ 5314928 w 5896418"/>
              <a:gd name="connsiteY85" fmla="*/ 224287 h 1178729"/>
              <a:gd name="connsiteX86" fmla="*/ 5648945 w 5896418"/>
              <a:gd name="connsiteY86" fmla="*/ 170977 h 1178729"/>
              <a:gd name="connsiteX87" fmla="*/ 5788276 w 5896418"/>
              <a:gd name="connsiteY87" fmla="*/ 124009 h 1178729"/>
              <a:gd name="connsiteX88" fmla="*/ 5880969 w 5896418"/>
              <a:gd name="connsiteY88" fmla="*/ 83161 h 1178729"/>
              <a:gd name="connsiteX89" fmla="*/ 5880969 w 5896418"/>
              <a:gd name="connsiteY89" fmla="*/ 1148047 h 117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896418" h="1178729">
                <a:moveTo>
                  <a:pt x="1" y="1178729"/>
                </a:moveTo>
                <a:cubicBezTo>
                  <a:pt x="1" y="843132"/>
                  <a:pt x="0" y="507535"/>
                  <a:pt x="0" y="171938"/>
                </a:cubicBezTo>
                <a:cubicBezTo>
                  <a:pt x="47423" y="183794"/>
                  <a:pt x="67778" y="181895"/>
                  <a:pt x="150581" y="189781"/>
                </a:cubicBezTo>
                <a:cubicBezTo>
                  <a:pt x="167862" y="191427"/>
                  <a:pt x="185132" y="193238"/>
                  <a:pt x="202339" y="195532"/>
                </a:cubicBezTo>
                <a:cubicBezTo>
                  <a:pt x="213897" y="197073"/>
                  <a:pt x="225219" y="200389"/>
                  <a:pt x="236845" y="201283"/>
                </a:cubicBezTo>
                <a:cubicBezTo>
                  <a:pt x="300035" y="206144"/>
                  <a:pt x="426626" y="212785"/>
                  <a:pt x="426626" y="212785"/>
                </a:cubicBezTo>
                <a:lnTo>
                  <a:pt x="656664" y="207034"/>
                </a:lnTo>
                <a:cubicBezTo>
                  <a:pt x="666429" y="206600"/>
                  <a:pt x="675719" y="202495"/>
                  <a:pt x="685418" y="201283"/>
                </a:cubicBezTo>
                <a:cubicBezTo>
                  <a:pt x="706428" y="198657"/>
                  <a:pt x="727592" y="197449"/>
                  <a:pt x="748679" y="195532"/>
                </a:cubicBezTo>
                <a:cubicBezTo>
                  <a:pt x="758264" y="193615"/>
                  <a:pt x="767773" y="191267"/>
                  <a:pt x="777434" y="189781"/>
                </a:cubicBezTo>
                <a:cubicBezTo>
                  <a:pt x="792709" y="187431"/>
                  <a:pt x="808447" y="187778"/>
                  <a:pt x="823441" y="184030"/>
                </a:cubicBezTo>
                <a:cubicBezTo>
                  <a:pt x="831758" y="181951"/>
                  <a:pt x="838418" y="175538"/>
                  <a:pt x="846445" y="172528"/>
                </a:cubicBezTo>
                <a:cubicBezTo>
                  <a:pt x="853846" y="169753"/>
                  <a:pt x="861849" y="168948"/>
                  <a:pt x="869449" y="166777"/>
                </a:cubicBezTo>
                <a:cubicBezTo>
                  <a:pt x="875277" y="165112"/>
                  <a:pt x="880853" y="162622"/>
                  <a:pt x="886701" y="161027"/>
                </a:cubicBezTo>
                <a:cubicBezTo>
                  <a:pt x="901952" y="156868"/>
                  <a:pt x="917373" y="153359"/>
                  <a:pt x="932709" y="149525"/>
                </a:cubicBezTo>
                <a:lnTo>
                  <a:pt x="955713" y="143774"/>
                </a:lnTo>
                <a:cubicBezTo>
                  <a:pt x="965298" y="138023"/>
                  <a:pt x="974291" y="131146"/>
                  <a:pt x="984467" y="126521"/>
                </a:cubicBezTo>
                <a:cubicBezTo>
                  <a:pt x="995504" y="121504"/>
                  <a:pt x="1007471" y="118853"/>
                  <a:pt x="1018973" y="115019"/>
                </a:cubicBezTo>
                <a:cubicBezTo>
                  <a:pt x="1024724" y="113102"/>
                  <a:pt x="1030345" y="110738"/>
                  <a:pt x="1036226" y="109268"/>
                </a:cubicBezTo>
                <a:cubicBezTo>
                  <a:pt x="1060091" y="103302"/>
                  <a:pt x="1077983" y="100079"/>
                  <a:pt x="1099486" y="92015"/>
                </a:cubicBezTo>
                <a:cubicBezTo>
                  <a:pt x="1170871" y="65245"/>
                  <a:pt x="1090216" y="95165"/>
                  <a:pt x="1151245" y="69011"/>
                </a:cubicBezTo>
                <a:cubicBezTo>
                  <a:pt x="1156817" y="66623"/>
                  <a:pt x="1162926" y="65649"/>
                  <a:pt x="1168498" y="63261"/>
                </a:cubicBezTo>
                <a:cubicBezTo>
                  <a:pt x="1176378" y="59884"/>
                  <a:pt x="1183621" y="55136"/>
                  <a:pt x="1191501" y="51759"/>
                </a:cubicBezTo>
                <a:cubicBezTo>
                  <a:pt x="1197073" y="49371"/>
                  <a:pt x="1203182" y="48396"/>
                  <a:pt x="1208754" y="46008"/>
                </a:cubicBezTo>
                <a:cubicBezTo>
                  <a:pt x="1216634" y="42631"/>
                  <a:pt x="1223546" y="36969"/>
                  <a:pt x="1231758" y="34506"/>
                </a:cubicBezTo>
                <a:cubicBezTo>
                  <a:pt x="1242927" y="31155"/>
                  <a:pt x="1254952" y="31583"/>
                  <a:pt x="1266264" y="28755"/>
                </a:cubicBezTo>
                <a:cubicBezTo>
                  <a:pt x="1278026" y="25814"/>
                  <a:pt x="1288810" y="19246"/>
                  <a:pt x="1300769" y="17253"/>
                </a:cubicBezTo>
                <a:cubicBezTo>
                  <a:pt x="1312271" y="15336"/>
                  <a:pt x="1323841" y="13789"/>
                  <a:pt x="1335275" y="11502"/>
                </a:cubicBezTo>
                <a:cubicBezTo>
                  <a:pt x="1343026" y="9952"/>
                  <a:pt x="1350385" y="6146"/>
                  <a:pt x="1358279" y="5751"/>
                </a:cubicBezTo>
                <a:cubicBezTo>
                  <a:pt x="1427231" y="2303"/>
                  <a:pt x="1496302" y="1917"/>
                  <a:pt x="1565313" y="0"/>
                </a:cubicBezTo>
                <a:cubicBezTo>
                  <a:pt x="1626656" y="1917"/>
                  <a:pt x="1688070" y="2250"/>
                  <a:pt x="1749343" y="5751"/>
                </a:cubicBezTo>
                <a:cubicBezTo>
                  <a:pt x="1765663" y="6684"/>
                  <a:pt x="1770092" y="16125"/>
                  <a:pt x="1783849" y="23004"/>
                </a:cubicBezTo>
                <a:cubicBezTo>
                  <a:pt x="1797754" y="29956"/>
                  <a:pt x="1809362" y="28977"/>
                  <a:pt x="1824105" y="34506"/>
                </a:cubicBezTo>
                <a:cubicBezTo>
                  <a:pt x="1832132" y="37516"/>
                  <a:pt x="1839082" y="42998"/>
                  <a:pt x="1847109" y="46008"/>
                </a:cubicBezTo>
                <a:cubicBezTo>
                  <a:pt x="1854510" y="48783"/>
                  <a:pt x="1862542" y="49488"/>
                  <a:pt x="1870113" y="51759"/>
                </a:cubicBezTo>
                <a:cubicBezTo>
                  <a:pt x="1881726" y="55243"/>
                  <a:pt x="1893116" y="59427"/>
                  <a:pt x="1904618" y="63261"/>
                </a:cubicBezTo>
                <a:cubicBezTo>
                  <a:pt x="1910369" y="65178"/>
                  <a:pt x="1915846" y="68342"/>
                  <a:pt x="1921871" y="69011"/>
                </a:cubicBezTo>
                <a:cubicBezTo>
                  <a:pt x="1939124" y="70928"/>
                  <a:pt x="1956445" y="72307"/>
                  <a:pt x="1973630" y="74762"/>
                </a:cubicBezTo>
                <a:cubicBezTo>
                  <a:pt x="2032961" y="83238"/>
                  <a:pt x="1969905" y="78383"/>
                  <a:pt x="2036890" y="86264"/>
                </a:cubicBezTo>
                <a:cubicBezTo>
                  <a:pt x="2057919" y="88738"/>
                  <a:pt x="2079064" y="90098"/>
                  <a:pt x="2100151" y="92015"/>
                </a:cubicBezTo>
                <a:cubicBezTo>
                  <a:pt x="2132911" y="102935"/>
                  <a:pt x="2114129" y="98014"/>
                  <a:pt x="2169162" y="103517"/>
                </a:cubicBezTo>
                <a:lnTo>
                  <a:pt x="2232422" y="109268"/>
                </a:lnTo>
                <a:cubicBezTo>
                  <a:pt x="2331872" y="129158"/>
                  <a:pt x="2178964" y="97340"/>
                  <a:pt x="2295683" y="126521"/>
                </a:cubicBezTo>
                <a:cubicBezTo>
                  <a:pt x="2307355" y="129439"/>
                  <a:pt x="2324389" y="133073"/>
                  <a:pt x="2335939" y="138023"/>
                </a:cubicBezTo>
                <a:cubicBezTo>
                  <a:pt x="2343819" y="141400"/>
                  <a:pt x="2350731" y="147062"/>
                  <a:pt x="2358943" y="149525"/>
                </a:cubicBezTo>
                <a:cubicBezTo>
                  <a:pt x="2370112" y="152876"/>
                  <a:pt x="2381976" y="153190"/>
                  <a:pt x="2393449" y="155276"/>
                </a:cubicBezTo>
                <a:cubicBezTo>
                  <a:pt x="2403066" y="157025"/>
                  <a:pt x="2412661" y="158907"/>
                  <a:pt x="2422203" y="161027"/>
                </a:cubicBezTo>
                <a:cubicBezTo>
                  <a:pt x="2429919" y="162741"/>
                  <a:pt x="2437316" y="166326"/>
                  <a:pt x="2445207" y="166777"/>
                </a:cubicBezTo>
                <a:cubicBezTo>
                  <a:pt x="2504567" y="170169"/>
                  <a:pt x="2564060" y="170611"/>
                  <a:pt x="2623486" y="172528"/>
                </a:cubicBezTo>
                <a:cubicBezTo>
                  <a:pt x="2646490" y="174445"/>
                  <a:pt x="2669810" y="174025"/>
                  <a:pt x="2692498" y="178279"/>
                </a:cubicBezTo>
                <a:cubicBezTo>
                  <a:pt x="2700924" y="179859"/>
                  <a:pt x="2707667" y="186299"/>
                  <a:pt x="2715501" y="189781"/>
                </a:cubicBezTo>
                <a:cubicBezTo>
                  <a:pt x="2734380" y="198172"/>
                  <a:pt x="2749835" y="201894"/>
                  <a:pt x="2767260" y="212785"/>
                </a:cubicBezTo>
                <a:cubicBezTo>
                  <a:pt x="2807150" y="237716"/>
                  <a:pt x="2771620" y="226309"/>
                  <a:pt x="2819018" y="235789"/>
                </a:cubicBezTo>
                <a:cubicBezTo>
                  <a:pt x="2852209" y="257917"/>
                  <a:pt x="2819451" y="238264"/>
                  <a:pt x="2870777" y="258793"/>
                </a:cubicBezTo>
                <a:cubicBezTo>
                  <a:pt x="2878737" y="261977"/>
                  <a:pt x="2885779" y="267217"/>
                  <a:pt x="2893781" y="270294"/>
                </a:cubicBezTo>
                <a:cubicBezTo>
                  <a:pt x="2910755" y="276822"/>
                  <a:pt x="2928286" y="281796"/>
                  <a:pt x="2945539" y="287547"/>
                </a:cubicBezTo>
                <a:cubicBezTo>
                  <a:pt x="2951290" y="289464"/>
                  <a:pt x="2957594" y="290179"/>
                  <a:pt x="2962792" y="293298"/>
                </a:cubicBezTo>
                <a:cubicBezTo>
                  <a:pt x="2972377" y="299049"/>
                  <a:pt x="2981229" y="306252"/>
                  <a:pt x="2991547" y="310551"/>
                </a:cubicBezTo>
                <a:cubicBezTo>
                  <a:pt x="3004429" y="315919"/>
                  <a:pt x="3018464" y="317949"/>
                  <a:pt x="3031803" y="322053"/>
                </a:cubicBezTo>
                <a:cubicBezTo>
                  <a:pt x="3043391" y="325619"/>
                  <a:pt x="3054495" y="330829"/>
                  <a:pt x="3066309" y="333555"/>
                </a:cubicBezTo>
                <a:cubicBezTo>
                  <a:pt x="3079517" y="336603"/>
                  <a:pt x="3093094" y="337809"/>
                  <a:pt x="3106566" y="339306"/>
                </a:cubicBezTo>
                <a:cubicBezTo>
                  <a:pt x="3161423" y="345401"/>
                  <a:pt x="3205310" y="347275"/>
                  <a:pt x="3261841" y="350808"/>
                </a:cubicBezTo>
                <a:cubicBezTo>
                  <a:pt x="3342142" y="370883"/>
                  <a:pt x="3253490" y="350423"/>
                  <a:pt x="3451622" y="362310"/>
                </a:cubicBezTo>
                <a:cubicBezTo>
                  <a:pt x="3491988" y="364732"/>
                  <a:pt x="3532119" y="370150"/>
                  <a:pt x="3572392" y="373811"/>
                </a:cubicBezTo>
                <a:lnTo>
                  <a:pt x="3710415" y="385313"/>
                </a:lnTo>
                <a:cubicBezTo>
                  <a:pt x="3729585" y="387230"/>
                  <a:pt x="3748708" y="389691"/>
                  <a:pt x="3767924" y="391064"/>
                </a:cubicBezTo>
                <a:lnTo>
                  <a:pt x="3951954" y="402566"/>
                </a:lnTo>
                <a:lnTo>
                  <a:pt x="4193494" y="414068"/>
                </a:lnTo>
                <a:cubicBezTo>
                  <a:pt x="4295094" y="412151"/>
                  <a:pt x="4396803" y="413392"/>
                  <a:pt x="4498294" y="408317"/>
                </a:cubicBezTo>
                <a:cubicBezTo>
                  <a:pt x="4512233" y="407620"/>
                  <a:pt x="4525012" y="400200"/>
                  <a:pt x="4538551" y="396815"/>
                </a:cubicBezTo>
                <a:cubicBezTo>
                  <a:pt x="4555697" y="392528"/>
                  <a:pt x="4573028" y="389016"/>
                  <a:pt x="4590309" y="385313"/>
                </a:cubicBezTo>
                <a:cubicBezTo>
                  <a:pt x="4599867" y="383265"/>
                  <a:pt x="4609701" y="382371"/>
                  <a:pt x="4619064" y="379562"/>
                </a:cubicBezTo>
                <a:cubicBezTo>
                  <a:pt x="4628952" y="376596"/>
                  <a:pt x="4637803" y="370565"/>
                  <a:pt x="4647818" y="368061"/>
                </a:cubicBezTo>
                <a:cubicBezTo>
                  <a:pt x="4668611" y="362863"/>
                  <a:pt x="4690106" y="360974"/>
                  <a:pt x="4711079" y="356559"/>
                </a:cubicBezTo>
                <a:cubicBezTo>
                  <a:pt x="4726548" y="353302"/>
                  <a:pt x="4757086" y="345057"/>
                  <a:pt x="4757086" y="345057"/>
                </a:cubicBezTo>
                <a:cubicBezTo>
                  <a:pt x="4796065" y="319071"/>
                  <a:pt x="4747656" y="347629"/>
                  <a:pt x="4820347" y="327804"/>
                </a:cubicBezTo>
                <a:cubicBezTo>
                  <a:pt x="4827015" y="325985"/>
                  <a:pt x="4831418" y="319393"/>
                  <a:pt x="4837600" y="316302"/>
                </a:cubicBezTo>
                <a:cubicBezTo>
                  <a:pt x="4847265" y="311469"/>
                  <a:pt x="4868641" y="307564"/>
                  <a:pt x="4877856" y="304800"/>
                </a:cubicBezTo>
                <a:cubicBezTo>
                  <a:pt x="4925799" y="290417"/>
                  <a:pt x="4898003" y="297474"/>
                  <a:pt x="4941117" y="281796"/>
                </a:cubicBezTo>
                <a:cubicBezTo>
                  <a:pt x="4952511" y="277653"/>
                  <a:pt x="4964778" y="275716"/>
                  <a:pt x="4975622" y="270294"/>
                </a:cubicBezTo>
                <a:cubicBezTo>
                  <a:pt x="4983290" y="266460"/>
                  <a:pt x="4990309" y="260872"/>
                  <a:pt x="4998626" y="258793"/>
                </a:cubicBezTo>
                <a:cubicBezTo>
                  <a:pt x="5013620" y="255045"/>
                  <a:pt x="5029358" y="255392"/>
                  <a:pt x="5044634" y="253042"/>
                </a:cubicBezTo>
                <a:cubicBezTo>
                  <a:pt x="5072816" y="248706"/>
                  <a:pt x="5070635" y="247264"/>
                  <a:pt x="5096392" y="241540"/>
                </a:cubicBezTo>
                <a:cubicBezTo>
                  <a:pt x="5105934" y="239420"/>
                  <a:pt x="5115530" y="237538"/>
                  <a:pt x="5125147" y="235789"/>
                </a:cubicBezTo>
                <a:cubicBezTo>
                  <a:pt x="5136619" y="233703"/>
                  <a:pt x="5148013" y="230743"/>
                  <a:pt x="5159652" y="230038"/>
                </a:cubicBezTo>
                <a:cubicBezTo>
                  <a:pt x="5211351" y="226905"/>
                  <a:pt x="5263138" y="224911"/>
                  <a:pt x="5314928" y="224287"/>
                </a:cubicBezTo>
                <a:lnTo>
                  <a:pt x="5648945" y="170977"/>
                </a:lnTo>
                <a:cubicBezTo>
                  <a:pt x="5668115" y="169060"/>
                  <a:pt x="5769159" y="126399"/>
                  <a:pt x="5788276" y="124009"/>
                </a:cubicBezTo>
                <a:cubicBezTo>
                  <a:pt x="5826947" y="109373"/>
                  <a:pt x="5776789" y="78908"/>
                  <a:pt x="5880969" y="83161"/>
                </a:cubicBezTo>
                <a:cubicBezTo>
                  <a:pt x="5896418" y="253834"/>
                  <a:pt x="5880969" y="926196"/>
                  <a:pt x="5880969" y="1148047"/>
                </a:cubicBezTo>
              </a:path>
            </a:pathLst>
          </a:custGeom>
          <a:gradFill flip="none" rotWithShape="1">
            <a:gsLst>
              <a:gs pos="0">
                <a:srgbClr val="3F647B">
                  <a:alpha val="49804"/>
                </a:srgbClr>
              </a:gs>
              <a:gs pos="100000">
                <a:srgbClr val="6DD9D9">
                  <a:alpha val="0"/>
                </a:srgbClr>
              </a:gs>
            </a:gsLst>
            <a:lin ang="5400000" scaled="1"/>
            <a:tileRect/>
          </a:gradFill>
          <a:ln w="12700" cmpd="sng">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grpSp>
        <p:nvGrpSpPr>
          <p:cNvPr id="54" name="Group 53"/>
          <p:cNvGrpSpPr/>
          <p:nvPr/>
        </p:nvGrpSpPr>
        <p:grpSpPr>
          <a:xfrm flipH="1">
            <a:off x="134940" y="2508659"/>
            <a:ext cx="6924228" cy="2099854"/>
            <a:chOff x="0" y="3043647"/>
            <a:chExt cx="7765473" cy="2099854"/>
          </a:xfrm>
        </p:grpSpPr>
        <p:sp>
          <p:nvSpPr>
            <p:cNvPr id="55" name="Freeform 54"/>
            <p:cNvSpPr/>
            <p:nvPr/>
          </p:nvSpPr>
          <p:spPr>
            <a:xfrm>
              <a:off x="158750" y="3057754"/>
              <a:ext cx="5848350" cy="2085745"/>
            </a:xfrm>
            <a:custGeom>
              <a:avLst/>
              <a:gdLst>
                <a:gd name="connsiteX0" fmla="*/ 1231900 w 5848350"/>
                <a:gd name="connsiteY0" fmla="*/ 2025650 h 2038350"/>
                <a:gd name="connsiteX1" fmla="*/ 5245100 w 5848350"/>
                <a:gd name="connsiteY1" fmla="*/ 946150 h 2038350"/>
                <a:gd name="connsiteX2" fmla="*/ 5759450 w 5848350"/>
                <a:gd name="connsiteY2" fmla="*/ 558800 h 2038350"/>
                <a:gd name="connsiteX3" fmla="*/ 5848350 w 5848350"/>
                <a:gd name="connsiteY3" fmla="*/ 393700 h 2038350"/>
                <a:gd name="connsiteX4" fmla="*/ 5480050 w 5848350"/>
                <a:gd name="connsiteY4" fmla="*/ 247650 h 2038350"/>
                <a:gd name="connsiteX5" fmla="*/ 4864100 w 5848350"/>
                <a:gd name="connsiteY5" fmla="*/ 165100 h 2038350"/>
                <a:gd name="connsiteX6" fmla="*/ 4362450 w 5848350"/>
                <a:gd name="connsiteY6" fmla="*/ 120650 h 2038350"/>
                <a:gd name="connsiteX7" fmla="*/ 3975100 w 5848350"/>
                <a:gd name="connsiteY7" fmla="*/ 88900 h 2038350"/>
                <a:gd name="connsiteX8" fmla="*/ 3708400 w 5848350"/>
                <a:gd name="connsiteY8" fmla="*/ 63500 h 2038350"/>
                <a:gd name="connsiteX9" fmla="*/ 3562350 w 5848350"/>
                <a:gd name="connsiteY9" fmla="*/ 44450 h 2038350"/>
                <a:gd name="connsiteX10" fmla="*/ 3511550 w 5848350"/>
                <a:gd name="connsiteY10" fmla="*/ 6350 h 2038350"/>
                <a:gd name="connsiteX11" fmla="*/ 3492500 w 5848350"/>
                <a:gd name="connsiteY11" fmla="*/ 0 h 2038350"/>
                <a:gd name="connsiteX12" fmla="*/ 3390900 w 5848350"/>
                <a:gd name="connsiteY12" fmla="*/ 12700 h 2038350"/>
                <a:gd name="connsiteX13" fmla="*/ 3314700 w 5848350"/>
                <a:gd name="connsiteY13" fmla="*/ 31750 h 2038350"/>
                <a:gd name="connsiteX14" fmla="*/ 3314700 w 5848350"/>
                <a:gd name="connsiteY14" fmla="*/ 31750 h 2038350"/>
                <a:gd name="connsiteX15" fmla="*/ 3708400 w 5848350"/>
                <a:gd name="connsiteY15" fmla="*/ 114300 h 2038350"/>
                <a:gd name="connsiteX16" fmla="*/ 4197350 w 5848350"/>
                <a:gd name="connsiteY16" fmla="*/ 171450 h 2038350"/>
                <a:gd name="connsiteX17" fmla="*/ 5029200 w 5848350"/>
                <a:gd name="connsiteY17" fmla="*/ 298450 h 2038350"/>
                <a:gd name="connsiteX18" fmla="*/ 5245100 w 5848350"/>
                <a:gd name="connsiteY18" fmla="*/ 400050 h 2038350"/>
                <a:gd name="connsiteX19" fmla="*/ 4800600 w 5848350"/>
                <a:gd name="connsiteY19" fmla="*/ 685800 h 2038350"/>
                <a:gd name="connsiteX20" fmla="*/ 292100 w 5848350"/>
                <a:gd name="connsiteY20" fmla="*/ 1803400 h 2038350"/>
                <a:gd name="connsiteX21" fmla="*/ 0 w 5848350"/>
                <a:gd name="connsiteY21" fmla="*/ 2038350 h 2038350"/>
                <a:gd name="connsiteX0" fmla="*/ 1231900 w 5848350"/>
                <a:gd name="connsiteY0" fmla="*/ 2025650 h 2038350"/>
                <a:gd name="connsiteX1" fmla="*/ 5245100 w 5848350"/>
                <a:gd name="connsiteY1" fmla="*/ 946150 h 2038350"/>
                <a:gd name="connsiteX2" fmla="*/ 5759450 w 5848350"/>
                <a:gd name="connsiteY2" fmla="*/ 558800 h 2038350"/>
                <a:gd name="connsiteX3" fmla="*/ 5848350 w 5848350"/>
                <a:gd name="connsiteY3" fmla="*/ 393700 h 2038350"/>
                <a:gd name="connsiteX4" fmla="*/ 5480050 w 5848350"/>
                <a:gd name="connsiteY4" fmla="*/ 247650 h 2038350"/>
                <a:gd name="connsiteX5" fmla="*/ 4864100 w 5848350"/>
                <a:gd name="connsiteY5" fmla="*/ 165100 h 2038350"/>
                <a:gd name="connsiteX6" fmla="*/ 4362450 w 5848350"/>
                <a:gd name="connsiteY6" fmla="*/ 120650 h 2038350"/>
                <a:gd name="connsiteX7" fmla="*/ 3975100 w 5848350"/>
                <a:gd name="connsiteY7" fmla="*/ 88900 h 2038350"/>
                <a:gd name="connsiteX8" fmla="*/ 3708400 w 5848350"/>
                <a:gd name="connsiteY8" fmla="*/ 63500 h 2038350"/>
                <a:gd name="connsiteX9" fmla="*/ 3562350 w 5848350"/>
                <a:gd name="connsiteY9" fmla="*/ 44450 h 2038350"/>
                <a:gd name="connsiteX10" fmla="*/ 3511550 w 5848350"/>
                <a:gd name="connsiteY10" fmla="*/ 6350 h 2038350"/>
                <a:gd name="connsiteX11" fmla="*/ 3492500 w 5848350"/>
                <a:gd name="connsiteY11" fmla="*/ 0 h 2038350"/>
                <a:gd name="connsiteX12" fmla="*/ 3390900 w 5848350"/>
                <a:gd name="connsiteY12" fmla="*/ 12700 h 2038350"/>
                <a:gd name="connsiteX13" fmla="*/ 3314700 w 5848350"/>
                <a:gd name="connsiteY13" fmla="*/ 31750 h 2038350"/>
                <a:gd name="connsiteX14" fmla="*/ 3314700 w 5848350"/>
                <a:gd name="connsiteY14" fmla="*/ 31750 h 2038350"/>
                <a:gd name="connsiteX15" fmla="*/ 3708400 w 5848350"/>
                <a:gd name="connsiteY15" fmla="*/ 114300 h 2038350"/>
                <a:gd name="connsiteX16" fmla="*/ 4197350 w 5848350"/>
                <a:gd name="connsiteY16" fmla="*/ 171450 h 2038350"/>
                <a:gd name="connsiteX17" fmla="*/ 5029200 w 5848350"/>
                <a:gd name="connsiteY17" fmla="*/ 298450 h 2038350"/>
                <a:gd name="connsiteX18" fmla="*/ 5245100 w 5848350"/>
                <a:gd name="connsiteY18" fmla="*/ 400050 h 2038350"/>
                <a:gd name="connsiteX19" fmla="*/ 4500677 w 5848350"/>
                <a:gd name="connsiteY19" fmla="*/ 568757 h 2038350"/>
                <a:gd name="connsiteX20" fmla="*/ 292100 w 5848350"/>
                <a:gd name="connsiteY20" fmla="*/ 1803400 h 2038350"/>
                <a:gd name="connsiteX21" fmla="*/ 0 w 5848350"/>
                <a:gd name="connsiteY21" fmla="*/ 2038350 h 2038350"/>
                <a:gd name="connsiteX0" fmla="*/ 1231900 w 5848350"/>
                <a:gd name="connsiteY0" fmla="*/ 2157324 h 2170024"/>
                <a:gd name="connsiteX1" fmla="*/ 5245100 w 5848350"/>
                <a:gd name="connsiteY1" fmla="*/ 1077824 h 2170024"/>
                <a:gd name="connsiteX2" fmla="*/ 5759450 w 5848350"/>
                <a:gd name="connsiteY2" fmla="*/ 690474 h 2170024"/>
                <a:gd name="connsiteX3" fmla="*/ 5848350 w 5848350"/>
                <a:gd name="connsiteY3" fmla="*/ 525374 h 2170024"/>
                <a:gd name="connsiteX4" fmla="*/ 5480050 w 5848350"/>
                <a:gd name="connsiteY4" fmla="*/ 379324 h 2170024"/>
                <a:gd name="connsiteX5" fmla="*/ 4864100 w 5848350"/>
                <a:gd name="connsiteY5" fmla="*/ 296774 h 2170024"/>
                <a:gd name="connsiteX6" fmla="*/ 4362450 w 5848350"/>
                <a:gd name="connsiteY6" fmla="*/ 252324 h 2170024"/>
                <a:gd name="connsiteX7" fmla="*/ 3975100 w 5848350"/>
                <a:gd name="connsiteY7" fmla="*/ 220574 h 2170024"/>
                <a:gd name="connsiteX8" fmla="*/ 3708400 w 5848350"/>
                <a:gd name="connsiteY8" fmla="*/ 195174 h 2170024"/>
                <a:gd name="connsiteX9" fmla="*/ 3562350 w 5848350"/>
                <a:gd name="connsiteY9" fmla="*/ 176124 h 2170024"/>
                <a:gd name="connsiteX10" fmla="*/ 3511550 w 5848350"/>
                <a:gd name="connsiteY10" fmla="*/ 138024 h 2170024"/>
                <a:gd name="connsiteX11" fmla="*/ 5730951 w 5848350"/>
                <a:gd name="connsiteY11" fmla="*/ 0 h 2170024"/>
                <a:gd name="connsiteX12" fmla="*/ 3390900 w 5848350"/>
                <a:gd name="connsiteY12" fmla="*/ 144374 h 2170024"/>
                <a:gd name="connsiteX13" fmla="*/ 3314700 w 5848350"/>
                <a:gd name="connsiteY13" fmla="*/ 163424 h 2170024"/>
                <a:gd name="connsiteX14" fmla="*/ 3314700 w 5848350"/>
                <a:gd name="connsiteY14" fmla="*/ 163424 h 2170024"/>
                <a:gd name="connsiteX15" fmla="*/ 3708400 w 5848350"/>
                <a:gd name="connsiteY15" fmla="*/ 245974 h 2170024"/>
                <a:gd name="connsiteX16" fmla="*/ 4197350 w 5848350"/>
                <a:gd name="connsiteY16" fmla="*/ 303124 h 2170024"/>
                <a:gd name="connsiteX17" fmla="*/ 5029200 w 5848350"/>
                <a:gd name="connsiteY17" fmla="*/ 430124 h 2170024"/>
                <a:gd name="connsiteX18" fmla="*/ 5245100 w 5848350"/>
                <a:gd name="connsiteY18" fmla="*/ 531724 h 2170024"/>
                <a:gd name="connsiteX19" fmla="*/ 4500677 w 5848350"/>
                <a:gd name="connsiteY19" fmla="*/ 700431 h 2170024"/>
                <a:gd name="connsiteX20" fmla="*/ 292100 w 5848350"/>
                <a:gd name="connsiteY20" fmla="*/ 1935074 h 2170024"/>
                <a:gd name="connsiteX21" fmla="*/ 0 w 5848350"/>
                <a:gd name="connsiteY21" fmla="*/ 2170024 h 2170024"/>
                <a:gd name="connsiteX0" fmla="*/ 1231900 w 5848350"/>
                <a:gd name="connsiteY0" fmla="*/ 2019300 h 2032000"/>
                <a:gd name="connsiteX1" fmla="*/ 5245100 w 5848350"/>
                <a:gd name="connsiteY1" fmla="*/ 939800 h 2032000"/>
                <a:gd name="connsiteX2" fmla="*/ 5759450 w 5848350"/>
                <a:gd name="connsiteY2" fmla="*/ 552450 h 2032000"/>
                <a:gd name="connsiteX3" fmla="*/ 5848350 w 5848350"/>
                <a:gd name="connsiteY3" fmla="*/ 387350 h 2032000"/>
                <a:gd name="connsiteX4" fmla="*/ 5480050 w 5848350"/>
                <a:gd name="connsiteY4" fmla="*/ 241300 h 2032000"/>
                <a:gd name="connsiteX5" fmla="*/ 4864100 w 5848350"/>
                <a:gd name="connsiteY5" fmla="*/ 158750 h 2032000"/>
                <a:gd name="connsiteX6" fmla="*/ 4362450 w 5848350"/>
                <a:gd name="connsiteY6" fmla="*/ 114300 h 2032000"/>
                <a:gd name="connsiteX7" fmla="*/ 3975100 w 5848350"/>
                <a:gd name="connsiteY7" fmla="*/ 82550 h 2032000"/>
                <a:gd name="connsiteX8" fmla="*/ 3708400 w 5848350"/>
                <a:gd name="connsiteY8" fmla="*/ 57150 h 2032000"/>
                <a:gd name="connsiteX9" fmla="*/ 3562350 w 5848350"/>
                <a:gd name="connsiteY9" fmla="*/ 38100 h 2032000"/>
                <a:gd name="connsiteX10" fmla="*/ 3511550 w 5848350"/>
                <a:gd name="connsiteY10" fmla="*/ 0 h 2032000"/>
                <a:gd name="connsiteX11" fmla="*/ 3390900 w 5848350"/>
                <a:gd name="connsiteY11" fmla="*/ 6350 h 2032000"/>
                <a:gd name="connsiteX12" fmla="*/ 3314700 w 5848350"/>
                <a:gd name="connsiteY12" fmla="*/ 25400 h 2032000"/>
                <a:gd name="connsiteX13" fmla="*/ 3314700 w 5848350"/>
                <a:gd name="connsiteY13" fmla="*/ 25400 h 2032000"/>
                <a:gd name="connsiteX14" fmla="*/ 3708400 w 5848350"/>
                <a:gd name="connsiteY14" fmla="*/ 107950 h 2032000"/>
                <a:gd name="connsiteX15" fmla="*/ 4197350 w 5848350"/>
                <a:gd name="connsiteY15" fmla="*/ 165100 h 2032000"/>
                <a:gd name="connsiteX16" fmla="*/ 5029200 w 5848350"/>
                <a:gd name="connsiteY16" fmla="*/ 292100 h 2032000"/>
                <a:gd name="connsiteX17" fmla="*/ 5245100 w 5848350"/>
                <a:gd name="connsiteY17" fmla="*/ 393700 h 2032000"/>
                <a:gd name="connsiteX18" fmla="*/ 4500677 w 5848350"/>
                <a:gd name="connsiteY18" fmla="*/ 562407 h 2032000"/>
                <a:gd name="connsiteX19" fmla="*/ 292100 w 5848350"/>
                <a:gd name="connsiteY19" fmla="*/ 1797050 h 2032000"/>
                <a:gd name="connsiteX20" fmla="*/ 0 w 5848350"/>
                <a:gd name="connsiteY20" fmla="*/ 2032000 h 2032000"/>
                <a:gd name="connsiteX0" fmla="*/ 1231900 w 5848350"/>
                <a:gd name="connsiteY0" fmla="*/ 2019300 h 2032000"/>
                <a:gd name="connsiteX1" fmla="*/ 5245100 w 5848350"/>
                <a:gd name="connsiteY1" fmla="*/ 939800 h 2032000"/>
                <a:gd name="connsiteX2" fmla="*/ 5759450 w 5848350"/>
                <a:gd name="connsiteY2" fmla="*/ 552450 h 2032000"/>
                <a:gd name="connsiteX3" fmla="*/ 5848350 w 5848350"/>
                <a:gd name="connsiteY3" fmla="*/ 387350 h 2032000"/>
                <a:gd name="connsiteX4" fmla="*/ 5480050 w 5848350"/>
                <a:gd name="connsiteY4" fmla="*/ 241300 h 2032000"/>
                <a:gd name="connsiteX5" fmla="*/ 4864100 w 5848350"/>
                <a:gd name="connsiteY5" fmla="*/ 158750 h 2032000"/>
                <a:gd name="connsiteX6" fmla="*/ 4362450 w 5848350"/>
                <a:gd name="connsiteY6" fmla="*/ 114300 h 2032000"/>
                <a:gd name="connsiteX7" fmla="*/ 3975100 w 5848350"/>
                <a:gd name="connsiteY7" fmla="*/ 82550 h 2032000"/>
                <a:gd name="connsiteX8" fmla="*/ 3708400 w 5848350"/>
                <a:gd name="connsiteY8" fmla="*/ 57150 h 2032000"/>
                <a:gd name="connsiteX9" fmla="*/ 3511550 w 5848350"/>
                <a:gd name="connsiteY9" fmla="*/ 0 h 2032000"/>
                <a:gd name="connsiteX10" fmla="*/ 3390900 w 5848350"/>
                <a:gd name="connsiteY10" fmla="*/ 6350 h 2032000"/>
                <a:gd name="connsiteX11" fmla="*/ 3314700 w 5848350"/>
                <a:gd name="connsiteY11" fmla="*/ 25400 h 2032000"/>
                <a:gd name="connsiteX12" fmla="*/ 3314700 w 5848350"/>
                <a:gd name="connsiteY12" fmla="*/ 25400 h 2032000"/>
                <a:gd name="connsiteX13" fmla="*/ 3708400 w 5848350"/>
                <a:gd name="connsiteY13" fmla="*/ 107950 h 2032000"/>
                <a:gd name="connsiteX14" fmla="*/ 4197350 w 5848350"/>
                <a:gd name="connsiteY14" fmla="*/ 165100 h 2032000"/>
                <a:gd name="connsiteX15" fmla="*/ 5029200 w 5848350"/>
                <a:gd name="connsiteY15" fmla="*/ 292100 h 2032000"/>
                <a:gd name="connsiteX16" fmla="*/ 5245100 w 5848350"/>
                <a:gd name="connsiteY16" fmla="*/ 393700 h 2032000"/>
                <a:gd name="connsiteX17" fmla="*/ 4500677 w 5848350"/>
                <a:gd name="connsiteY17" fmla="*/ 562407 h 2032000"/>
                <a:gd name="connsiteX18" fmla="*/ 292100 w 5848350"/>
                <a:gd name="connsiteY18" fmla="*/ 1797050 h 2032000"/>
                <a:gd name="connsiteX19" fmla="*/ 0 w 5848350"/>
                <a:gd name="connsiteY19" fmla="*/ 2032000 h 2032000"/>
                <a:gd name="connsiteX0" fmla="*/ 1231900 w 5848350"/>
                <a:gd name="connsiteY0" fmla="*/ 2019300 h 2032000"/>
                <a:gd name="connsiteX1" fmla="*/ 5245100 w 5848350"/>
                <a:gd name="connsiteY1" fmla="*/ 939800 h 2032000"/>
                <a:gd name="connsiteX2" fmla="*/ 5759450 w 5848350"/>
                <a:gd name="connsiteY2" fmla="*/ 552450 h 2032000"/>
                <a:gd name="connsiteX3" fmla="*/ 5848350 w 5848350"/>
                <a:gd name="connsiteY3" fmla="*/ 387350 h 2032000"/>
                <a:gd name="connsiteX4" fmla="*/ 5480050 w 5848350"/>
                <a:gd name="connsiteY4" fmla="*/ 241300 h 2032000"/>
                <a:gd name="connsiteX5" fmla="*/ 4864100 w 5848350"/>
                <a:gd name="connsiteY5" fmla="*/ 158750 h 2032000"/>
                <a:gd name="connsiteX6" fmla="*/ 4362450 w 5848350"/>
                <a:gd name="connsiteY6" fmla="*/ 114300 h 2032000"/>
                <a:gd name="connsiteX7" fmla="*/ 3975100 w 5848350"/>
                <a:gd name="connsiteY7" fmla="*/ 82550 h 2032000"/>
                <a:gd name="connsiteX8" fmla="*/ 3511550 w 5848350"/>
                <a:gd name="connsiteY8" fmla="*/ 0 h 2032000"/>
                <a:gd name="connsiteX9" fmla="*/ 3390900 w 5848350"/>
                <a:gd name="connsiteY9" fmla="*/ 6350 h 2032000"/>
                <a:gd name="connsiteX10" fmla="*/ 3314700 w 5848350"/>
                <a:gd name="connsiteY10" fmla="*/ 25400 h 2032000"/>
                <a:gd name="connsiteX11" fmla="*/ 3314700 w 5848350"/>
                <a:gd name="connsiteY11" fmla="*/ 25400 h 2032000"/>
                <a:gd name="connsiteX12" fmla="*/ 3708400 w 5848350"/>
                <a:gd name="connsiteY12" fmla="*/ 107950 h 2032000"/>
                <a:gd name="connsiteX13" fmla="*/ 4197350 w 5848350"/>
                <a:gd name="connsiteY13" fmla="*/ 165100 h 2032000"/>
                <a:gd name="connsiteX14" fmla="*/ 5029200 w 5848350"/>
                <a:gd name="connsiteY14" fmla="*/ 292100 h 2032000"/>
                <a:gd name="connsiteX15" fmla="*/ 5245100 w 5848350"/>
                <a:gd name="connsiteY15" fmla="*/ 393700 h 2032000"/>
                <a:gd name="connsiteX16" fmla="*/ 4500677 w 5848350"/>
                <a:gd name="connsiteY16" fmla="*/ 562407 h 2032000"/>
                <a:gd name="connsiteX17" fmla="*/ 292100 w 5848350"/>
                <a:gd name="connsiteY17" fmla="*/ 1797050 h 2032000"/>
                <a:gd name="connsiteX18" fmla="*/ 0 w 5848350"/>
                <a:gd name="connsiteY18" fmla="*/ 2032000 h 2032000"/>
                <a:gd name="connsiteX0" fmla="*/ 1231900 w 5848350"/>
                <a:gd name="connsiteY0" fmla="*/ 2019300 h 2032000"/>
                <a:gd name="connsiteX1" fmla="*/ 5245100 w 5848350"/>
                <a:gd name="connsiteY1" fmla="*/ 939800 h 2032000"/>
                <a:gd name="connsiteX2" fmla="*/ 5759450 w 5848350"/>
                <a:gd name="connsiteY2" fmla="*/ 552450 h 2032000"/>
                <a:gd name="connsiteX3" fmla="*/ 5848350 w 5848350"/>
                <a:gd name="connsiteY3" fmla="*/ 387350 h 2032000"/>
                <a:gd name="connsiteX4" fmla="*/ 5480050 w 5848350"/>
                <a:gd name="connsiteY4" fmla="*/ 241300 h 2032000"/>
                <a:gd name="connsiteX5" fmla="*/ 4864100 w 5848350"/>
                <a:gd name="connsiteY5" fmla="*/ 158750 h 2032000"/>
                <a:gd name="connsiteX6" fmla="*/ 4362450 w 5848350"/>
                <a:gd name="connsiteY6" fmla="*/ 114300 h 2032000"/>
                <a:gd name="connsiteX7" fmla="*/ 3511550 w 5848350"/>
                <a:gd name="connsiteY7" fmla="*/ 0 h 2032000"/>
                <a:gd name="connsiteX8" fmla="*/ 3390900 w 5848350"/>
                <a:gd name="connsiteY8" fmla="*/ 6350 h 2032000"/>
                <a:gd name="connsiteX9" fmla="*/ 3314700 w 5848350"/>
                <a:gd name="connsiteY9" fmla="*/ 25400 h 2032000"/>
                <a:gd name="connsiteX10" fmla="*/ 3314700 w 5848350"/>
                <a:gd name="connsiteY10" fmla="*/ 25400 h 2032000"/>
                <a:gd name="connsiteX11" fmla="*/ 3708400 w 5848350"/>
                <a:gd name="connsiteY11" fmla="*/ 107950 h 2032000"/>
                <a:gd name="connsiteX12" fmla="*/ 4197350 w 5848350"/>
                <a:gd name="connsiteY12" fmla="*/ 165100 h 2032000"/>
                <a:gd name="connsiteX13" fmla="*/ 5029200 w 5848350"/>
                <a:gd name="connsiteY13" fmla="*/ 292100 h 2032000"/>
                <a:gd name="connsiteX14" fmla="*/ 5245100 w 5848350"/>
                <a:gd name="connsiteY14" fmla="*/ 393700 h 2032000"/>
                <a:gd name="connsiteX15" fmla="*/ 4500677 w 5848350"/>
                <a:gd name="connsiteY15" fmla="*/ 562407 h 2032000"/>
                <a:gd name="connsiteX16" fmla="*/ 292100 w 5848350"/>
                <a:gd name="connsiteY16" fmla="*/ 1797050 h 2032000"/>
                <a:gd name="connsiteX17" fmla="*/ 0 w 5848350"/>
                <a:gd name="connsiteY17" fmla="*/ 2032000 h 2032000"/>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480050 w 5848350"/>
                <a:gd name="connsiteY4" fmla="*/ 375717 h 2166417"/>
                <a:gd name="connsiteX5" fmla="*/ 4864100 w 5848350"/>
                <a:gd name="connsiteY5" fmla="*/ 293167 h 2166417"/>
                <a:gd name="connsiteX6" fmla="*/ 5745023 w 5848350"/>
                <a:gd name="connsiteY6" fmla="*/ 0 h 2166417"/>
                <a:gd name="connsiteX7" fmla="*/ 3511550 w 5848350"/>
                <a:gd name="connsiteY7" fmla="*/ 134417 h 2166417"/>
                <a:gd name="connsiteX8" fmla="*/ 3390900 w 5848350"/>
                <a:gd name="connsiteY8" fmla="*/ 140767 h 2166417"/>
                <a:gd name="connsiteX9" fmla="*/ 3314700 w 5848350"/>
                <a:gd name="connsiteY9" fmla="*/ 159817 h 2166417"/>
                <a:gd name="connsiteX10" fmla="*/ 3314700 w 5848350"/>
                <a:gd name="connsiteY10" fmla="*/ 159817 h 2166417"/>
                <a:gd name="connsiteX11" fmla="*/ 3708400 w 5848350"/>
                <a:gd name="connsiteY11" fmla="*/ 242367 h 2166417"/>
                <a:gd name="connsiteX12" fmla="*/ 4197350 w 5848350"/>
                <a:gd name="connsiteY12" fmla="*/ 299517 h 2166417"/>
                <a:gd name="connsiteX13" fmla="*/ 5029200 w 5848350"/>
                <a:gd name="connsiteY13" fmla="*/ 426517 h 2166417"/>
                <a:gd name="connsiteX14" fmla="*/ 5245100 w 5848350"/>
                <a:gd name="connsiteY14" fmla="*/ 528117 h 2166417"/>
                <a:gd name="connsiteX15" fmla="*/ 4500677 w 5848350"/>
                <a:gd name="connsiteY15" fmla="*/ 696824 h 2166417"/>
                <a:gd name="connsiteX16" fmla="*/ 292100 w 5848350"/>
                <a:gd name="connsiteY16" fmla="*/ 1931467 h 2166417"/>
                <a:gd name="connsiteX17" fmla="*/ 0 w 5848350"/>
                <a:gd name="connsiteY17"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480050 w 5848350"/>
                <a:gd name="connsiteY4" fmla="*/ 375717 h 2166417"/>
                <a:gd name="connsiteX5" fmla="*/ 5778500 w 5848350"/>
                <a:gd name="connsiteY5" fmla="*/ 278537 h 2166417"/>
                <a:gd name="connsiteX6" fmla="*/ 5745023 w 5848350"/>
                <a:gd name="connsiteY6" fmla="*/ 0 h 2166417"/>
                <a:gd name="connsiteX7" fmla="*/ 3511550 w 5848350"/>
                <a:gd name="connsiteY7" fmla="*/ 134417 h 2166417"/>
                <a:gd name="connsiteX8" fmla="*/ 3390900 w 5848350"/>
                <a:gd name="connsiteY8" fmla="*/ 140767 h 2166417"/>
                <a:gd name="connsiteX9" fmla="*/ 3314700 w 5848350"/>
                <a:gd name="connsiteY9" fmla="*/ 159817 h 2166417"/>
                <a:gd name="connsiteX10" fmla="*/ 3314700 w 5848350"/>
                <a:gd name="connsiteY10" fmla="*/ 159817 h 2166417"/>
                <a:gd name="connsiteX11" fmla="*/ 3708400 w 5848350"/>
                <a:gd name="connsiteY11" fmla="*/ 242367 h 2166417"/>
                <a:gd name="connsiteX12" fmla="*/ 4197350 w 5848350"/>
                <a:gd name="connsiteY12" fmla="*/ 299517 h 2166417"/>
                <a:gd name="connsiteX13" fmla="*/ 5029200 w 5848350"/>
                <a:gd name="connsiteY13" fmla="*/ 426517 h 2166417"/>
                <a:gd name="connsiteX14" fmla="*/ 5245100 w 5848350"/>
                <a:gd name="connsiteY14" fmla="*/ 528117 h 2166417"/>
                <a:gd name="connsiteX15" fmla="*/ 4500677 w 5848350"/>
                <a:gd name="connsiteY15" fmla="*/ 696824 h 2166417"/>
                <a:gd name="connsiteX16" fmla="*/ 292100 w 5848350"/>
                <a:gd name="connsiteY16" fmla="*/ 1931467 h 2166417"/>
                <a:gd name="connsiteX17" fmla="*/ 0 w 5848350"/>
                <a:gd name="connsiteY17"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553202 w 5848350"/>
                <a:gd name="connsiteY4" fmla="*/ 375717 h 2166417"/>
                <a:gd name="connsiteX5" fmla="*/ 5778500 w 5848350"/>
                <a:gd name="connsiteY5" fmla="*/ 278537 h 2166417"/>
                <a:gd name="connsiteX6" fmla="*/ 5745023 w 5848350"/>
                <a:gd name="connsiteY6" fmla="*/ 0 h 2166417"/>
                <a:gd name="connsiteX7" fmla="*/ 3511550 w 5848350"/>
                <a:gd name="connsiteY7" fmla="*/ 134417 h 2166417"/>
                <a:gd name="connsiteX8" fmla="*/ 3390900 w 5848350"/>
                <a:gd name="connsiteY8" fmla="*/ 140767 h 2166417"/>
                <a:gd name="connsiteX9" fmla="*/ 3314700 w 5848350"/>
                <a:gd name="connsiteY9" fmla="*/ 159817 h 2166417"/>
                <a:gd name="connsiteX10" fmla="*/ 3314700 w 5848350"/>
                <a:gd name="connsiteY10" fmla="*/ 159817 h 2166417"/>
                <a:gd name="connsiteX11" fmla="*/ 3708400 w 5848350"/>
                <a:gd name="connsiteY11" fmla="*/ 242367 h 2166417"/>
                <a:gd name="connsiteX12" fmla="*/ 4197350 w 5848350"/>
                <a:gd name="connsiteY12" fmla="*/ 299517 h 2166417"/>
                <a:gd name="connsiteX13" fmla="*/ 5029200 w 5848350"/>
                <a:gd name="connsiteY13" fmla="*/ 426517 h 2166417"/>
                <a:gd name="connsiteX14" fmla="*/ 5245100 w 5848350"/>
                <a:gd name="connsiteY14" fmla="*/ 528117 h 2166417"/>
                <a:gd name="connsiteX15" fmla="*/ 4500677 w 5848350"/>
                <a:gd name="connsiteY15" fmla="*/ 696824 h 2166417"/>
                <a:gd name="connsiteX16" fmla="*/ 292100 w 5848350"/>
                <a:gd name="connsiteY16" fmla="*/ 1931467 h 2166417"/>
                <a:gd name="connsiteX17" fmla="*/ 0 w 5848350"/>
                <a:gd name="connsiteY17"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553202 w 5848350"/>
                <a:gd name="connsiteY4" fmla="*/ 375717 h 2166417"/>
                <a:gd name="connsiteX5" fmla="*/ 5778500 w 5848350"/>
                <a:gd name="connsiteY5" fmla="*/ 278537 h 2166417"/>
                <a:gd name="connsiteX6" fmla="*/ 5745023 w 5848350"/>
                <a:gd name="connsiteY6" fmla="*/ 0 h 2166417"/>
                <a:gd name="connsiteX7" fmla="*/ 3511550 w 5848350"/>
                <a:gd name="connsiteY7" fmla="*/ 134417 h 2166417"/>
                <a:gd name="connsiteX8" fmla="*/ 3390900 w 5848350"/>
                <a:gd name="connsiteY8" fmla="*/ 140767 h 2166417"/>
                <a:gd name="connsiteX9" fmla="*/ 3314700 w 5848350"/>
                <a:gd name="connsiteY9" fmla="*/ 159817 h 2166417"/>
                <a:gd name="connsiteX10" fmla="*/ 3314700 w 5848350"/>
                <a:gd name="connsiteY10" fmla="*/ 159817 h 2166417"/>
                <a:gd name="connsiteX11" fmla="*/ 3708400 w 5848350"/>
                <a:gd name="connsiteY11" fmla="*/ 242367 h 2166417"/>
                <a:gd name="connsiteX12" fmla="*/ 4197350 w 5848350"/>
                <a:gd name="connsiteY12" fmla="*/ 299517 h 2166417"/>
                <a:gd name="connsiteX13" fmla="*/ 5029200 w 5848350"/>
                <a:gd name="connsiteY13" fmla="*/ 426517 h 2166417"/>
                <a:gd name="connsiteX14" fmla="*/ 4850079 w 5848350"/>
                <a:gd name="connsiteY14" fmla="*/ 528117 h 2166417"/>
                <a:gd name="connsiteX15" fmla="*/ 4500677 w 5848350"/>
                <a:gd name="connsiteY15" fmla="*/ 696824 h 2166417"/>
                <a:gd name="connsiteX16" fmla="*/ 292100 w 5848350"/>
                <a:gd name="connsiteY16" fmla="*/ 1931467 h 2166417"/>
                <a:gd name="connsiteX17" fmla="*/ 0 w 5848350"/>
                <a:gd name="connsiteY17"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553202 w 5848350"/>
                <a:gd name="connsiteY4" fmla="*/ 375717 h 2166417"/>
                <a:gd name="connsiteX5" fmla="*/ 5778500 w 5848350"/>
                <a:gd name="connsiteY5" fmla="*/ 278537 h 2166417"/>
                <a:gd name="connsiteX6" fmla="*/ 5745023 w 5848350"/>
                <a:gd name="connsiteY6" fmla="*/ 0 h 2166417"/>
                <a:gd name="connsiteX7" fmla="*/ 3511550 w 5848350"/>
                <a:gd name="connsiteY7" fmla="*/ 134417 h 2166417"/>
                <a:gd name="connsiteX8" fmla="*/ 3390900 w 5848350"/>
                <a:gd name="connsiteY8" fmla="*/ 140767 h 2166417"/>
                <a:gd name="connsiteX9" fmla="*/ 3314700 w 5848350"/>
                <a:gd name="connsiteY9" fmla="*/ 159817 h 2166417"/>
                <a:gd name="connsiteX10" fmla="*/ 3314700 w 5848350"/>
                <a:gd name="connsiteY10" fmla="*/ 159817 h 2166417"/>
                <a:gd name="connsiteX11" fmla="*/ 3708400 w 5848350"/>
                <a:gd name="connsiteY11" fmla="*/ 242367 h 2166417"/>
                <a:gd name="connsiteX12" fmla="*/ 5082489 w 5848350"/>
                <a:gd name="connsiteY12" fmla="*/ 262941 h 2166417"/>
                <a:gd name="connsiteX13" fmla="*/ 5029200 w 5848350"/>
                <a:gd name="connsiteY13" fmla="*/ 426517 h 2166417"/>
                <a:gd name="connsiteX14" fmla="*/ 4850079 w 5848350"/>
                <a:gd name="connsiteY14" fmla="*/ 528117 h 2166417"/>
                <a:gd name="connsiteX15" fmla="*/ 4500677 w 5848350"/>
                <a:gd name="connsiteY15" fmla="*/ 696824 h 2166417"/>
                <a:gd name="connsiteX16" fmla="*/ 292100 w 5848350"/>
                <a:gd name="connsiteY16" fmla="*/ 1931467 h 2166417"/>
                <a:gd name="connsiteX17" fmla="*/ 0 w 5848350"/>
                <a:gd name="connsiteY17"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553202 w 5848350"/>
                <a:gd name="connsiteY4" fmla="*/ 375717 h 2166417"/>
                <a:gd name="connsiteX5" fmla="*/ 5778500 w 5848350"/>
                <a:gd name="connsiteY5" fmla="*/ 278537 h 2166417"/>
                <a:gd name="connsiteX6" fmla="*/ 5745023 w 5848350"/>
                <a:gd name="connsiteY6" fmla="*/ 0 h 2166417"/>
                <a:gd name="connsiteX7" fmla="*/ 3511550 w 5848350"/>
                <a:gd name="connsiteY7" fmla="*/ 134417 h 2166417"/>
                <a:gd name="connsiteX8" fmla="*/ 3390900 w 5848350"/>
                <a:gd name="connsiteY8" fmla="*/ 140767 h 2166417"/>
                <a:gd name="connsiteX9" fmla="*/ 3314700 w 5848350"/>
                <a:gd name="connsiteY9" fmla="*/ 159817 h 2166417"/>
                <a:gd name="connsiteX10" fmla="*/ 3708400 w 5848350"/>
                <a:gd name="connsiteY10" fmla="*/ 242367 h 2166417"/>
                <a:gd name="connsiteX11" fmla="*/ 5082489 w 5848350"/>
                <a:gd name="connsiteY11" fmla="*/ 262941 h 2166417"/>
                <a:gd name="connsiteX12" fmla="*/ 5029200 w 5848350"/>
                <a:gd name="connsiteY12" fmla="*/ 426517 h 2166417"/>
                <a:gd name="connsiteX13" fmla="*/ 4850079 w 5848350"/>
                <a:gd name="connsiteY13" fmla="*/ 528117 h 2166417"/>
                <a:gd name="connsiteX14" fmla="*/ 4500677 w 5848350"/>
                <a:gd name="connsiteY14" fmla="*/ 696824 h 2166417"/>
                <a:gd name="connsiteX15" fmla="*/ 292100 w 5848350"/>
                <a:gd name="connsiteY15" fmla="*/ 1931467 h 2166417"/>
                <a:gd name="connsiteX16" fmla="*/ 0 w 5848350"/>
                <a:gd name="connsiteY16"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553202 w 5848350"/>
                <a:gd name="connsiteY4" fmla="*/ 375717 h 2166417"/>
                <a:gd name="connsiteX5" fmla="*/ 5778500 w 5848350"/>
                <a:gd name="connsiteY5" fmla="*/ 278537 h 2166417"/>
                <a:gd name="connsiteX6" fmla="*/ 5745023 w 5848350"/>
                <a:gd name="connsiteY6" fmla="*/ 0 h 2166417"/>
                <a:gd name="connsiteX7" fmla="*/ 5281829 w 5848350"/>
                <a:gd name="connsiteY7" fmla="*/ 75896 h 2166417"/>
                <a:gd name="connsiteX8" fmla="*/ 3390900 w 5848350"/>
                <a:gd name="connsiteY8" fmla="*/ 140767 h 2166417"/>
                <a:gd name="connsiteX9" fmla="*/ 3314700 w 5848350"/>
                <a:gd name="connsiteY9" fmla="*/ 159817 h 2166417"/>
                <a:gd name="connsiteX10" fmla="*/ 3708400 w 5848350"/>
                <a:gd name="connsiteY10" fmla="*/ 242367 h 2166417"/>
                <a:gd name="connsiteX11" fmla="*/ 5082489 w 5848350"/>
                <a:gd name="connsiteY11" fmla="*/ 262941 h 2166417"/>
                <a:gd name="connsiteX12" fmla="*/ 5029200 w 5848350"/>
                <a:gd name="connsiteY12" fmla="*/ 426517 h 2166417"/>
                <a:gd name="connsiteX13" fmla="*/ 4850079 w 5848350"/>
                <a:gd name="connsiteY13" fmla="*/ 528117 h 2166417"/>
                <a:gd name="connsiteX14" fmla="*/ 4500677 w 5848350"/>
                <a:gd name="connsiteY14" fmla="*/ 696824 h 2166417"/>
                <a:gd name="connsiteX15" fmla="*/ 292100 w 5848350"/>
                <a:gd name="connsiteY15" fmla="*/ 1931467 h 2166417"/>
                <a:gd name="connsiteX16" fmla="*/ 0 w 5848350"/>
                <a:gd name="connsiteY16"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553202 w 5848350"/>
                <a:gd name="connsiteY4" fmla="*/ 375717 h 2166417"/>
                <a:gd name="connsiteX5" fmla="*/ 5778500 w 5848350"/>
                <a:gd name="connsiteY5" fmla="*/ 278537 h 2166417"/>
                <a:gd name="connsiteX6" fmla="*/ 5745023 w 5848350"/>
                <a:gd name="connsiteY6" fmla="*/ 0 h 2166417"/>
                <a:gd name="connsiteX7" fmla="*/ 5281829 w 5848350"/>
                <a:gd name="connsiteY7" fmla="*/ 75896 h 2166417"/>
                <a:gd name="connsiteX8" fmla="*/ 3314700 w 5848350"/>
                <a:gd name="connsiteY8" fmla="*/ 159817 h 2166417"/>
                <a:gd name="connsiteX9" fmla="*/ 3708400 w 5848350"/>
                <a:gd name="connsiteY9" fmla="*/ 242367 h 2166417"/>
                <a:gd name="connsiteX10" fmla="*/ 5082489 w 5848350"/>
                <a:gd name="connsiteY10" fmla="*/ 262941 h 2166417"/>
                <a:gd name="connsiteX11" fmla="*/ 5029200 w 5848350"/>
                <a:gd name="connsiteY11" fmla="*/ 426517 h 2166417"/>
                <a:gd name="connsiteX12" fmla="*/ 4850079 w 5848350"/>
                <a:gd name="connsiteY12" fmla="*/ 528117 h 2166417"/>
                <a:gd name="connsiteX13" fmla="*/ 4500677 w 5848350"/>
                <a:gd name="connsiteY13" fmla="*/ 696824 h 2166417"/>
                <a:gd name="connsiteX14" fmla="*/ 292100 w 5848350"/>
                <a:gd name="connsiteY14" fmla="*/ 1931467 h 2166417"/>
                <a:gd name="connsiteX15" fmla="*/ 0 w 5848350"/>
                <a:gd name="connsiteY15"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553202 w 5848350"/>
                <a:gd name="connsiteY4" fmla="*/ 375717 h 2166417"/>
                <a:gd name="connsiteX5" fmla="*/ 5778500 w 5848350"/>
                <a:gd name="connsiteY5" fmla="*/ 278537 h 2166417"/>
                <a:gd name="connsiteX6" fmla="*/ 5745023 w 5848350"/>
                <a:gd name="connsiteY6" fmla="*/ 0 h 2166417"/>
                <a:gd name="connsiteX7" fmla="*/ 5281829 w 5848350"/>
                <a:gd name="connsiteY7" fmla="*/ 75896 h 2166417"/>
                <a:gd name="connsiteX8" fmla="*/ 3708400 w 5848350"/>
                <a:gd name="connsiteY8" fmla="*/ 242367 h 2166417"/>
                <a:gd name="connsiteX9" fmla="*/ 5082489 w 5848350"/>
                <a:gd name="connsiteY9" fmla="*/ 262941 h 2166417"/>
                <a:gd name="connsiteX10" fmla="*/ 5029200 w 5848350"/>
                <a:gd name="connsiteY10" fmla="*/ 426517 h 2166417"/>
                <a:gd name="connsiteX11" fmla="*/ 4850079 w 5848350"/>
                <a:gd name="connsiteY11" fmla="*/ 528117 h 2166417"/>
                <a:gd name="connsiteX12" fmla="*/ 4500677 w 5848350"/>
                <a:gd name="connsiteY12" fmla="*/ 696824 h 2166417"/>
                <a:gd name="connsiteX13" fmla="*/ 292100 w 5848350"/>
                <a:gd name="connsiteY13" fmla="*/ 1931467 h 2166417"/>
                <a:gd name="connsiteX14" fmla="*/ 0 w 5848350"/>
                <a:gd name="connsiteY14"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553202 w 5848350"/>
                <a:gd name="connsiteY4" fmla="*/ 375717 h 2166417"/>
                <a:gd name="connsiteX5" fmla="*/ 5778500 w 5848350"/>
                <a:gd name="connsiteY5" fmla="*/ 278537 h 2166417"/>
                <a:gd name="connsiteX6" fmla="*/ 5745023 w 5848350"/>
                <a:gd name="connsiteY6" fmla="*/ 0 h 2166417"/>
                <a:gd name="connsiteX7" fmla="*/ 5281829 w 5848350"/>
                <a:gd name="connsiteY7" fmla="*/ 75896 h 2166417"/>
                <a:gd name="connsiteX8" fmla="*/ 5082489 w 5848350"/>
                <a:gd name="connsiteY8" fmla="*/ 262941 h 2166417"/>
                <a:gd name="connsiteX9" fmla="*/ 5029200 w 5848350"/>
                <a:gd name="connsiteY9" fmla="*/ 426517 h 2166417"/>
                <a:gd name="connsiteX10" fmla="*/ 4850079 w 5848350"/>
                <a:gd name="connsiteY10" fmla="*/ 528117 h 2166417"/>
                <a:gd name="connsiteX11" fmla="*/ 4500677 w 5848350"/>
                <a:gd name="connsiteY11" fmla="*/ 696824 h 2166417"/>
                <a:gd name="connsiteX12" fmla="*/ 292100 w 5848350"/>
                <a:gd name="connsiteY12" fmla="*/ 1931467 h 2166417"/>
                <a:gd name="connsiteX13" fmla="*/ 0 w 5848350"/>
                <a:gd name="connsiteY13" fmla="*/ 2166417 h 2166417"/>
                <a:gd name="connsiteX0" fmla="*/ 1231900 w 5848350"/>
                <a:gd name="connsiteY0" fmla="*/ 2153717 h 2166417"/>
                <a:gd name="connsiteX1" fmla="*/ 5245100 w 5848350"/>
                <a:gd name="connsiteY1" fmla="*/ 1074217 h 2166417"/>
                <a:gd name="connsiteX2" fmla="*/ 5759450 w 5848350"/>
                <a:gd name="connsiteY2" fmla="*/ 686867 h 2166417"/>
                <a:gd name="connsiteX3" fmla="*/ 5848350 w 5848350"/>
                <a:gd name="connsiteY3" fmla="*/ 521767 h 2166417"/>
                <a:gd name="connsiteX4" fmla="*/ 5553202 w 5848350"/>
                <a:gd name="connsiteY4" fmla="*/ 375717 h 2166417"/>
                <a:gd name="connsiteX5" fmla="*/ 5778500 w 5848350"/>
                <a:gd name="connsiteY5" fmla="*/ 278537 h 2166417"/>
                <a:gd name="connsiteX6" fmla="*/ 5745023 w 5848350"/>
                <a:gd name="connsiteY6" fmla="*/ 0 h 2166417"/>
                <a:gd name="connsiteX7" fmla="*/ 5325720 w 5848350"/>
                <a:gd name="connsiteY7" fmla="*/ 30938 h 2166417"/>
                <a:gd name="connsiteX8" fmla="*/ 5082489 w 5848350"/>
                <a:gd name="connsiteY8" fmla="*/ 262941 h 2166417"/>
                <a:gd name="connsiteX9" fmla="*/ 5029200 w 5848350"/>
                <a:gd name="connsiteY9" fmla="*/ 426517 h 2166417"/>
                <a:gd name="connsiteX10" fmla="*/ 4850079 w 5848350"/>
                <a:gd name="connsiteY10" fmla="*/ 528117 h 2166417"/>
                <a:gd name="connsiteX11" fmla="*/ 4500677 w 5848350"/>
                <a:gd name="connsiteY11" fmla="*/ 696824 h 2166417"/>
                <a:gd name="connsiteX12" fmla="*/ 292100 w 5848350"/>
                <a:gd name="connsiteY12" fmla="*/ 1931467 h 2166417"/>
                <a:gd name="connsiteX13" fmla="*/ 0 w 5848350"/>
                <a:gd name="connsiteY13" fmla="*/ 2166417 h 2166417"/>
                <a:gd name="connsiteX0" fmla="*/ 1231900 w 5848350"/>
                <a:gd name="connsiteY0" fmla="*/ 2123745 h 2136445"/>
                <a:gd name="connsiteX1" fmla="*/ 5245100 w 5848350"/>
                <a:gd name="connsiteY1" fmla="*/ 1044245 h 2136445"/>
                <a:gd name="connsiteX2" fmla="*/ 5759450 w 5848350"/>
                <a:gd name="connsiteY2" fmla="*/ 656895 h 2136445"/>
                <a:gd name="connsiteX3" fmla="*/ 5848350 w 5848350"/>
                <a:gd name="connsiteY3" fmla="*/ 491795 h 2136445"/>
                <a:gd name="connsiteX4" fmla="*/ 5553202 w 5848350"/>
                <a:gd name="connsiteY4" fmla="*/ 345745 h 2136445"/>
                <a:gd name="connsiteX5" fmla="*/ 5778500 w 5848350"/>
                <a:gd name="connsiteY5" fmla="*/ 248565 h 2136445"/>
                <a:gd name="connsiteX6" fmla="*/ 5715762 w 5848350"/>
                <a:gd name="connsiteY6" fmla="*/ 0 h 2136445"/>
                <a:gd name="connsiteX7" fmla="*/ 5325720 w 5848350"/>
                <a:gd name="connsiteY7" fmla="*/ 966 h 2136445"/>
                <a:gd name="connsiteX8" fmla="*/ 5082489 w 5848350"/>
                <a:gd name="connsiteY8" fmla="*/ 232969 h 2136445"/>
                <a:gd name="connsiteX9" fmla="*/ 5029200 w 5848350"/>
                <a:gd name="connsiteY9" fmla="*/ 396545 h 2136445"/>
                <a:gd name="connsiteX10" fmla="*/ 4850079 w 5848350"/>
                <a:gd name="connsiteY10" fmla="*/ 498145 h 2136445"/>
                <a:gd name="connsiteX11" fmla="*/ 4500677 w 5848350"/>
                <a:gd name="connsiteY11" fmla="*/ 666852 h 2136445"/>
                <a:gd name="connsiteX12" fmla="*/ 292100 w 5848350"/>
                <a:gd name="connsiteY12" fmla="*/ 1901495 h 2136445"/>
                <a:gd name="connsiteX13" fmla="*/ 0 w 5848350"/>
                <a:gd name="connsiteY13" fmla="*/ 2136445 h 213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48350" h="2136445">
                  <a:moveTo>
                    <a:pt x="1231900" y="2123745"/>
                  </a:moveTo>
                  <a:lnTo>
                    <a:pt x="5245100" y="1044245"/>
                  </a:lnTo>
                  <a:lnTo>
                    <a:pt x="5759450" y="656895"/>
                  </a:lnTo>
                  <a:lnTo>
                    <a:pt x="5848350" y="491795"/>
                  </a:lnTo>
                  <a:lnTo>
                    <a:pt x="5553202" y="345745"/>
                  </a:lnTo>
                  <a:lnTo>
                    <a:pt x="5778500" y="248565"/>
                  </a:lnTo>
                  <a:lnTo>
                    <a:pt x="5715762" y="0"/>
                  </a:lnTo>
                  <a:lnTo>
                    <a:pt x="5325720" y="966"/>
                  </a:lnTo>
                  <a:lnTo>
                    <a:pt x="5082489" y="232969"/>
                  </a:lnTo>
                  <a:lnTo>
                    <a:pt x="5029200" y="396545"/>
                  </a:lnTo>
                  <a:lnTo>
                    <a:pt x="4850079" y="498145"/>
                  </a:lnTo>
                  <a:lnTo>
                    <a:pt x="4500677" y="666852"/>
                  </a:lnTo>
                  <a:lnTo>
                    <a:pt x="292100" y="1901495"/>
                  </a:lnTo>
                  <a:lnTo>
                    <a:pt x="0" y="2136445"/>
                  </a:lnTo>
                </a:path>
              </a:pathLst>
            </a:custGeom>
            <a:gradFill flip="none" rotWithShape="1">
              <a:gsLst>
                <a:gs pos="0">
                  <a:srgbClr val="E6AF00"/>
                </a:gs>
                <a:gs pos="100000">
                  <a:srgbClr val="E9E4A1"/>
                </a:gs>
              </a:gsLst>
              <a:lin ang="16200000" scaled="1"/>
              <a:tileRect/>
            </a:gradFill>
            <a:ln w="12700" cmpd="sng">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pic>
          <p:nvPicPr>
            <p:cNvPr id="56" name="Picture 55" descr="roadNoBG.pn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a:xfrm>
              <a:off x="0" y="3043647"/>
              <a:ext cx="7765473" cy="2099854"/>
            </a:xfrm>
            <a:prstGeom prst="rect">
              <a:avLst/>
            </a:prstGeom>
          </p:spPr>
        </p:pic>
      </p:grpSp>
      <p:sp>
        <p:nvSpPr>
          <p:cNvPr id="32" name="Rectangle 31"/>
          <p:cNvSpPr/>
          <p:nvPr/>
        </p:nvSpPr>
        <p:spPr>
          <a:xfrm flipH="1">
            <a:off x="-3" y="2297682"/>
            <a:ext cx="9144000" cy="387632"/>
          </a:xfrm>
          <a:prstGeom prst="rect">
            <a:avLst/>
          </a:prstGeom>
          <a:gradFill flip="none" rotWithShape="1">
            <a:gsLst>
              <a:gs pos="0">
                <a:schemeClr val="bg1">
                  <a:alpha val="0"/>
                </a:schemeClr>
              </a:gs>
              <a:gs pos="50000">
                <a:srgbClr val="AEC6D6"/>
              </a:gs>
              <a:gs pos="100000">
                <a:schemeClr val="bg1">
                  <a:shade val="100000"/>
                  <a:satMod val="115000"/>
                  <a:alpha val="0"/>
                </a:schemeClr>
              </a:gs>
            </a:gsLst>
            <a:lin ang="54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p:cNvSpPr/>
          <p:nvPr/>
        </p:nvSpPr>
        <p:spPr>
          <a:xfrm flipH="1">
            <a:off x="-235" y="0"/>
            <a:ext cx="9144233" cy="2150023"/>
          </a:xfrm>
          <a:prstGeom prst="rect">
            <a:avLst/>
          </a:prstGeom>
          <a:gradFill flip="none" rotWithShape="1">
            <a:gsLst>
              <a:gs pos="0">
                <a:schemeClr val="tx2">
                  <a:alpha val="0"/>
                </a:schemeClr>
              </a:gs>
              <a:gs pos="100000">
                <a:schemeClr val="tx2">
                  <a:lumMod val="75000"/>
                  <a:alpha val="90000"/>
                </a:schemeClr>
              </a:gs>
            </a:gsLst>
            <a:lin ang="162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Freeform 94"/>
          <p:cNvSpPr/>
          <p:nvPr/>
        </p:nvSpPr>
        <p:spPr>
          <a:xfrm flipH="1">
            <a:off x="-258649" y="0"/>
            <a:ext cx="8532137" cy="2639808"/>
          </a:xfrm>
          <a:custGeom>
            <a:avLst/>
            <a:gdLst>
              <a:gd name="connsiteX0" fmla="*/ 8545484 w 8553797"/>
              <a:gd name="connsiteY0" fmla="*/ 1537855 h 3025833"/>
              <a:gd name="connsiteX1" fmla="*/ 5910349 w 8553797"/>
              <a:gd name="connsiteY1" fmla="*/ 2751513 h 3025833"/>
              <a:gd name="connsiteX2" fmla="*/ 5752408 w 8553797"/>
              <a:gd name="connsiteY2" fmla="*/ 3025833 h 3025833"/>
              <a:gd name="connsiteX3" fmla="*/ 4705004 w 8553797"/>
              <a:gd name="connsiteY3" fmla="*/ 3025833 h 3025833"/>
              <a:gd name="connsiteX4" fmla="*/ 4247804 w 8553797"/>
              <a:gd name="connsiteY4" fmla="*/ 3000895 h 3025833"/>
              <a:gd name="connsiteX5" fmla="*/ 4114800 w 8553797"/>
              <a:gd name="connsiteY5" fmla="*/ 2884516 h 3025833"/>
              <a:gd name="connsiteX6" fmla="*/ 0 w 8553797"/>
              <a:gd name="connsiteY6" fmla="*/ 0 h 3025833"/>
              <a:gd name="connsiteX7" fmla="*/ 2560320 w 8553797"/>
              <a:gd name="connsiteY7" fmla="*/ 8313 h 3025833"/>
              <a:gd name="connsiteX8" fmla="*/ 4322619 w 8553797"/>
              <a:gd name="connsiteY8" fmla="*/ 2069869 h 3025833"/>
              <a:gd name="connsiteX9" fmla="*/ 3940233 w 8553797"/>
              <a:gd name="connsiteY9" fmla="*/ 8313 h 3025833"/>
              <a:gd name="connsiteX10" fmla="*/ 5843848 w 8553797"/>
              <a:gd name="connsiteY10" fmla="*/ 8313 h 3025833"/>
              <a:gd name="connsiteX11" fmla="*/ 5361709 w 8553797"/>
              <a:gd name="connsiteY11" fmla="*/ 2103120 h 3025833"/>
              <a:gd name="connsiteX12" fmla="*/ 7963593 w 8553797"/>
              <a:gd name="connsiteY12" fmla="*/ 8313 h 3025833"/>
              <a:gd name="connsiteX13" fmla="*/ 8553797 w 8553797"/>
              <a:gd name="connsiteY13" fmla="*/ 8313 h 3025833"/>
              <a:gd name="connsiteX0" fmla="*/ 7696339 w 8553797"/>
              <a:gd name="connsiteY0" fmla="*/ 1744205 h 3025833"/>
              <a:gd name="connsiteX1" fmla="*/ 5910349 w 8553797"/>
              <a:gd name="connsiteY1" fmla="*/ 2751513 h 3025833"/>
              <a:gd name="connsiteX2" fmla="*/ 5752408 w 8553797"/>
              <a:gd name="connsiteY2" fmla="*/ 3025833 h 3025833"/>
              <a:gd name="connsiteX3" fmla="*/ 4705004 w 8553797"/>
              <a:gd name="connsiteY3" fmla="*/ 3025833 h 3025833"/>
              <a:gd name="connsiteX4" fmla="*/ 4247804 w 8553797"/>
              <a:gd name="connsiteY4" fmla="*/ 3000895 h 3025833"/>
              <a:gd name="connsiteX5" fmla="*/ 4114800 w 8553797"/>
              <a:gd name="connsiteY5" fmla="*/ 2884516 h 3025833"/>
              <a:gd name="connsiteX6" fmla="*/ 0 w 8553797"/>
              <a:gd name="connsiteY6" fmla="*/ 0 h 3025833"/>
              <a:gd name="connsiteX7" fmla="*/ 2560320 w 8553797"/>
              <a:gd name="connsiteY7" fmla="*/ 8313 h 3025833"/>
              <a:gd name="connsiteX8" fmla="*/ 4322619 w 8553797"/>
              <a:gd name="connsiteY8" fmla="*/ 2069869 h 3025833"/>
              <a:gd name="connsiteX9" fmla="*/ 3940233 w 8553797"/>
              <a:gd name="connsiteY9" fmla="*/ 8313 h 3025833"/>
              <a:gd name="connsiteX10" fmla="*/ 5843848 w 8553797"/>
              <a:gd name="connsiteY10" fmla="*/ 8313 h 3025833"/>
              <a:gd name="connsiteX11" fmla="*/ 5361709 w 8553797"/>
              <a:gd name="connsiteY11" fmla="*/ 2103120 h 3025833"/>
              <a:gd name="connsiteX12" fmla="*/ 7963593 w 8553797"/>
              <a:gd name="connsiteY12" fmla="*/ 8313 h 3025833"/>
              <a:gd name="connsiteX13" fmla="*/ 8553797 w 8553797"/>
              <a:gd name="connsiteY13" fmla="*/ 8313 h 3025833"/>
              <a:gd name="connsiteX0" fmla="*/ 7696339 w 8553797"/>
              <a:gd name="connsiteY0" fmla="*/ 1744205 h 3025833"/>
              <a:gd name="connsiteX1" fmla="*/ 5910349 w 8553797"/>
              <a:gd name="connsiteY1" fmla="*/ 2751513 h 3025833"/>
              <a:gd name="connsiteX2" fmla="*/ 5752408 w 8553797"/>
              <a:gd name="connsiteY2" fmla="*/ 3025833 h 3025833"/>
              <a:gd name="connsiteX3" fmla="*/ 4705004 w 8553797"/>
              <a:gd name="connsiteY3" fmla="*/ 3025833 h 3025833"/>
              <a:gd name="connsiteX4" fmla="*/ 4247804 w 8553797"/>
              <a:gd name="connsiteY4" fmla="*/ 3000895 h 3025833"/>
              <a:gd name="connsiteX5" fmla="*/ 4114800 w 8553797"/>
              <a:gd name="connsiteY5" fmla="*/ 2884516 h 3025833"/>
              <a:gd name="connsiteX6" fmla="*/ 0 w 8553797"/>
              <a:gd name="connsiteY6" fmla="*/ 0 h 3025833"/>
              <a:gd name="connsiteX7" fmla="*/ 2560320 w 8553797"/>
              <a:gd name="connsiteY7" fmla="*/ 8313 h 3025833"/>
              <a:gd name="connsiteX8" fmla="*/ 4322619 w 8553797"/>
              <a:gd name="connsiteY8" fmla="*/ 2069869 h 3025833"/>
              <a:gd name="connsiteX9" fmla="*/ 3940233 w 8553797"/>
              <a:gd name="connsiteY9" fmla="*/ 8313 h 3025833"/>
              <a:gd name="connsiteX10" fmla="*/ 5843848 w 8553797"/>
              <a:gd name="connsiteY10" fmla="*/ 8313 h 3025833"/>
              <a:gd name="connsiteX11" fmla="*/ 5361709 w 8553797"/>
              <a:gd name="connsiteY11" fmla="*/ 2103120 h 3025833"/>
              <a:gd name="connsiteX12" fmla="*/ 7043788 w 8553797"/>
              <a:gd name="connsiteY12" fmla="*/ 82590 h 3025833"/>
              <a:gd name="connsiteX13" fmla="*/ 8553797 w 8553797"/>
              <a:gd name="connsiteY13" fmla="*/ 8313 h 3025833"/>
              <a:gd name="connsiteX0" fmla="*/ 7696339 w 7812320"/>
              <a:gd name="connsiteY0" fmla="*/ 1744205 h 3025833"/>
              <a:gd name="connsiteX1" fmla="*/ 5910349 w 7812320"/>
              <a:gd name="connsiteY1" fmla="*/ 2751513 h 3025833"/>
              <a:gd name="connsiteX2" fmla="*/ 5752408 w 7812320"/>
              <a:gd name="connsiteY2" fmla="*/ 3025833 h 3025833"/>
              <a:gd name="connsiteX3" fmla="*/ 4705004 w 7812320"/>
              <a:gd name="connsiteY3" fmla="*/ 3025833 h 3025833"/>
              <a:gd name="connsiteX4" fmla="*/ 4247804 w 7812320"/>
              <a:gd name="connsiteY4" fmla="*/ 3000895 h 3025833"/>
              <a:gd name="connsiteX5" fmla="*/ 4114800 w 7812320"/>
              <a:gd name="connsiteY5" fmla="*/ 2884516 h 3025833"/>
              <a:gd name="connsiteX6" fmla="*/ 0 w 7812320"/>
              <a:gd name="connsiteY6" fmla="*/ 0 h 3025833"/>
              <a:gd name="connsiteX7" fmla="*/ 2560320 w 7812320"/>
              <a:gd name="connsiteY7" fmla="*/ 8313 h 3025833"/>
              <a:gd name="connsiteX8" fmla="*/ 4322619 w 7812320"/>
              <a:gd name="connsiteY8" fmla="*/ 2069869 h 3025833"/>
              <a:gd name="connsiteX9" fmla="*/ 3940233 w 7812320"/>
              <a:gd name="connsiteY9" fmla="*/ 8313 h 3025833"/>
              <a:gd name="connsiteX10" fmla="*/ 5843848 w 7812320"/>
              <a:gd name="connsiteY10" fmla="*/ 8313 h 3025833"/>
              <a:gd name="connsiteX11" fmla="*/ 5361709 w 7812320"/>
              <a:gd name="connsiteY11" fmla="*/ 2103120 h 3025833"/>
              <a:gd name="connsiteX12" fmla="*/ 7043788 w 7812320"/>
              <a:gd name="connsiteY12" fmla="*/ 82590 h 3025833"/>
              <a:gd name="connsiteX13" fmla="*/ 7812320 w 7812320"/>
              <a:gd name="connsiteY13" fmla="*/ 82590 h 3025833"/>
              <a:gd name="connsiteX0" fmla="*/ 7874669 w 7874669"/>
              <a:gd name="connsiteY0" fmla="*/ 1765552 h 3025833"/>
              <a:gd name="connsiteX1" fmla="*/ 5910349 w 7874669"/>
              <a:gd name="connsiteY1" fmla="*/ 2751513 h 3025833"/>
              <a:gd name="connsiteX2" fmla="*/ 5752408 w 7874669"/>
              <a:gd name="connsiteY2" fmla="*/ 3025833 h 3025833"/>
              <a:gd name="connsiteX3" fmla="*/ 4705004 w 7874669"/>
              <a:gd name="connsiteY3" fmla="*/ 3025833 h 3025833"/>
              <a:gd name="connsiteX4" fmla="*/ 4247804 w 7874669"/>
              <a:gd name="connsiteY4" fmla="*/ 3000895 h 3025833"/>
              <a:gd name="connsiteX5" fmla="*/ 4114800 w 7874669"/>
              <a:gd name="connsiteY5" fmla="*/ 2884516 h 3025833"/>
              <a:gd name="connsiteX6" fmla="*/ 0 w 7874669"/>
              <a:gd name="connsiteY6" fmla="*/ 0 h 3025833"/>
              <a:gd name="connsiteX7" fmla="*/ 2560320 w 7874669"/>
              <a:gd name="connsiteY7" fmla="*/ 8313 h 3025833"/>
              <a:gd name="connsiteX8" fmla="*/ 4322619 w 7874669"/>
              <a:gd name="connsiteY8" fmla="*/ 2069869 h 3025833"/>
              <a:gd name="connsiteX9" fmla="*/ 3940233 w 7874669"/>
              <a:gd name="connsiteY9" fmla="*/ 8313 h 3025833"/>
              <a:gd name="connsiteX10" fmla="*/ 5843848 w 7874669"/>
              <a:gd name="connsiteY10" fmla="*/ 8313 h 3025833"/>
              <a:gd name="connsiteX11" fmla="*/ 5361709 w 7874669"/>
              <a:gd name="connsiteY11" fmla="*/ 2103120 h 3025833"/>
              <a:gd name="connsiteX12" fmla="*/ 7043788 w 7874669"/>
              <a:gd name="connsiteY12" fmla="*/ 82590 h 3025833"/>
              <a:gd name="connsiteX13" fmla="*/ 7812320 w 7874669"/>
              <a:gd name="connsiteY13" fmla="*/ 82590 h 3025833"/>
              <a:gd name="connsiteX0" fmla="*/ 7874669 w 8028194"/>
              <a:gd name="connsiteY0" fmla="*/ 1765552 h 3025833"/>
              <a:gd name="connsiteX1" fmla="*/ 5910349 w 8028194"/>
              <a:gd name="connsiteY1" fmla="*/ 2751513 h 3025833"/>
              <a:gd name="connsiteX2" fmla="*/ 5752408 w 8028194"/>
              <a:gd name="connsiteY2" fmla="*/ 3025833 h 3025833"/>
              <a:gd name="connsiteX3" fmla="*/ 4705004 w 8028194"/>
              <a:gd name="connsiteY3" fmla="*/ 3025833 h 3025833"/>
              <a:gd name="connsiteX4" fmla="*/ 4247804 w 8028194"/>
              <a:gd name="connsiteY4" fmla="*/ 3000895 h 3025833"/>
              <a:gd name="connsiteX5" fmla="*/ 4114800 w 8028194"/>
              <a:gd name="connsiteY5" fmla="*/ 2884516 h 3025833"/>
              <a:gd name="connsiteX6" fmla="*/ 0 w 8028194"/>
              <a:gd name="connsiteY6" fmla="*/ 0 h 3025833"/>
              <a:gd name="connsiteX7" fmla="*/ 2560320 w 8028194"/>
              <a:gd name="connsiteY7" fmla="*/ 8313 h 3025833"/>
              <a:gd name="connsiteX8" fmla="*/ 4322619 w 8028194"/>
              <a:gd name="connsiteY8" fmla="*/ 2069869 h 3025833"/>
              <a:gd name="connsiteX9" fmla="*/ 3940233 w 8028194"/>
              <a:gd name="connsiteY9" fmla="*/ 8313 h 3025833"/>
              <a:gd name="connsiteX10" fmla="*/ 5843848 w 8028194"/>
              <a:gd name="connsiteY10" fmla="*/ 8313 h 3025833"/>
              <a:gd name="connsiteX11" fmla="*/ 5361709 w 8028194"/>
              <a:gd name="connsiteY11" fmla="*/ 2103120 h 3025833"/>
              <a:gd name="connsiteX12" fmla="*/ 7043788 w 8028194"/>
              <a:gd name="connsiteY12" fmla="*/ 82590 h 3025833"/>
              <a:gd name="connsiteX13" fmla="*/ 8028194 w 8028194"/>
              <a:gd name="connsiteY13" fmla="*/ 82590 h 3025833"/>
              <a:gd name="connsiteX0" fmla="*/ 7874669 w 8028194"/>
              <a:gd name="connsiteY0" fmla="*/ 1765552 h 3025833"/>
              <a:gd name="connsiteX1" fmla="*/ 5910349 w 8028194"/>
              <a:gd name="connsiteY1" fmla="*/ 2751513 h 3025833"/>
              <a:gd name="connsiteX2" fmla="*/ 6268626 w 8028194"/>
              <a:gd name="connsiteY2" fmla="*/ 2998672 h 3025833"/>
              <a:gd name="connsiteX3" fmla="*/ 4705004 w 8028194"/>
              <a:gd name="connsiteY3" fmla="*/ 3025833 h 3025833"/>
              <a:gd name="connsiteX4" fmla="*/ 4247804 w 8028194"/>
              <a:gd name="connsiteY4" fmla="*/ 3000895 h 3025833"/>
              <a:gd name="connsiteX5" fmla="*/ 4114800 w 8028194"/>
              <a:gd name="connsiteY5" fmla="*/ 2884516 h 3025833"/>
              <a:gd name="connsiteX6" fmla="*/ 0 w 8028194"/>
              <a:gd name="connsiteY6" fmla="*/ 0 h 3025833"/>
              <a:gd name="connsiteX7" fmla="*/ 2560320 w 8028194"/>
              <a:gd name="connsiteY7" fmla="*/ 8313 h 3025833"/>
              <a:gd name="connsiteX8" fmla="*/ 4322619 w 8028194"/>
              <a:gd name="connsiteY8" fmla="*/ 2069869 h 3025833"/>
              <a:gd name="connsiteX9" fmla="*/ 3940233 w 8028194"/>
              <a:gd name="connsiteY9" fmla="*/ 8313 h 3025833"/>
              <a:gd name="connsiteX10" fmla="*/ 5843848 w 8028194"/>
              <a:gd name="connsiteY10" fmla="*/ 8313 h 3025833"/>
              <a:gd name="connsiteX11" fmla="*/ 5361709 w 8028194"/>
              <a:gd name="connsiteY11" fmla="*/ 2103120 h 3025833"/>
              <a:gd name="connsiteX12" fmla="*/ 7043788 w 8028194"/>
              <a:gd name="connsiteY12" fmla="*/ 82590 h 3025833"/>
              <a:gd name="connsiteX13" fmla="*/ 8028194 w 8028194"/>
              <a:gd name="connsiteY13" fmla="*/ 82590 h 3025833"/>
              <a:gd name="connsiteX0" fmla="*/ 7874669 w 8028194"/>
              <a:gd name="connsiteY0" fmla="*/ 1765552 h 3025833"/>
              <a:gd name="connsiteX1" fmla="*/ 6661212 w 8028194"/>
              <a:gd name="connsiteY1" fmla="*/ 2731141 h 3025833"/>
              <a:gd name="connsiteX2" fmla="*/ 6268626 w 8028194"/>
              <a:gd name="connsiteY2" fmla="*/ 2998672 h 3025833"/>
              <a:gd name="connsiteX3" fmla="*/ 4705004 w 8028194"/>
              <a:gd name="connsiteY3" fmla="*/ 3025833 h 3025833"/>
              <a:gd name="connsiteX4" fmla="*/ 4247804 w 8028194"/>
              <a:gd name="connsiteY4" fmla="*/ 3000895 h 3025833"/>
              <a:gd name="connsiteX5" fmla="*/ 4114800 w 8028194"/>
              <a:gd name="connsiteY5" fmla="*/ 2884516 h 3025833"/>
              <a:gd name="connsiteX6" fmla="*/ 0 w 8028194"/>
              <a:gd name="connsiteY6" fmla="*/ 0 h 3025833"/>
              <a:gd name="connsiteX7" fmla="*/ 2560320 w 8028194"/>
              <a:gd name="connsiteY7" fmla="*/ 8313 h 3025833"/>
              <a:gd name="connsiteX8" fmla="*/ 4322619 w 8028194"/>
              <a:gd name="connsiteY8" fmla="*/ 2069869 h 3025833"/>
              <a:gd name="connsiteX9" fmla="*/ 3940233 w 8028194"/>
              <a:gd name="connsiteY9" fmla="*/ 8313 h 3025833"/>
              <a:gd name="connsiteX10" fmla="*/ 5843848 w 8028194"/>
              <a:gd name="connsiteY10" fmla="*/ 8313 h 3025833"/>
              <a:gd name="connsiteX11" fmla="*/ 5361709 w 8028194"/>
              <a:gd name="connsiteY11" fmla="*/ 2103120 h 3025833"/>
              <a:gd name="connsiteX12" fmla="*/ 7043788 w 8028194"/>
              <a:gd name="connsiteY12" fmla="*/ 82590 h 3025833"/>
              <a:gd name="connsiteX13" fmla="*/ 8028194 w 8028194"/>
              <a:gd name="connsiteY13" fmla="*/ 82590 h 3025833"/>
              <a:gd name="connsiteX0" fmla="*/ 7874669 w 8028194"/>
              <a:gd name="connsiteY0" fmla="*/ 1765552 h 3025833"/>
              <a:gd name="connsiteX1" fmla="*/ 6661212 w 8028194"/>
              <a:gd name="connsiteY1" fmla="*/ 2731141 h 3025833"/>
              <a:gd name="connsiteX2" fmla="*/ 6268626 w 8028194"/>
              <a:gd name="connsiteY2" fmla="*/ 2998672 h 3025833"/>
              <a:gd name="connsiteX3" fmla="*/ 4705004 w 8028194"/>
              <a:gd name="connsiteY3" fmla="*/ 3025833 h 3025833"/>
              <a:gd name="connsiteX4" fmla="*/ 4247804 w 8028194"/>
              <a:gd name="connsiteY4" fmla="*/ 3000895 h 3025833"/>
              <a:gd name="connsiteX5" fmla="*/ 4077257 w 8028194"/>
              <a:gd name="connsiteY5" fmla="*/ 2884516 h 3025833"/>
              <a:gd name="connsiteX6" fmla="*/ 0 w 8028194"/>
              <a:gd name="connsiteY6" fmla="*/ 0 h 3025833"/>
              <a:gd name="connsiteX7" fmla="*/ 2560320 w 8028194"/>
              <a:gd name="connsiteY7" fmla="*/ 8313 h 3025833"/>
              <a:gd name="connsiteX8" fmla="*/ 4322619 w 8028194"/>
              <a:gd name="connsiteY8" fmla="*/ 2069869 h 3025833"/>
              <a:gd name="connsiteX9" fmla="*/ 3940233 w 8028194"/>
              <a:gd name="connsiteY9" fmla="*/ 8313 h 3025833"/>
              <a:gd name="connsiteX10" fmla="*/ 5843848 w 8028194"/>
              <a:gd name="connsiteY10" fmla="*/ 8313 h 3025833"/>
              <a:gd name="connsiteX11" fmla="*/ 5361709 w 8028194"/>
              <a:gd name="connsiteY11" fmla="*/ 2103120 h 3025833"/>
              <a:gd name="connsiteX12" fmla="*/ 7043788 w 8028194"/>
              <a:gd name="connsiteY12" fmla="*/ 82590 h 3025833"/>
              <a:gd name="connsiteX13" fmla="*/ 8028194 w 8028194"/>
              <a:gd name="connsiteY13" fmla="*/ 82590 h 3025833"/>
              <a:gd name="connsiteX0" fmla="*/ 7874669 w 8028194"/>
              <a:gd name="connsiteY0" fmla="*/ 1765552 h 3025833"/>
              <a:gd name="connsiteX1" fmla="*/ 6661212 w 8028194"/>
              <a:gd name="connsiteY1" fmla="*/ 2731141 h 3025833"/>
              <a:gd name="connsiteX2" fmla="*/ 6268626 w 8028194"/>
              <a:gd name="connsiteY2" fmla="*/ 2998672 h 3025833"/>
              <a:gd name="connsiteX3" fmla="*/ 4705004 w 8028194"/>
              <a:gd name="connsiteY3" fmla="*/ 3025833 h 3025833"/>
              <a:gd name="connsiteX4" fmla="*/ 4247804 w 8028194"/>
              <a:gd name="connsiteY4" fmla="*/ 3000895 h 3025833"/>
              <a:gd name="connsiteX5" fmla="*/ 4077257 w 8028194"/>
              <a:gd name="connsiteY5" fmla="*/ 2884516 h 3025833"/>
              <a:gd name="connsiteX6" fmla="*/ 0 w 8028194"/>
              <a:gd name="connsiteY6" fmla="*/ 0 h 3025833"/>
              <a:gd name="connsiteX7" fmla="*/ 2560320 w 8028194"/>
              <a:gd name="connsiteY7" fmla="*/ 8313 h 3025833"/>
              <a:gd name="connsiteX8" fmla="*/ 4322619 w 8028194"/>
              <a:gd name="connsiteY8" fmla="*/ 2069869 h 3025833"/>
              <a:gd name="connsiteX9" fmla="*/ 3940233 w 8028194"/>
              <a:gd name="connsiteY9" fmla="*/ 8313 h 3025833"/>
              <a:gd name="connsiteX10" fmla="*/ 5843848 w 8028194"/>
              <a:gd name="connsiteY10" fmla="*/ 8313 h 3025833"/>
              <a:gd name="connsiteX11" fmla="*/ 5784069 w 8028194"/>
              <a:gd name="connsiteY11" fmla="*/ 2123492 h 3025833"/>
              <a:gd name="connsiteX12" fmla="*/ 7043788 w 8028194"/>
              <a:gd name="connsiteY12" fmla="*/ 82590 h 3025833"/>
              <a:gd name="connsiteX13" fmla="*/ 8028194 w 8028194"/>
              <a:gd name="connsiteY13" fmla="*/ 82590 h 3025833"/>
              <a:gd name="connsiteX0" fmla="*/ 7874669 w 8028194"/>
              <a:gd name="connsiteY0" fmla="*/ 1765552 h 3025833"/>
              <a:gd name="connsiteX1" fmla="*/ 6661212 w 8028194"/>
              <a:gd name="connsiteY1" fmla="*/ 2731141 h 3025833"/>
              <a:gd name="connsiteX2" fmla="*/ 6268626 w 8028194"/>
              <a:gd name="connsiteY2" fmla="*/ 2998672 h 3025833"/>
              <a:gd name="connsiteX3" fmla="*/ 4705004 w 8028194"/>
              <a:gd name="connsiteY3" fmla="*/ 3025833 h 3025833"/>
              <a:gd name="connsiteX4" fmla="*/ 4247804 w 8028194"/>
              <a:gd name="connsiteY4" fmla="*/ 3000895 h 3025833"/>
              <a:gd name="connsiteX5" fmla="*/ 4077257 w 8028194"/>
              <a:gd name="connsiteY5" fmla="*/ 2884516 h 3025833"/>
              <a:gd name="connsiteX6" fmla="*/ 0 w 8028194"/>
              <a:gd name="connsiteY6" fmla="*/ 0 h 3025833"/>
              <a:gd name="connsiteX7" fmla="*/ 2560320 w 8028194"/>
              <a:gd name="connsiteY7" fmla="*/ 8313 h 3025833"/>
              <a:gd name="connsiteX8" fmla="*/ 4622965 w 8028194"/>
              <a:gd name="connsiteY8" fmla="*/ 2198886 h 3025833"/>
              <a:gd name="connsiteX9" fmla="*/ 3940233 w 8028194"/>
              <a:gd name="connsiteY9" fmla="*/ 8313 h 3025833"/>
              <a:gd name="connsiteX10" fmla="*/ 5843848 w 8028194"/>
              <a:gd name="connsiteY10" fmla="*/ 8313 h 3025833"/>
              <a:gd name="connsiteX11" fmla="*/ 5784069 w 8028194"/>
              <a:gd name="connsiteY11" fmla="*/ 2123492 h 3025833"/>
              <a:gd name="connsiteX12" fmla="*/ 7043788 w 8028194"/>
              <a:gd name="connsiteY12" fmla="*/ 82590 h 3025833"/>
              <a:gd name="connsiteX13" fmla="*/ 8028194 w 8028194"/>
              <a:gd name="connsiteY13" fmla="*/ 82590 h 3025833"/>
              <a:gd name="connsiteX0" fmla="*/ 10793647 w 10947172"/>
              <a:gd name="connsiteY0" fmla="*/ 1757239 h 3017520"/>
              <a:gd name="connsiteX1" fmla="*/ 9580190 w 10947172"/>
              <a:gd name="connsiteY1" fmla="*/ 2722828 h 3017520"/>
              <a:gd name="connsiteX2" fmla="*/ 9187604 w 10947172"/>
              <a:gd name="connsiteY2" fmla="*/ 2990359 h 3017520"/>
              <a:gd name="connsiteX3" fmla="*/ 7623982 w 10947172"/>
              <a:gd name="connsiteY3" fmla="*/ 3017520 h 3017520"/>
              <a:gd name="connsiteX4" fmla="*/ 7166782 w 10947172"/>
              <a:gd name="connsiteY4" fmla="*/ 2992582 h 3017520"/>
              <a:gd name="connsiteX5" fmla="*/ 6996235 w 10947172"/>
              <a:gd name="connsiteY5" fmla="*/ 2876203 h 3017520"/>
              <a:gd name="connsiteX6" fmla="*/ 0 w 10947172"/>
              <a:gd name="connsiteY6" fmla="*/ 70504 h 3017520"/>
              <a:gd name="connsiteX7" fmla="*/ 5479298 w 10947172"/>
              <a:gd name="connsiteY7" fmla="*/ 0 h 3017520"/>
              <a:gd name="connsiteX8" fmla="*/ 7541943 w 10947172"/>
              <a:gd name="connsiteY8" fmla="*/ 2190573 h 3017520"/>
              <a:gd name="connsiteX9" fmla="*/ 6859211 w 10947172"/>
              <a:gd name="connsiteY9" fmla="*/ 0 h 3017520"/>
              <a:gd name="connsiteX10" fmla="*/ 8762826 w 10947172"/>
              <a:gd name="connsiteY10" fmla="*/ 0 h 3017520"/>
              <a:gd name="connsiteX11" fmla="*/ 8703047 w 10947172"/>
              <a:gd name="connsiteY11" fmla="*/ 2115179 h 3017520"/>
              <a:gd name="connsiteX12" fmla="*/ 9962766 w 10947172"/>
              <a:gd name="connsiteY12" fmla="*/ 74277 h 3017520"/>
              <a:gd name="connsiteX13" fmla="*/ 10947172 w 10947172"/>
              <a:gd name="connsiteY13" fmla="*/ 74277 h 3017520"/>
              <a:gd name="connsiteX0" fmla="*/ 10793647 w 10947172"/>
              <a:gd name="connsiteY0" fmla="*/ 1825143 h 3085424"/>
              <a:gd name="connsiteX1" fmla="*/ 9580190 w 10947172"/>
              <a:gd name="connsiteY1" fmla="*/ 2790732 h 3085424"/>
              <a:gd name="connsiteX2" fmla="*/ 9187604 w 10947172"/>
              <a:gd name="connsiteY2" fmla="*/ 3058263 h 3085424"/>
              <a:gd name="connsiteX3" fmla="*/ 7623982 w 10947172"/>
              <a:gd name="connsiteY3" fmla="*/ 3085424 h 3085424"/>
              <a:gd name="connsiteX4" fmla="*/ 7166782 w 10947172"/>
              <a:gd name="connsiteY4" fmla="*/ 3060486 h 3085424"/>
              <a:gd name="connsiteX5" fmla="*/ 6996235 w 10947172"/>
              <a:gd name="connsiteY5" fmla="*/ 2944107 h 3085424"/>
              <a:gd name="connsiteX6" fmla="*/ 0 w 10947172"/>
              <a:gd name="connsiteY6" fmla="*/ 138408 h 3085424"/>
              <a:gd name="connsiteX7" fmla="*/ 4418705 w 10947172"/>
              <a:gd name="connsiteY7" fmla="*/ 0 h 3085424"/>
              <a:gd name="connsiteX8" fmla="*/ 7541943 w 10947172"/>
              <a:gd name="connsiteY8" fmla="*/ 2258477 h 3085424"/>
              <a:gd name="connsiteX9" fmla="*/ 6859211 w 10947172"/>
              <a:gd name="connsiteY9" fmla="*/ 67904 h 3085424"/>
              <a:gd name="connsiteX10" fmla="*/ 8762826 w 10947172"/>
              <a:gd name="connsiteY10" fmla="*/ 67904 h 3085424"/>
              <a:gd name="connsiteX11" fmla="*/ 8703047 w 10947172"/>
              <a:gd name="connsiteY11" fmla="*/ 2183083 h 3085424"/>
              <a:gd name="connsiteX12" fmla="*/ 9962766 w 10947172"/>
              <a:gd name="connsiteY12" fmla="*/ 142181 h 3085424"/>
              <a:gd name="connsiteX13" fmla="*/ 10947172 w 10947172"/>
              <a:gd name="connsiteY13" fmla="*/ 142181 h 308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47172" h="3085424">
                <a:moveTo>
                  <a:pt x="10793647" y="1825143"/>
                </a:moveTo>
                <a:lnTo>
                  <a:pt x="9580190" y="2790732"/>
                </a:lnTo>
                <a:lnTo>
                  <a:pt x="9187604" y="3058263"/>
                </a:lnTo>
                <a:lnTo>
                  <a:pt x="7623982" y="3085424"/>
                </a:lnTo>
                <a:lnTo>
                  <a:pt x="7166782" y="3060486"/>
                </a:lnTo>
                <a:lnTo>
                  <a:pt x="6996235" y="2944107"/>
                </a:lnTo>
                <a:lnTo>
                  <a:pt x="0" y="138408"/>
                </a:lnTo>
                <a:lnTo>
                  <a:pt x="4418705" y="0"/>
                </a:lnTo>
                <a:lnTo>
                  <a:pt x="7541943" y="2258477"/>
                </a:lnTo>
                <a:lnTo>
                  <a:pt x="6859211" y="67904"/>
                </a:lnTo>
                <a:lnTo>
                  <a:pt x="8762826" y="67904"/>
                </a:lnTo>
                <a:lnTo>
                  <a:pt x="8703047" y="2183083"/>
                </a:lnTo>
                <a:lnTo>
                  <a:pt x="9962766" y="142181"/>
                </a:lnTo>
                <a:lnTo>
                  <a:pt x="10947172" y="142181"/>
                </a:lnTo>
              </a:path>
            </a:pathLst>
          </a:custGeom>
          <a:gradFill>
            <a:gsLst>
              <a:gs pos="0">
                <a:schemeClr val="bg1">
                  <a:alpha val="65000"/>
                </a:schemeClr>
              </a:gs>
              <a:gs pos="100000">
                <a:schemeClr val="bg1">
                  <a:alpha val="0"/>
                </a:schemeClr>
              </a:gs>
            </a:gsLst>
            <a:lin ang="16200000" scaled="1"/>
          </a:gradFill>
          <a:ln w="12700" cmpd="sng">
            <a:noFill/>
          </a:ln>
          <a:effectLst>
            <a:softEdge rad="127000"/>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6" name="Title 65"/>
          <p:cNvSpPr>
            <a:spLocks noGrp="1"/>
          </p:cNvSpPr>
          <p:nvPr>
            <p:ph type="ctrTitle"/>
          </p:nvPr>
        </p:nvSpPr>
        <p:spPr>
          <a:xfrm>
            <a:off x="396240" y="228601"/>
            <a:ext cx="8747760" cy="457200"/>
          </a:xfrm>
        </p:spPr>
        <p:txBody>
          <a:bodyPr/>
          <a:lstStyle/>
          <a:p>
            <a:r>
              <a:rPr lang="en-US" sz="2000" spc="-50" dirty="0" smtClean="0">
                <a:solidFill>
                  <a:schemeClr val="bg1"/>
                </a:solidFill>
              </a:rPr>
              <a:t>IT TRANSFORMATION—DEFINE THE FUTURE—&amp; WORK BACKWARDS </a:t>
            </a:r>
            <a:endParaRPr lang="en-US" sz="2000" spc="-50" dirty="0">
              <a:solidFill>
                <a:schemeClr val="bg1"/>
              </a:solidFill>
            </a:endParaRPr>
          </a:p>
        </p:txBody>
      </p:sp>
      <p:grpSp>
        <p:nvGrpSpPr>
          <p:cNvPr id="83" name="Group 58"/>
          <p:cNvGrpSpPr/>
          <p:nvPr/>
        </p:nvGrpSpPr>
        <p:grpSpPr>
          <a:xfrm>
            <a:off x="-614460" y="447414"/>
            <a:ext cx="5679201" cy="2606040"/>
            <a:chOff x="3182175" y="1084812"/>
            <a:chExt cx="5679201" cy="2606040"/>
          </a:xfrm>
        </p:grpSpPr>
        <p:pic>
          <p:nvPicPr>
            <p:cNvPr id="84" name="Picture 3" descr="\\vmware-host\Shared Folders\Desktop\Active  Projects\2015 EMC World\Presentations\Roloff Session\Dome.png"/>
            <p:cNvPicPr>
              <a:picLocks noChangeAspect="1" noChangeArrowheads="1"/>
            </p:cNvPicPr>
            <p:nvPr/>
          </p:nvPicPr>
          <p:blipFill>
            <a:blip r:embed="rId4"/>
            <a:srcRect/>
            <a:stretch>
              <a:fillRect/>
            </a:stretch>
          </p:blipFill>
          <p:spPr bwMode="auto">
            <a:xfrm>
              <a:off x="3182175" y="1084812"/>
              <a:ext cx="5679201" cy="2606040"/>
            </a:xfrm>
            <a:prstGeom prst="rect">
              <a:avLst/>
            </a:prstGeom>
            <a:noFill/>
          </p:spPr>
        </p:pic>
        <p:pic>
          <p:nvPicPr>
            <p:cNvPr id="85" name="Picture 3" descr="\\vmware-host\Shared Folders\Desktop\Active  Projects\2015 EMC World\Presentations\Roloff Session\Dome.png"/>
            <p:cNvPicPr>
              <a:picLocks noChangeAspect="1" noChangeArrowheads="1"/>
            </p:cNvPicPr>
            <p:nvPr/>
          </p:nvPicPr>
          <p:blipFill>
            <a:blip r:embed="rId4"/>
            <a:srcRect/>
            <a:stretch>
              <a:fillRect/>
            </a:stretch>
          </p:blipFill>
          <p:spPr bwMode="auto">
            <a:xfrm>
              <a:off x="3182175" y="1084812"/>
              <a:ext cx="5679201" cy="2606040"/>
            </a:xfrm>
            <a:prstGeom prst="rect">
              <a:avLst/>
            </a:prstGeom>
            <a:noFill/>
          </p:spPr>
        </p:pic>
        <p:sp>
          <p:nvSpPr>
            <p:cNvPr id="86" name="TextBox 85"/>
            <p:cNvSpPr txBox="1"/>
            <p:nvPr/>
          </p:nvSpPr>
          <p:spPr>
            <a:xfrm>
              <a:off x="5158895" y="1346367"/>
              <a:ext cx="1733167" cy="584775"/>
            </a:xfrm>
            <a:prstGeom prst="rect">
              <a:avLst/>
            </a:prstGeom>
            <a:noFill/>
          </p:spPr>
          <p:txBody>
            <a:bodyPr wrap="square" rtlCol="0">
              <a:prstTxWarp prst="textInflateTop">
                <a:avLst/>
              </a:prstTxWarp>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US" sz="1000" b="1" cap="all" dirty="0" smtClean="0">
                  <a:ln w="0"/>
                  <a:solidFill>
                    <a:schemeClr val="tx2">
                      <a:lumMod val="75000"/>
                    </a:schemeClr>
                  </a:solidFill>
                  <a:effectLst>
                    <a:outerShdw blurRad="88900" sx="105000" sy="105000" algn="ctr" rotWithShape="0">
                      <a:schemeClr val="bg1"/>
                    </a:outerShdw>
                  </a:effectLst>
                </a:rPr>
                <a:t>FUTURE </a:t>
              </a:r>
            </a:p>
            <a:p>
              <a:pPr algn="ctr"/>
              <a:r>
                <a:rPr lang="en-US" sz="1000" b="1" cap="all" dirty="0" smtClean="0">
                  <a:ln w="0"/>
                  <a:solidFill>
                    <a:schemeClr val="tx2">
                      <a:lumMod val="75000"/>
                    </a:schemeClr>
                  </a:solidFill>
                  <a:effectLst>
                    <a:outerShdw blurRad="88900" sx="105000" sy="105000" algn="ctr" rotWithShape="0">
                      <a:schemeClr val="bg1"/>
                    </a:outerShdw>
                  </a:effectLst>
                </a:rPr>
                <a:t>VISION</a:t>
              </a:r>
            </a:p>
          </p:txBody>
        </p:sp>
        <p:grpSp>
          <p:nvGrpSpPr>
            <p:cNvPr id="87" name="Group 110"/>
            <p:cNvGrpSpPr/>
            <p:nvPr/>
          </p:nvGrpSpPr>
          <p:grpSpPr>
            <a:xfrm>
              <a:off x="3949027" y="2460568"/>
              <a:ext cx="3835811" cy="744588"/>
              <a:chOff x="3545896" y="2460568"/>
              <a:chExt cx="3835811" cy="744588"/>
            </a:xfrm>
          </p:grpSpPr>
          <p:pic>
            <p:nvPicPr>
              <p:cNvPr id="98" name="Picture 2" descr="\\vmware-host\Shared Folders\Desktop\Active  Projects\2015 EMC World\Presentations\Roloff Session\Cloud Trans.png"/>
              <p:cNvPicPr>
                <a:picLocks noChangeAspect="1" noChangeArrowheads="1"/>
              </p:cNvPicPr>
              <p:nvPr/>
            </p:nvPicPr>
            <p:blipFill>
              <a:blip r:embed="rId5"/>
              <a:srcRect/>
              <a:stretch>
                <a:fillRect/>
              </a:stretch>
            </p:blipFill>
            <p:spPr bwMode="auto">
              <a:xfrm>
                <a:off x="4343918" y="2619512"/>
                <a:ext cx="1002128" cy="585643"/>
              </a:xfrm>
              <a:prstGeom prst="rect">
                <a:avLst/>
              </a:prstGeom>
              <a:noFill/>
            </p:spPr>
          </p:pic>
          <p:pic>
            <p:nvPicPr>
              <p:cNvPr id="100" name="Picture 2" descr="\\vmware-host\Shared Folders\Desktop\Active  Projects\2015 EMC World\Presentations\Roloff Session\Cloud Trans.png"/>
              <p:cNvPicPr>
                <a:picLocks noChangeAspect="1" noChangeArrowheads="1"/>
              </p:cNvPicPr>
              <p:nvPr/>
            </p:nvPicPr>
            <p:blipFill>
              <a:blip r:embed="rId5"/>
              <a:srcRect/>
              <a:stretch>
                <a:fillRect/>
              </a:stretch>
            </p:blipFill>
            <p:spPr bwMode="auto">
              <a:xfrm>
                <a:off x="4610974" y="2493818"/>
                <a:ext cx="1217210" cy="711337"/>
              </a:xfrm>
              <a:prstGeom prst="rect">
                <a:avLst/>
              </a:prstGeom>
              <a:noFill/>
            </p:spPr>
          </p:pic>
          <p:pic>
            <p:nvPicPr>
              <p:cNvPr id="101" name="Picture 2" descr="\\vmware-host\Shared Folders\Desktop\Active  Projects\2015 EMC World\Presentations\Roloff Session\Cloud Trans.png"/>
              <p:cNvPicPr>
                <a:picLocks noChangeAspect="1" noChangeArrowheads="1"/>
              </p:cNvPicPr>
              <p:nvPr/>
            </p:nvPicPr>
            <p:blipFill>
              <a:blip r:embed="rId5"/>
              <a:srcRect/>
              <a:stretch>
                <a:fillRect/>
              </a:stretch>
            </p:blipFill>
            <p:spPr bwMode="auto">
              <a:xfrm>
                <a:off x="5258318" y="2460568"/>
                <a:ext cx="1274108" cy="744588"/>
              </a:xfrm>
              <a:prstGeom prst="rect">
                <a:avLst/>
              </a:prstGeom>
              <a:noFill/>
            </p:spPr>
          </p:pic>
          <p:pic>
            <p:nvPicPr>
              <p:cNvPr id="102" name="Picture 2" descr="\\vmware-host\Shared Folders\Desktop\Active  Projects\2015 EMC World\Presentations\Roloff Session\Cloud Trans.png"/>
              <p:cNvPicPr>
                <a:picLocks noChangeAspect="1" noChangeArrowheads="1"/>
              </p:cNvPicPr>
              <p:nvPr/>
            </p:nvPicPr>
            <p:blipFill>
              <a:blip r:embed="rId5"/>
              <a:srcRect/>
              <a:stretch>
                <a:fillRect/>
              </a:stretch>
            </p:blipFill>
            <p:spPr bwMode="auto">
              <a:xfrm>
                <a:off x="5740456" y="2619512"/>
                <a:ext cx="1002128" cy="585643"/>
              </a:xfrm>
              <a:prstGeom prst="rect">
                <a:avLst/>
              </a:prstGeom>
              <a:noFill/>
            </p:spPr>
          </p:pic>
          <p:pic>
            <p:nvPicPr>
              <p:cNvPr id="103" name="Picture 2" descr="\\vmware-host\Shared Folders\Desktop\Active  Projects\2015 EMC World\Presentations\Roloff Session\Cloud Trans.png"/>
              <p:cNvPicPr>
                <a:picLocks noChangeAspect="1" noChangeArrowheads="1"/>
              </p:cNvPicPr>
              <p:nvPr/>
            </p:nvPicPr>
            <p:blipFill>
              <a:blip r:embed="rId5"/>
              <a:srcRect/>
              <a:stretch>
                <a:fillRect/>
              </a:stretch>
            </p:blipFill>
            <p:spPr bwMode="auto">
              <a:xfrm>
                <a:off x="3545896" y="2722089"/>
                <a:ext cx="826603" cy="483066"/>
              </a:xfrm>
              <a:prstGeom prst="rect">
                <a:avLst/>
              </a:prstGeom>
              <a:noFill/>
            </p:spPr>
          </p:pic>
          <p:pic>
            <p:nvPicPr>
              <p:cNvPr id="105" name="Picture 2" descr="\\vmware-host\Shared Folders\Desktop\Active  Projects\2015 EMC World\Presentations\Roloff Session\Cloud Trans.png"/>
              <p:cNvPicPr>
                <a:picLocks noChangeAspect="1" noChangeArrowheads="1"/>
              </p:cNvPicPr>
              <p:nvPr/>
            </p:nvPicPr>
            <p:blipFill>
              <a:blip r:embed="rId5"/>
              <a:srcRect/>
              <a:stretch>
                <a:fillRect/>
              </a:stretch>
            </p:blipFill>
            <p:spPr bwMode="auto">
              <a:xfrm>
                <a:off x="4028034" y="2668651"/>
                <a:ext cx="918044" cy="536504"/>
              </a:xfrm>
              <a:prstGeom prst="rect">
                <a:avLst/>
              </a:prstGeom>
              <a:noFill/>
            </p:spPr>
          </p:pic>
          <p:pic>
            <p:nvPicPr>
              <p:cNvPr id="106" name="Picture 2" descr="\\vmware-host\Shared Folders\Desktop\Active  Projects\2015 EMC World\Presentations\Roloff Session\Cloud Trans.png"/>
              <p:cNvPicPr>
                <a:picLocks noChangeAspect="1" noChangeArrowheads="1"/>
              </p:cNvPicPr>
              <p:nvPr/>
            </p:nvPicPr>
            <p:blipFill>
              <a:blip r:embed="rId5"/>
              <a:srcRect/>
              <a:stretch>
                <a:fillRect/>
              </a:stretch>
            </p:blipFill>
            <p:spPr bwMode="auto">
              <a:xfrm>
                <a:off x="6176360" y="2679936"/>
                <a:ext cx="898733" cy="525219"/>
              </a:xfrm>
              <a:prstGeom prst="rect">
                <a:avLst/>
              </a:prstGeom>
              <a:noFill/>
            </p:spPr>
          </p:pic>
          <p:pic>
            <p:nvPicPr>
              <p:cNvPr id="107" name="Picture 2" descr="\\vmware-host\Shared Folders\Desktop\Active  Projects\2015 EMC World\Presentations\Roloff Session\Cloud Trans.png"/>
              <p:cNvPicPr>
                <a:picLocks noChangeAspect="1" noChangeArrowheads="1"/>
              </p:cNvPicPr>
              <p:nvPr/>
            </p:nvPicPr>
            <p:blipFill>
              <a:blip r:embed="rId5"/>
              <a:srcRect/>
              <a:stretch>
                <a:fillRect/>
              </a:stretch>
            </p:blipFill>
            <p:spPr bwMode="auto">
              <a:xfrm>
                <a:off x="6555104" y="2722089"/>
                <a:ext cx="826603" cy="483066"/>
              </a:xfrm>
              <a:prstGeom prst="rect">
                <a:avLst/>
              </a:prstGeom>
              <a:noFill/>
            </p:spPr>
          </p:pic>
        </p:grpSp>
        <p:pic>
          <p:nvPicPr>
            <p:cNvPr id="88" name="Picture 6" descr="\\vmware-host\Shared Folders\Desktop\Active  Projects\2015 EMC World\Presentations\Roloff Session\People_5.png"/>
            <p:cNvPicPr>
              <a:picLocks noChangeAspect="1" noChangeArrowheads="1"/>
            </p:cNvPicPr>
            <p:nvPr/>
          </p:nvPicPr>
          <p:blipFill>
            <a:blip r:embed="rId6"/>
            <a:srcRect/>
            <a:stretch>
              <a:fillRect/>
            </a:stretch>
          </p:blipFill>
          <p:spPr bwMode="auto">
            <a:xfrm>
              <a:off x="5558259" y="1981835"/>
              <a:ext cx="333056" cy="989115"/>
            </a:xfrm>
            <a:prstGeom prst="rect">
              <a:avLst/>
            </a:prstGeom>
            <a:noFill/>
          </p:spPr>
        </p:pic>
        <p:pic>
          <p:nvPicPr>
            <p:cNvPr id="89" name="Picture 7" descr="\\vmware-host\Shared Folders\Desktop\Active  Projects\2015 EMC World\Presentations\Roloff Session\People_1.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flipH="1">
              <a:off x="4173143" y="2275360"/>
              <a:ext cx="346573" cy="702972"/>
            </a:xfrm>
            <a:prstGeom prst="rect">
              <a:avLst/>
            </a:prstGeom>
            <a:noFill/>
          </p:spPr>
        </p:pic>
        <p:pic>
          <p:nvPicPr>
            <p:cNvPr id="91" name="Picture 8" descr="\\vmware-host\Shared Folders\Desktop\Active  Projects\2015 EMC World\Presentations\Roloff Session\People_2.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912760" y="2118997"/>
              <a:ext cx="318277" cy="826678"/>
            </a:xfrm>
            <a:prstGeom prst="rect">
              <a:avLst/>
            </a:prstGeom>
            <a:noFill/>
          </p:spPr>
        </p:pic>
        <p:pic>
          <p:nvPicPr>
            <p:cNvPr id="93" name="Picture 9" descr="\\vmware-host\Shared Folders\Desktop\Active  Projects\2015 EMC World\Presentations\Roloff Session\People_3.png"/>
            <p:cNvPicPr>
              <a:picLocks noChangeAspect="1" noChangeArrowheads="1"/>
            </p:cNvPicPr>
            <p:nvPr/>
          </p:nvPicPr>
          <p:blipFill>
            <a:blip r:embed="rId9"/>
            <a:srcRect/>
            <a:stretch>
              <a:fillRect/>
            </a:stretch>
          </p:blipFill>
          <p:spPr bwMode="auto">
            <a:xfrm>
              <a:off x="6196388" y="2001430"/>
              <a:ext cx="328476" cy="1034043"/>
            </a:xfrm>
            <a:prstGeom prst="rect">
              <a:avLst/>
            </a:prstGeom>
            <a:noFill/>
          </p:spPr>
        </p:pic>
        <p:pic>
          <p:nvPicPr>
            <p:cNvPr id="96" name="Picture 10" descr="\\vmware-host\Shared Folders\Desktop\Active  Projects\2015 EMC World\Presentations\Roloff Session\People_4.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4834495" y="2105933"/>
              <a:ext cx="258402" cy="826678"/>
            </a:xfrm>
            <a:prstGeom prst="rect">
              <a:avLst/>
            </a:prstGeom>
            <a:noFill/>
          </p:spPr>
        </p:pic>
      </p:grpSp>
      <p:sp>
        <p:nvSpPr>
          <p:cNvPr id="137" name="Rectangle 136"/>
          <p:cNvSpPr/>
          <p:nvPr/>
        </p:nvSpPr>
        <p:spPr>
          <a:xfrm>
            <a:off x="4718304" y="3151873"/>
            <a:ext cx="4425697" cy="1456639"/>
          </a:xfrm>
          <a:prstGeom prst="rect">
            <a:avLst/>
          </a:prstGeom>
          <a:gradFill flip="none" rotWithShape="1">
            <a:gsLst>
              <a:gs pos="35000">
                <a:schemeClr val="tx1">
                  <a:lumMod val="85000"/>
                  <a:lumOff val="15000"/>
                </a:schemeClr>
              </a:gs>
              <a:gs pos="100000">
                <a:schemeClr val="tx1">
                  <a:lumMod val="85000"/>
                  <a:lumOff val="15000"/>
                  <a:alpha val="0"/>
                </a:schemeClr>
              </a:gs>
            </a:gsLst>
            <a:lin ang="1080000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p>
        </p:txBody>
      </p:sp>
      <p:pic>
        <p:nvPicPr>
          <p:cNvPr id="112" name="Picture 5" descr="\\vmware-host\Shared Folders\Desktop\Active  Projects\2015 EMC World\Presentations\Roloff Session\Back Wall.png"/>
          <p:cNvPicPr>
            <a:picLocks noChangeAspect="1" noChangeArrowheads="1"/>
          </p:cNvPicPr>
          <p:nvPr/>
        </p:nvPicPr>
        <p:blipFill>
          <a:blip r:embed="rId11" cstate="print">
            <a:extLst>
              <a:ext uri="{28A0092B-C50C-407E-A947-70E740481C1C}">
                <a14:useLocalDpi xmlns:a14="http://schemas.microsoft.com/office/drawing/2010/main"/>
              </a:ext>
            </a:extLst>
          </a:blip>
          <a:srcRect b="-1907"/>
          <a:stretch>
            <a:fillRect/>
          </a:stretch>
        </p:blipFill>
        <p:spPr bwMode="auto">
          <a:xfrm flipH="1">
            <a:off x="4381805" y="393350"/>
            <a:ext cx="4762194" cy="4159600"/>
          </a:xfrm>
          <a:prstGeom prst="rect">
            <a:avLst/>
          </a:prstGeom>
          <a:noFill/>
          <a:effectLst>
            <a:outerShdw blurRad="190500" dist="38100" dir="2700000" algn="tl" rotWithShape="0">
              <a:prstClr val="black">
                <a:alpha val="40000"/>
              </a:prstClr>
            </a:outerShdw>
          </a:effectLst>
        </p:spPr>
      </p:pic>
      <p:sp>
        <p:nvSpPr>
          <p:cNvPr id="145" name="TextBox 144"/>
          <p:cNvSpPr txBox="1"/>
          <p:nvPr/>
        </p:nvSpPr>
        <p:spPr>
          <a:xfrm>
            <a:off x="1636101" y="2627186"/>
            <a:ext cx="2884524" cy="1918474"/>
          </a:xfrm>
          <a:prstGeom prst="rect">
            <a:avLst/>
          </a:prstGeom>
          <a:noFill/>
          <a:effectLst>
            <a:outerShdw blurRad="139700" dist="38100" dir="5400000" algn="t" rotWithShape="0">
              <a:prstClr val="black"/>
            </a:outerShdw>
          </a:effectLst>
          <a:scene3d>
            <a:camera prst="isometricOffAxis1Top"/>
            <a:lightRig rig="threePt" dir="t"/>
          </a:scene3d>
        </p:spPr>
        <p:txBody>
          <a:bodyPr wrap="none" rtlCol="0">
            <a:spAutoFit/>
          </a:bodyPr>
          <a:lstStyle/>
          <a:p>
            <a:pPr algn="ctr">
              <a:lnSpc>
                <a:spcPts val="4800"/>
              </a:lnSpc>
            </a:pPr>
            <a:r>
              <a:rPr lang="en-US" sz="3200" dirty="0" smtClean="0">
                <a:solidFill>
                  <a:srgbClr val="FFFFFF"/>
                </a:solidFill>
                <a:latin typeface="+mj-lt"/>
                <a:ea typeface="+mj-ea"/>
                <a:cs typeface="+mj-cs"/>
              </a:rPr>
              <a:t>TOPS DOWN</a:t>
            </a:r>
            <a:br>
              <a:rPr lang="en-US" sz="3200" dirty="0" smtClean="0">
                <a:solidFill>
                  <a:srgbClr val="FFFFFF"/>
                </a:solidFill>
                <a:latin typeface="+mj-lt"/>
                <a:ea typeface="+mj-ea"/>
                <a:cs typeface="+mj-cs"/>
              </a:rPr>
            </a:br>
            <a:r>
              <a:rPr lang="en-US" sz="3200" dirty="0" smtClean="0">
                <a:solidFill>
                  <a:srgbClr val="FFFFFF"/>
                </a:solidFill>
                <a:latin typeface="+mj-lt"/>
                <a:ea typeface="+mj-ea"/>
                <a:cs typeface="+mj-cs"/>
              </a:rPr>
              <a:t>MILESTONES</a:t>
            </a:r>
            <a:br>
              <a:rPr lang="en-US" sz="3200" dirty="0" smtClean="0">
                <a:solidFill>
                  <a:srgbClr val="FFFFFF"/>
                </a:solidFill>
                <a:latin typeface="+mj-lt"/>
                <a:ea typeface="+mj-ea"/>
                <a:cs typeface="+mj-cs"/>
              </a:rPr>
            </a:br>
            <a:r>
              <a:rPr lang="en-US" sz="3200" dirty="0" smtClean="0">
                <a:solidFill>
                  <a:srgbClr val="FFFFFF"/>
                </a:solidFill>
                <a:latin typeface="+mj-lt"/>
                <a:ea typeface="+mj-ea"/>
                <a:cs typeface="+mj-cs"/>
              </a:rPr>
              <a:t>DEFINED</a:t>
            </a:r>
          </a:p>
        </p:txBody>
      </p:sp>
      <p:grpSp>
        <p:nvGrpSpPr>
          <p:cNvPr id="152" name="Group 151"/>
          <p:cNvGrpSpPr/>
          <p:nvPr/>
        </p:nvGrpSpPr>
        <p:grpSpPr>
          <a:xfrm>
            <a:off x="4747565" y="3283546"/>
            <a:ext cx="4396435" cy="1046075"/>
            <a:chOff x="4747565" y="3818534"/>
            <a:chExt cx="4396435" cy="1046075"/>
          </a:xfrm>
        </p:grpSpPr>
        <p:cxnSp>
          <p:nvCxnSpPr>
            <p:cNvPr id="147" name="Straight Connector 146"/>
            <p:cNvCxnSpPr/>
            <p:nvPr/>
          </p:nvCxnSpPr>
          <p:spPr>
            <a:xfrm>
              <a:off x="4747565" y="3994099"/>
              <a:ext cx="4396435" cy="0"/>
            </a:xfrm>
            <a:prstGeom prst="line">
              <a:avLst/>
            </a:prstGeom>
            <a:ln w="12700" cmpd="sng">
              <a:gradFill>
                <a:gsLst>
                  <a:gs pos="0">
                    <a:schemeClr val="bg1">
                      <a:lumMod val="50000"/>
                      <a:alpha val="0"/>
                    </a:schemeClr>
                  </a:gs>
                  <a:gs pos="3000">
                    <a:schemeClr val="bg1">
                      <a:lumMod val="50000"/>
                    </a:schemeClr>
                  </a:gs>
                </a:gsLst>
                <a:lin ang="0" scaled="0"/>
              </a:gra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p:nvCxnSpPr>
          <p:spPr>
            <a:xfrm>
              <a:off x="4747565" y="3818534"/>
              <a:ext cx="4396435" cy="0"/>
            </a:xfrm>
            <a:prstGeom prst="line">
              <a:avLst/>
            </a:prstGeom>
            <a:ln w="12700" cmpd="sng">
              <a:gradFill>
                <a:gsLst>
                  <a:gs pos="0">
                    <a:schemeClr val="bg1">
                      <a:lumMod val="50000"/>
                      <a:alpha val="0"/>
                    </a:schemeClr>
                  </a:gs>
                  <a:gs pos="3000">
                    <a:schemeClr val="bg1">
                      <a:lumMod val="50000"/>
                    </a:schemeClr>
                  </a:gs>
                </a:gsLst>
                <a:lin ang="0" scaled="0"/>
              </a:gradFill>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p:nvPr/>
          </p:nvCxnSpPr>
          <p:spPr>
            <a:xfrm>
              <a:off x="4747565" y="4220870"/>
              <a:ext cx="4396435" cy="0"/>
            </a:xfrm>
            <a:prstGeom prst="line">
              <a:avLst/>
            </a:prstGeom>
            <a:ln w="12700" cmpd="sng">
              <a:gradFill>
                <a:gsLst>
                  <a:gs pos="0">
                    <a:schemeClr val="bg1">
                      <a:lumMod val="50000"/>
                      <a:alpha val="0"/>
                    </a:schemeClr>
                  </a:gs>
                  <a:gs pos="3000">
                    <a:schemeClr val="bg1">
                      <a:lumMod val="50000"/>
                    </a:schemeClr>
                  </a:gs>
                </a:gsLst>
                <a:lin ang="0" scaled="0"/>
              </a:gra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p:nvCxnSpPr>
          <p:spPr>
            <a:xfrm>
              <a:off x="4747565" y="4520794"/>
              <a:ext cx="4396435" cy="0"/>
            </a:xfrm>
            <a:prstGeom prst="line">
              <a:avLst/>
            </a:prstGeom>
            <a:ln w="12700" cmpd="sng">
              <a:gradFill>
                <a:gsLst>
                  <a:gs pos="0">
                    <a:schemeClr val="tx1">
                      <a:lumMod val="65000"/>
                      <a:lumOff val="35000"/>
                      <a:alpha val="0"/>
                    </a:schemeClr>
                  </a:gs>
                  <a:gs pos="42000">
                    <a:schemeClr val="tx1">
                      <a:lumMod val="65000"/>
                      <a:lumOff val="35000"/>
                      <a:alpha val="36000"/>
                    </a:schemeClr>
                  </a:gs>
                </a:gsLst>
                <a:lin ang="0" scaled="0"/>
              </a:gradFill>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p:cNvCxnSpPr/>
            <p:nvPr/>
          </p:nvCxnSpPr>
          <p:spPr>
            <a:xfrm>
              <a:off x="4747565" y="4864609"/>
              <a:ext cx="4396435" cy="0"/>
            </a:xfrm>
            <a:prstGeom prst="line">
              <a:avLst/>
            </a:prstGeom>
            <a:ln w="12700" cmpd="sng">
              <a:gradFill>
                <a:gsLst>
                  <a:gs pos="0">
                    <a:schemeClr val="bg1">
                      <a:lumMod val="50000"/>
                      <a:alpha val="0"/>
                    </a:schemeClr>
                  </a:gs>
                  <a:gs pos="3000">
                    <a:schemeClr val="bg1">
                      <a:lumMod val="50000"/>
                    </a:schemeClr>
                  </a:gs>
                </a:gsLst>
                <a:lin ang="0" scaled="0"/>
              </a:gradFill>
            </a:ln>
            <a:effectLst/>
          </p:spPr>
          <p:style>
            <a:lnRef idx="2">
              <a:schemeClr val="accent1"/>
            </a:lnRef>
            <a:fillRef idx="0">
              <a:schemeClr val="accent1"/>
            </a:fillRef>
            <a:effectRef idx="1">
              <a:schemeClr val="accent1"/>
            </a:effectRef>
            <a:fontRef idx="minor">
              <a:schemeClr val="tx1"/>
            </a:fontRef>
          </p:style>
        </p:cxnSp>
      </p:grpSp>
      <p:grpSp>
        <p:nvGrpSpPr>
          <p:cNvPr id="114" name="Group 87"/>
          <p:cNvGrpSpPr/>
          <p:nvPr/>
        </p:nvGrpSpPr>
        <p:grpSpPr>
          <a:xfrm flipH="1">
            <a:off x="5025542" y="1714088"/>
            <a:ext cx="4118458" cy="1730272"/>
            <a:chOff x="1863001" y="1773401"/>
            <a:chExt cx="2776725" cy="1065089"/>
          </a:xfrm>
        </p:grpSpPr>
        <p:pic>
          <p:nvPicPr>
            <p:cNvPr id="117" name="Picture 2" descr="\\MV-FS\Projects\EMC\resources\Icons\EMC_icons_070910\finals\pngs\server.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gray">
            <a:xfrm>
              <a:off x="1863001" y="1776321"/>
              <a:ext cx="670284" cy="1062169"/>
            </a:xfrm>
            <a:prstGeom prst="rect">
              <a:avLst/>
            </a:prstGeom>
            <a:noFill/>
            <a:effectLst>
              <a:outerShdw blurRad="190500" dist="38100" dir="2700000" algn="tl" rotWithShape="0">
                <a:prstClr val="black">
                  <a:alpha val="40000"/>
                </a:prstClr>
              </a:outerShdw>
            </a:effectLst>
          </p:spPr>
        </p:pic>
        <p:pic>
          <p:nvPicPr>
            <p:cNvPr id="118" name="Picture 2" descr="\\MV-FS\Projects\EMC\resources\Icons\EMC_icons_070910\finals\pngs\server.png"/>
            <p:cNvPicPr>
              <a:picLocks noChangeAspect="1" noChangeArrowheads="1"/>
            </p:cNvPicPr>
            <p:nvPr/>
          </p:nvPicPr>
          <p:blipFill>
            <a:blip r:embed="rId13" cstate="screen"/>
            <a:srcRect/>
            <a:stretch>
              <a:fillRect/>
            </a:stretch>
          </p:blipFill>
          <p:spPr bwMode="gray">
            <a:xfrm>
              <a:off x="1893741" y="1776321"/>
              <a:ext cx="1062170" cy="1062169"/>
            </a:xfrm>
            <a:prstGeom prst="rect">
              <a:avLst/>
            </a:prstGeom>
            <a:noFill/>
            <a:effectLst>
              <a:outerShdw blurRad="190500" dist="38100" dir="2700000" algn="tl" rotWithShape="0">
                <a:prstClr val="black">
                  <a:alpha val="40000"/>
                </a:prstClr>
              </a:outerShdw>
            </a:effectLst>
          </p:spPr>
        </p:pic>
        <p:pic>
          <p:nvPicPr>
            <p:cNvPr id="119" name="Picture 2" descr="\\MV-FS\Projects\EMC\resources\Icons\EMC_icons_070910\finals\pngs\server.png"/>
            <p:cNvPicPr>
              <a:picLocks noChangeAspect="1" noChangeArrowheads="1"/>
            </p:cNvPicPr>
            <p:nvPr/>
          </p:nvPicPr>
          <p:blipFill>
            <a:blip r:embed="rId13" cstate="screen"/>
            <a:srcRect/>
            <a:stretch>
              <a:fillRect/>
            </a:stretch>
          </p:blipFill>
          <p:spPr bwMode="gray">
            <a:xfrm>
              <a:off x="2319178" y="1774861"/>
              <a:ext cx="1062170" cy="1062170"/>
            </a:xfrm>
            <a:prstGeom prst="rect">
              <a:avLst/>
            </a:prstGeom>
            <a:noFill/>
            <a:effectLst>
              <a:outerShdw blurRad="190500" dist="38100" dir="2700000" algn="tl" rotWithShape="0">
                <a:prstClr val="black">
                  <a:alpha val="40000"/>
                </a:prstClr>
              </a:outerShdw>
            </a:effectLst>
          </p:spPr>
        </p:pic>
        <p:pic>
          <p:nvPicPr>
            <p:cNvPr id="120" name="Picture 2" descr="\\MV-FS\Projects\EMC\resources\Icons\EMC_icons_070910\finals\pngs\server.png"/>
            <p:cNvPicPr>
              <a:picLocks noChangeAspect="1" noChangeArrowheads="1"/>
            </p:cNvPicPr>
            <p:nvPr/>
          </p:nvPicPr>
          <p:blipFill>
            <a:blip r:embed="rId13" cstate="screen"/>
            <a:srcRect/>
            <a:stretch>
              <a:fillRect/>
            </a:stretch>
          </p:blipFill>
          <p:spPr bwMode="gray">
            <a:xfrm>
              <a:off x="2741803" y="1774861"/>
              <a:ext cx="1062170" cy="1062170"/>
            </a:xfrm>
            <a:prstGeom prst="rect">
              <a:avLst/>
            </a:prstGeom>
            <a:noFill/>
            <a:effectLst>
              <a:outerShdw blurRad="190500" dist="38100" dir="2700000" algn="tl" rotWithShape="0">
                <a:prstClr val="black">
                  <a:alpha val="40000"/>
                </a:prstClr>
              </a:outerShdw>
            </a:effectLst>
          </p:spPr>
        </p:pic>
        <p:pic>
          <p:nvPicPr>
            <p:cNvPr id="121" name="Picture 2" descr="\\MV-FS\Projects\EMC\resources\Icons\EMC_icons_070910\finals\pngs\server.png"/>
            <p:cNvPicPr>
              <a:picLocks noChangeAspect="1" noChangeArrowheads="1"/>
            </p:cNvPicPr>
            <p:nvPr/>
          </p:nvPicPr>
          <p:blipFill>
            <a:blip r:embed="rId13" cstate="screen"/>
            <a:srcRect/>
            <a:stretch>
              <a:fillRect/>
            </a:stretch>
          </p:blipFill>
          <p:spPr bwMode="gray">
            <a:xfrm>
              <a:off x="3154931" y="1773401"/>
              <a:ext cx="1062170" cy="1062170"/>
            </a:xfrm>
            <a:prstGeom prst="rect">
              <a:avLst/>
            </a:prstGeom>
            <a:noFill/>
            <a:effectLst>
              <a:outerShdw blurRad="190500" dist="38100" dir="2700000" algn="tl" rotWithShape="0">
                <a:prstClr val="black">
                  <a:alpha val="40000"/>
                </a:prstClr>
              </a:outerShdw>
            </a:effectLst>
          </p:spPr>
        </p:pic>
        <p:pic>
          <p:nvPicPr>
            <p:cNvPr id="122" name="Picture 2" descr="\\MV-FS\Projects\EMC\resources\Icons\EMC_icons_070910\finals\pngs\server.png"/>
            <p:cNvPicPr>
              <a:picLocks noChangeAspect="1" noChangeArrowheads="1"/>
            </p:cNvPicPr>
            <p:nvPr/>
          </p:nvPicPr>
          <p:blipFill>
            <a:blip r:embed="rId13" cstate="screen"/>
            <a:srcRect/>
            <a:stretch>
              <a:fillRect/>
            </a:stretch>
          </p:blipFill>
          <p:spPr bwMode="gray">
            <a:xfrm>
              <a:off x="3577556" y="1773401"/>
              <a:ext cx="1062170" cy="1062170"/>
            </a:xfrm>
            <a:prstGeom prst="rect">
              <a:avLst/>
            </a:prstGeom>
            <a:noFill/>
            <a:effectLst>
              <a:outerShdw blurRad="190500" dist="38100" dir="2700000" algn="tl" rotWithShape="0">
                <a:prstClr val="black">
                  <a:alpha val="40000"/>
                </a:prstClr>
              </a:outerShdw>
            </a:effectLst>
          </p:spPr>
        </p:pic>
      </p:grpSp>
      <p:grpSp>
        <p:nvGrpSpPr>
          <p:cNvPr id="138" name="Group 137"/>
          <p:cNvGrpSpPr/>
          <p:nvPr/>
        </p:nvGrpSpPr>
        <p:grpSpPr>
          <a:xfrm>
            <a:off x="6268512" y="532707"/>
            <a:ext cx="2198883" cy="2604535"/>
            <a:chOff x="6268512" y="1067695"/>
            <a:chExt cx="2198883" cy="2604535"/>
          </a:xfrm>
        </p:grpSpPr>
        <p:pic>
          <p:nvPicPr>
            <p:cNvPr id="136" name="Picture 4" descr="\\vmware-host\Shared Folders\Desktop\Active  Projects\2015 EMC World\Presentations\Roloff Session\Street Signs.png"/>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7123117" y="1548606"/>
              <a:ext cx="497823" cy="2123624"/>
            </a:xfrm>
            <a:prstGeom prst="rect">
              <a:avLst/>
            </a:prstGeom>
            <a:noFill/>
            <a:scene3d>
              <a:camera prst="isometricOffAxis1Right"/>
              <a:lightRig rig="threePt" dir="t"/>
            </a:scene3d>
          </p:spPr>
        </p:pic>
        <p:pic>
          <p:nvPicPr>
            <p:cNvPr id="126" name="Picture 4" descr="\\vmware-host\Shared Folders\Desktop\Active  Projects\2015 EMC World\Presentations\Roloff Session\Signs.png"/>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flipH="1">
              <a:off x="6268512" y="1067695"/>
              <a:ext cx="2198883" cy="1141497"/>
            </a:xfrm>
            <a:prstGeom prst="rect">
              <a:avLst/>
            </a:prstGeom>
            <a:noFill/>
            <a:scene3d>
              <a:camera prst="isometricOffAxis1Right"/>
              <a:lightRig rig="threePt" dir="t"/>
            </a:scene3d>
          </p:spPr>
        </p:pic>
        <p:sp>
          <p:nvSpPr>
            <p:cNvPr id="127" name="TextBox 126"/>
            <p:cNvSpPr txBox="1"/>
            <p:nvPr/>
          </p:nvSpPr>
          <p:spPr>
            <a:xfrm>
              <a:off x="6521789" y="1461907"/>
              <a:ext cx="1760418" cy="369332"/>
            </a:xfrm>
            <a:prstGeom prst="rect">
              <a:avLst/>
            </a:prstGeom>
            <a:noFill/>
            <a:scene3d>
              <a:camera prst="isometricOffAxis1Right">
                <a:rot lat="1080000" lon="21000000" rev="0"/>
              </a:camera>
              <a:lightRig rig="threePt" dir="t"/>
            </a:scene3d>
          </p:spPr>
          <p:txBody>
            <a:bodyPr wrap="none" rtlCol="0">
              <a:spAutoFit/>
            </a:bodyPr>
            <a:lstStyle/>
            <a:p>
              <a:r>
                <a:rPr lang="en-US" dirty="0" smtClean="0">
                  <a:solidFill>
                    <a:schemeClr val="bg1"/>
                  </a:solidFill>
                </a:rPr>
                <a:t>Current State</a:t>
              </a:r>
            </a:p>
          </p:txBody>
        </p:sp>
      </p:grpSp>
      <p:pic>
        <p:nvPicPr>
          <p:cNvPr id="115" name="Picture 114" descr="78495267-150dpi.png"/>
          <p:cNvPicPr>
            <a:picLocks noChangeAspect="1"/>
          </p:cNvPicPr>
          <p:nvPr/>
        </p:nvPicPr>
        <p:blipFill>
          <a:blip r:embed="rId16" cstate="screen"/>
          <a:stretch>
            <a:fillRect/>
          </a:stretch>
        </p:blipFill>
        <p:spPr>
          <a:xfrm>
            <a:off x="6159494" y="2384746"/>
            <a:ext cx="2540737" cy="1542537"/>
          </a:xfrm>
          <a:prstGeom prst="rect">
            <a:avLst/>
          </a:prstGeom>
          <a:effectLst>
            <a:outerShdw blurRad="114300" dist="38100" dir="16200000" rotWithShape="0">
              <a:schemeClr val="bg1"/>
            </a:outerShdw>
          </a:effectLst>
        </p:spPr>
      </p:pic>
      <p:sp>
        <p:nvSpPr>
          <p:cNvPr id="62" name="Rectangle 61"/>
          <p:cNvSpPr/>
          <p:nvPr/>
        </p:nvSpPr>
        <p:spPr>
          <a:xfrm>
            <a:off x="0" y="4038600"/>
            <a:ext cx="9144000" cy="609600"/>
          </a:xfrm>
          <a:prstGeom prst="rect">
            <a:avLst/>
          </a:prstGeom>
          <a:gradFill flip="none" rotWithShape="1">
            <a:gsLst>
              <a:gs pos="5000">
                <a:schemeClr val="bg1"/>
              </a:gs>
              <a:gs pos="100000">
                <a:schemeClr val="bg1">
                  <a:alpha val="0"/>
                </a:schemeClr>
              </a:gs>
            </a:gsLst>
            <a:lin ang="16200000" scaled="0"/>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6326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r>
              <a:rPr lang="en-US" sz="2400" dirty="0" smtClean="0"/>
              <a:t>BUSINESS TRANSFORMATION DRIVEN BY THE FEDERATION HYBRID CLOUD</a:t>
            </a:r>
            <a:endParaRPr lang="en-US" sz="2400" dirty="0"/>
          </a:p>
        </p:txBody>
      </p:sp>
      <p:sp>
        <p:nvSpPr>
          <p:cNvPr id="9" name="Subtitle 8"/>
          <p:cNvSpPr>
            <a:spLocks noGrp="1"/>
          </p:cNvSpPr>
          <p:nvPr>
            <p:ph type="subTitle" idx="1"/>
          </p:nvPr>
        </p:nvSpPr>
        <p:spPr>
          <a:xfrm>
            <a:off x="4341812" y="2353449"/>
            <a:ext cx="4497387" cy="816769"/>
          </a:xfrm>
        </p:spPr>
        <p:txBody>
          <a:bodyPr/>
          <a:lstStyle/>
          <a:p>
            <a:r>
              <a:rPr lang="en-US" sz="2000" dirty="0" smtClean="0"/>
              <a:t>TOM ROLOFF</a:t>
            </a:r>
            <a:endParaRPr lang="en-US" sz="2000" dirty="0"/>
          </a:p>
        </p:txBody>
      </p:sp>
      <p:sp>
        <p:nvSpPr>
          <p:cNvPr id="10" name="Content Placeholder 9"/>
          <p:cNvSpPr>
            <a:spLocks noGrp="1"/>
          </p:cNvSpPr>
          <p:nvPr>
            <p:ph sz="quarter" idx="10"/>
          </p:nvPr>
        </p:nvSpPr>
        <p:spPr>
          <a:xfrm>
            <a:off x="4341812" y="2712405"/>
            <a:ext cx="4497387" cy="1239837"/>
          </a:xfrm>
        </p:spPr>
        <p:txBody>
          <a:bodyPr/>
          <a:lstStyle/>
          <a:p>
            <a:r>
              <a:rPr lang="en-US" dirty="0" smtClean="0"/>
              <a:t>SVP, GLOBAL SERVICES</a:t>
            </a:r>
          </a:p>
          <a:p>
            <a:r>
              <a:rPr lang="en-US" dirty="0" smtClean="0"/>
              <a:t>EMC II</a:t>
            </a:r>
            <a:endParaRPr lang="en-US" dirty="0"/>
          </a:p>
        </p:txBody>
      </p:sp>
    </p:spTree>
    <p:extLst>
      <p:ext uri="{BB962C8B-B14F-4D97-AF65-F5344CB8AC3E}">
        <p14:creationId xmlns:p14="http://schemas.microsoft.com/office/powerpoint/2010/main" val="315615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Federation Logo.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87880" y="690031"/>
            <a:ext cx="3248816" cy="3253317"/>
          </a:xfrm>
          <a:prstGeom prst="rect">
            <a:avLst/>
          </a:prstGeom>
        </p:spPr>
      </p:pic>
      <p:sp>
        <p:nvSpPr>
          <p:cNvPr id="4" name="Title 9"/>
          <p:cNvSpPr txBox="1">
            <a:spLocks/>
          </p:cNvSpPr>
          <p:nvPr/>
        </p:nvSpPr>
        <p:spPr>
          <a:xfrm>
            <a:off x="1713760" y="2120461"/>
            <a:ext cx="8458200" cy="457200"/>
          </a:xfrm>
          <a:prstGeom prst="rect">
            <a:avLst/>
          </a:prstGeom>
        </p:spPr>
        <p:txBody>
          <a:bodyPr/>
          <a:lstStyle/>
          <a:p>
            <a:pPr algn="ctr">
              <a:spcBef>
                <a:spcPct val="0"/>
              </a:spcBef>
              <a:defRPr/>
            </a:pPr>
            <a:r>
              <a:rPr lang="en-US" sz="4400" dirty="0" smtClean="0">
                <a:solidFill>
                  <a:srgbClr val="000000"/>
                </a:solidFill>
              </a:rPr>
              <a:t>THANK YOU</a:t>
            </a:r>
            <a:endParaRPr lang="en-US" sz="4400" dirty="0">
              <a:solidFill>
                <a:srgbClr val="000000"/>
              </a:solidFill>
            </a:endParaRPr>
          </a:p>
        </p:txBody>
      </p:sp>
    </p:spTree>
    <p:extLst>
      <p:ext uri="{BB962C8B-B14F-4D97-AF65-F5344CB8AC3E}">
        <p14:creationId xmlns:p14="http://schemas.microsoft.com/office/powerpoint/2010/main" val="211728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uds2.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9144000" cy="4632960"/>
          </a:xfrm>
          <a:prstGeom prst="rect">
            <a:avLst/>
          </a:prstGeom>
        </p:spPr>
      </p:pic>
      <p:grpSp>
        <p:nvGrpSpPr>
          <p:cNvPr id="9" name="Group 8"/>
          <p:cNvGrpSpPr/>
          <p:nvPr/>
        </p:nvGrpSpPr>
        <p:grpSpPr>
          <a:xfrm>
            <a:off x="377365" y="1232235"/>
            <a:ext cx="8823784" cy="402054"/>
            <a:chOff x="349028" y="1312793"/>
            <a:chExt cx="8823784" cy="402054"/>
          </a:xfrm>
        </p:grpSpPr>
        <p:sp>
          <p:nvSpPr>
            <p:cNvPr id="10" name="Rectangle 9"/>
            <p:cNvSpPr/>
            <p:nvPr/>
          </p:nvSpPr>
          <p:spPr>
            <a:xfrm>
              <a:off x="624763" y="1323325"/>
              <a:ext cx="8548049" cy="357809"/>
            </a:xfrm>
            <a:prstGeom prst="rect">
              <a:avLst/>
            </a:prstGeom>
            <a:gradFill flip="none" rotWithShape="1">
              <a:gsLst>
                <a:gs pos="80000">
                  <a:schemeClr val="tx2">
                    <a:alpha val="85000"/>
                  </a:schemeClr>
                </a:gs>
                <a:gs pos="100000">
                  <a:schemeClr val="tx2">
                    <a:alpha val="0"/>
                  </a:schemeClr>
                </a:gs>
              </a:gsLst>
              <a:lin ang="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1" name="Group 26"/>
            <p:cNvGrpSpPr/>
            <p:nvPr/>
          </p:nvGrpSpPr>
          <p:grpSpPr>
            <a:xfrm>
              <a:off x="349028" y="1312793"/>
              <a:ext cx="400686" cy="402054"/>
              <a:chOff x="3007017" y="1988652"/>
              <a:chExt cx="400686" cy="402054"/>
            </a:xfrm>
          </p:grpSpPr>
          <p:pic>
            <p:nvPicPr>
              <p:cNvPr id="12" name="Picture 11" descr="black button.png"/>
              <p:cNvPicPr>
                <a:picLocks noChangeAspect="1"/>
              </p:cNvPicPr>
              <p:nvPr/>
            </p:nvPicPr>
            <p:blipFill>
              <a:blip r:embed="rId3" cstate="screen"/>
              <a:stretch>
                <a:fillRect/>
              </a:stretch>
            </p:blipFill>
            <p:spPr>
              <a:xfrm>
                <a:off x="3007017" y="1988652"/>
                <a:ext cx="400686" cy="402054"/>
              </a:xfrm>
              <a:prstGeom prst="rect">
                <a:avLst/>
              </a:prstGeom>
              <a:noFill/>
              <a:ln>
                <a:noFill/>
              </a:ln>
              <a:effectLst>
                <a:glow rad="63500">
                  <a:schemeClr val="accent1">
                    <a:satMod val="175000"/>
                    <a:alpha val="40000"/>
                  </a:schemeClr>
                </a:glow>
                <a:outerShdw blurRad="63500" sx="102000" sy="102000" algn="ctr" rotWithShape="0">
                  <a:schemeClr val="tx2"/>
                </a:outerShdw>
              </a:effectLst>
            </p:spPr>
          </p:pic>
          <p:sp>
            <p:nvSpPr>
              <p:cNvPr id="13" name="TextBox 12"/>
              <p:cNvSpPr txBox="1"/>
              <p:nvPr/>
            </p:nvSpPr>
            <p:spPr>
              <a:xfrm>
                <a:off x="3010083" y="2018776"/>
                <a:ext cx="365806" cy="369332"/>
              </a:xfrm>
              <a:prstGeom prst="rect">
                <a:avLst/>
              </a:prstGeom>
              <a:noFill/>
            </p:spPr>
            <p:txBody>
              <a:bodyPr wrap="none" rtlCol="0">
                <a:spAutoFit/>
              </a:bodyPr>
              <a:lstStyle/>
              <a:p>
                <a:pPr algn="ctr"/>
                <a:r>
                  <a:rPr lang="en-US" b="1" dirty="0" smtClean="0">
                    <a:solidFill>
                      <a:schemeClr val="bg1"/>
                    </a:solidFill>
                    <a:effectLst>
                      <a:outerShdw blurRad="190500" algn="ctr" rotWithShape="0">
                        <a:schemeClr val="tx1"/>
                      </a:outerShdw>
                    </a:effectLst>
                    <a:sym typeface="Wingdings"/>
                  </a:rPr>
                  <a:t></a:t>
                </a:r>
                <a:endParaRPr lang="en-US" b="1" dirty="0" smtClean="0">
                  <a:solidFill>
                    <a:schemeClr val="bg1"/>
                  </a:solidFill>
                  <a:effectLst>
                    <a:outerShdw blurRad="190500" algn="ctr" rotWithShape="0">
                      <a:schemeClr val="tx1"/>
                    </a:outerShdw>
                  </a:effectLst>
                </a:endParaRPr>
              </a:p>
            </p:txBody>
          </p:sp>
        </p:grpSp>
      </p:grpSp>
      <p:grpSp>
        <p:nvGrpSpPr>
          <p:cNvPr id="14" name="Group 13"/>
          <p:cNvGrpSpPr/>
          <p:nvPr/>
        </p:nvGrpSpPr>
        <p:grpSpPr>
          <a:xfrm>
            <a:off x="377365" y="3299298"/>
            <a:ext cx="8766634" cy="402054"/>
            <a:chOff x="349028" y="1312793"/>
            <a:chExt cx="8766634" cy="402054"/>
          </a:xfrm>
        </p:grpSpPr>
        <p:sp>
          <p:nvSpPr>
            <p:cNvPr id="15" name="Rectangle 14"/>
            <p:cNvSpPr/>
            <p:nvPr/>
          </p:nvSpPr>
          <p:spPr>
            <a:xfrm>
              <a:off x="624763" y="1323325"/>
              <a:ext cx="8490899" cy="357809"/>
            </a:xfrm>
            <a:prstGeom prst="rect">
              <a:avLst/>
            </a:prstGeom>
            <a:gradFill flip="none" rotWithShape="1">
              <a:gsLst>
                <a:gs pos="80000">
                  <a:schemeClr val="tx2">
                    <a:alpha val="85000"/>
                  </a:schemeClr>
                </a:gs>
                <a:gs pos="100000">
                  <a:schemeClr val="tx2">
                    <a:alpha val="0"/>
                  </a:schemeClr>
                </a:gs>
              </a:gsLst>
              <a:lin ang="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6" name="Group 26"/>
            <p:cNvGrpSpPr/>
            <p:nvPr/>
          </p:nvGrpSpPr>
          <p:grpSpPr>
            <a:xfrm>
              <a:off x="349028" y="1312793"/>
              <a:ext cx="400686" cy="402054"/>
              <a:chOff x="3007017" y="1988652"/>
              <a:chExt cx="400686" cy="402054"/>
            </a:xfrm>
          </p:grpSpPr>
          <p:pic>
            <p:nvPicPr>
              <p:cNvPr id="17" name="Picture 16" descr="black button.png"/>
              <p:cNvPicPr>
                <a:picLocks noChangeAspect="1"/>
              </p:cNvPicPr>
              <p:nvPr/>
            </p:nvPicPr>
            <p:blipFill>
              <a:blip r:embed="rId3" cstate="screen"/>
              <a:stretch>
                <a:fillRect/>
              </a:stretch>
            </p:blipFill>
            <p:spPr>
              <a:xfrm>
                <a:off x="3007017" y="1988652"/>
                <a:ext cx="400686" cy="402054"/>
              </a:xfrm>
              <a:prstGeom prst="rect">
                <a:avLst/>
              </a:prstGeom>
              <a:noFill/>
              <a:ln>
                <a:noFill/>
              </a:ln>
              <a:effectLst>
                <a:glow rad="63500">
                  <a:schemeClr val="accent1">
                    <a:satMod val="175000"/>
                    <a:alpha val="40000"/>
                  </a:schemeClr>
                </a:glow>
                <a:outerShdw blurRad="63500" sx="102000" sy="102000" algn="ctr" rotWithShape="0">
                  <a:schemeClr val="tx2"/>
                </a:outerShdw>
              </a:effectLst>
            </p:spPr>
          </p:pic>
          <p:sp>
            <p:nvSpPr>
              <p:cNvPr id="18" name="TextBox 17"/>
              <p:cNvSpPr txBox="1"/>
              <p:nvPr/>
            </p:nvSpPr>
            <p:spPr>
              <a:xfrm>
                <a:off x="3010083" y="2018776"/>
                <a:ext cx="365806" cy="369332"/>
              </a:xfrm>
              <a:prstGeom prst="rect">
                <a:avLst/>
              </a:prstGeom>
              <a:noFill/>
            </p:spPr>
            <p:txBody>
              <a:bodyPr wrap="none" rtlCol="0">
                <a:spAutoFit/>
              </a:bodyPr>
              <a:lstStyle/>
              <a:p>
                <a:pPr algn="ctr"/>
                <a:r>
                  <a:rPr lang="en-US" b="1" dirty="0" smtClean="0">
                    <a:solidFill>
                      <a:schemeClr val="bg1"/>
                    </a:solidFill>
                    <a:effectLst>
                      <a:outerShdw blurRad="190500" algn="ctr" rotWithShape="0">
                        <a:schemeClr val="tx1"/>
                      </a:outerShdw>
                    </a:effectLst>
                    <a:sym typeface="Wingdings"/>
                  </a:rPr>
                  <a:t></a:t>
                </a:r>
                <a:endParaRPr lang="en-US" b="1" dirty="0" smtClean="0">
                  <a:solidFill>
                    <a:schemeClr val="bg1"/>
                  </a:solidFill>
                  <a:effectLst>
                    <a:outerShdw blurRad="190500" algn="ctr" rotWithShape="0">
                      <a:schemeClr val="tx1"/>
                    </a:outerShdw>
                  </a:effectLst>
                </a:endParaRPr>
              </a:p>
            </p:txBody>
          </p:sp>
        </p:grpSp>
      </p:grpSp>
      <p:grpSp>
        <p:nvGrpSpPr>
          <p:cNvPr id="24" name="Group 23"/>
          <p:cNvGrpSpPr/>
          <p:nvPr/>
        </p:nvGrpSpPr>
        <p:grpSpPr>
          <a:xfrm>
            <a:off x="359606" y="1744780"/>
            <a:ext cx="8784394" cy="402054"/>
            <a:chOff x="349028" y="1312793"/>
            <a:chExt cx="8784394" cy="402054"/>
          </a:xfrm>
        </p:grpSpPr>
        <p:sp>
          <p:nvSpPr>
            <p:cNvPr id="29" name="Rectangle 28"/>
            <p:cNvSpPr/>
            <p:nvPr/>
          </p:nvSpPr>
          <p:spPr>
            <a:xfrm>
              <a:off x="624764" y="1323325"/>
              <a:ext cx="8508658" cy="357809"/>
            </a:xfrm>
            <a:prstGeom prst="rect">
              <a:avLst/>
            </a:prstGeom>
            <a:gradFill flip="none" rotWithShape="1">
              <a:gsLst>
                <a:gs pos="80000">
                  <a:schemeClr val="tx2">
                    <a:alpha val="85000"/>
                  </a:schemeClr>
                </a:gs>
                <a:gs pos="100000">
                  <a:schemeClr val="tx2">
                    <a:alpha val="0"/>
                  </a:schemeClr>
                </a:gs>
              </a:gsLst>
              <a:lin ang="0" scaled="1"/>
              <a:tileRect/>
            </a:gra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0" name="Group 26"/>
            <p:cNvGrpSpPr/>
            <p:nvPr/>
          </p:nvGrpSpPr>
          <p:grpSpPr>
            <a:xfrm>
              <a:off x="349028" y="1312793"/>
              <a:ext cx="400686" cy="402054"/>
              <a:chOff x="3007017" y="1988652"/>
              <a:chExt cx="400686" cy="402054"/>
            </a:xfrm>
          </p:grpSpPr>
          <p:pic>
            <p:nvPicPr>
              <p:cNvPr id="31" name="Picture 30" descr="black button.png"/>
              <p:cNvPicPr>
                <a:picLocks noChangeAspect="1"/>
              </p:cNvPicPr>
              <p:nvPr/>
            </p:nvPicPr>
            <p:blipFill>
              <a:blip r:embed="rId3" cstate="screen"/>
              <a:stretch>
                <a:fillRect/>
              </a:stretch>
            </p:blipFill>
            <p:spPr>
              <a:xfrm>
                <a:off x="3007017" y="1988652"/>
                <a:ext cx="400686" cy="402054"/>
              </a:xfrm>
              <a:prstGeom prst="rect">
                <a:avLst/>
              </a:prstGeom>
              <a:noFill/>
              <a:ln>
                <a:noFill/>
              </a:ln>
              <a:effectLst>
                <a:glow rad="63500">
                  <a:schemeClr val="accent1">
                    <a:satMod val="175000"/>
                    <a:alpha val="40000"/>
                  </a:schemeClr>
                </a:glow>
                <a:outerShdw blurRad="63500" sx="102000" sy="102000" algn="ctr" rotWithShape="0">
                  <a:schemeClr val="tx2"/>
                </a:outerShdw>
              </a:effectLst>
            </p:spPr>
          </p:pic>
          <p:sp>
            <p:nvSpPr>
              <p:cNvPr id="32" name="TextBox 31"/>
              <p:cNvSpPr txBox="1"/>
              <p:nvPr/>
            </p:nvSpPr>
            <p:spPr>
              <a:xfrm>
                <a:off x="3010083" y="2018776"/>
                <a:ext cx="365806" cy="369332"/>
              </a:xfrm>
              <a:prstGeom prst="rect">
                <a:avLst/>
              </a:prstGeom>
              <a:noFill/>
            </p:spPr>
            <p:txBody>
              <a:bodyPr wrap="none" rtlCol="0">
                <a:spAutoFit/>
              </a:bodyPr>
              <a:lstStyle/>
              <a:p>
                <a:pPr algn="ctr"/>
                <a:r>
                  <a:rPr lang="en-US" b="1" dirty="0" smtClean="0">
                    <a:solidFill>
                      <a:schemeClr val="bg1"/>
                    </a:solidFill>
                    <a:effectLst>
                      <a:outerShdw blurRad="190500" algn="ctr" rotWithShape="0">
                        <a:schemeClr val="tx1"/>
                      </a:outerShdw>
                    </a:effectLst>
                    <a:sym typeface="Wingdings"/>
                  </a:rPr>
                  <a:t></a:t>
                </a:r>
                <a:endParaRPr lang="en-US" b="1" dirty="0" smtClean="0">
                  <a:solidFill>
                    <a:schemeClr val="bg1"/>
                  </a:solidFill>
                  <a:effectLst>
                    <a:outerShdw blurRad="190500" algn="ctr" rotWithShape="0">
                      <a:schemeClr val="tx1"/>
                    </a:outerShdw>
                  </a:effectLst>
                </a:endParaRPr>
              </a:p>
            </p:txBody>
          </p:sp>
        </p:grpSp>
      </p:grpSp>
      <p:sp>
        <p:nvSpPr>
          <p:cNvPr id="3" name="Content Placeholder 2"/>
          <p:cNvSpPr>
            <a:spLocks noGrp="1"/>
          </p:cNvSpPr>
          <p:nvPr>
            <p:ph sz="quarter" idx="10"/>
          </p:nvPr>
        </p:nvSpPr>
        <p:spPr>
          <a:xfrm>
            <a:off x="894398" y="713234"/>
            <a:ext cx="8109135" cy="3800316"/>
          </a:xfrm>
        </p:spPr>
        <p:txBody>
          <a:bodyPr/>
          <a:lstStyle/>
          <a:p>
            <a:pPr marL="0" indent="0">
              <a:buNone/>
            </a:pPr>
            <a:endParaRPr lang="en-US" dirty="0" smtClean="0">
              <a:solidFill>
                <a:srgbClr val="FFFFFF"/>
              </a:solidFill>
            </a:endParaRPr>
          </a:p>
          <a:p>
            <a:pPr marL="0" indent="0">
              <a:buNone/>
            </a:pPr>
            <a:r>
              <a:rPr lang="en-US" dirty="0" smtClean="0">
                <a:solidFill>
                  <a:srgbClr val="FFFFFF"/>
                </a:solidFill>
              </a:rPr>
              <a:t>What’s Driving IT Transformation</a:t>
            </a:r>
          </a:p>
          <a:p>
            <a:pPr marL="0" indent="0">
              <a:buNone/>
            </a:pPr>
            <a:r>
              <a:rPr lang="en-US" dirty="0" smtClean="0">
                <a:solidFill>
                  <a:srgbClr val="FFFFFF"/>
                </a:solidFill>
              </a:rPr>
              <a:t>Three Levels Of IT Transformation</a:t>
            </a:r>
          </a:p>
          <a:p>
            <a:pPr lvl="1"/>
            <a:r>
              <a:rPr lang="en-US" dirty="0" smtClean="0">
                <a:solidFill>
                  <a:srgbClr val="2C95DD"/>
                </a:solidFill>
              </a:rPr>
              <a:t>Infrastructure Transformation</a:t>
            </a:r>
          </a:p>
          <a:p>
            <a:pPr lvl="1"/>
            <a:r>
              <a:rPr lang="en-US" dirty="0" smtClean="0">
                <a:solidFill>
                  <a:srgbClr val="2C95DD"/>
                </a:solidFill>
              </a:rPr>
              <a:t>Operating Model Transformation</a:t>
            </a:r>
          </a:p>
          <a:p>
            <a:pPr lvl="1"/>
            <a:r>
              <a:rPr lang="en-US" dirty="0" smtClean="0">
                <a:solidFill>
                  <a:srgbClr val="2C95DD"/>
                </a:solidFill>
              </a:rPr>
              <a:t>Application Transformation</a:t>
            </a:r>
          </a:p>
          <a:p>
            <a:pPr marL="0" indent="0">
              <a:buNone/>
            </a:pPr>
            <a:r>
              <a:rPr lang="en-US" dirty="0" smtClean="0">
                <a:solidFill>
                  <a:srgbClr val="FFFFFF"/>
                </a:solidFill>
              </a:rPr>
              <a:t>Approaches </a:t>
            </a:r>
            <a:r>
              <a:rPr lang="en-US" dirty="0">
                <a:solidFill>
                  <a:srgbClr val="FFFFFF"/>
                </a:solidFill>
              </a:rPr>
              <a:t>F</a:t>
            </a:r>
            <a:r>
              <a:rPr lang="en-US" dirty="0" smtClean="0">
                <a:solidFill>
                  <a:srgbClr val="FFFFFF"/>
                </a:solidFill>
              </a:rPr>
              <a:t>or Starting A Transformation Program</a:t>
            </a:r>
          </a:p>
        </p:txBody>
      </p:sp>
      <p:sp>
        <p:nvSpPr>
          <p:cNvPr id="2" name="Title 1"/>
          <p:cNvSpPr>
            <a:spLocks noGrp="1"/>
          </p:cNvSpPr>
          <p:nvPr>
            <p:ph type="ctrTitle"/>
          </p:nvPr>
        </p:nvSpPr>
        <p:spPr/>
        <p:txBody>
          <a:bodyPr/>
          <a:lstStyle/>
          <a:p>
            <a:r>
              <a:rPr lang="en-US" smtClean="0"/>
              <a:t>AGENDA</a:t>
            </a:r>
            <a:endParaRPr lang="en-US" dirty="0"/>
          </a:p>
        </p:txBody>
      </p:sp>
    </p:spTree>
    <p:extLst>
      <p:ext uri="{BB962C8B-B14F-4D97-AF65-F5344CB8AC3E}">
        <p14:creationId xmlns:p14="http://schemas.microsoft.com/office/powerpoint/2010/main" val="106750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louds2.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4632960"/>
          </a:xfrm>
          <a:prstGeom prst="rect">
            <a:avLst/>
          </a:prstGeom>
        </p:spPr>
      </p:pic>
      <p:sp>
        <p:nvSpPr>
          <p:cNvPr id="2" name="Title 1"/>
          <p:cNvSpPr>
            <a:spLocks noGrp="1"/>
          </p:cNvSpPr>
          <p:nvPr>
            <p:ph type="ctrTitle"/>
          </p:nvPr>
        </p:nvSpPr>
        <p:spPr/>
        <p:txBody>
          <a:bodyPr/>
          <a:lstStyle/>
          <a:p>
            <a:r>
              <a:rPr lang="en-US" dirty="0" smtClean="0"/>
              <a:t>WHAT’S DRIVING IT TRANSFORMATION</a:t>
            </a:r>
            <a:endParaRPr lang="en-US" dirty="0"/>
          </a:p>
        </p:txBody>
      </p:sp>
    </p:spTree>
    <p:extLst>
      <p:ext uri="{BB962C8B-B14F-4D97-AF65-F5344CB8AC3E}">
        <p14:creationId xmlns:p14="http://schemas.microsoft.com/office/powerpoint/2010/main" val="2816942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Burton bkgd.png"/>
          <p:cNvPicPr>
            <a:picLocks noChangeAspect="1"/>
          </p:cNvPicPr>
          <p:nvPr/>
        </p:nvPicPr>
        <p:blipFill>
          <a:blip r:embed="rId3">
            <a:extLst>
              <a:ext uri="{28A0092B-C50C-407E-A947-70E740481C1C}">
                <a14:useLocalDpi xmlns:a14="http://schemas.microsoft.com/office/drawing/2010/main"/>
              </a:ext>
            </a:extLst>
          </a:blip>
          <a:stretch>
            <a:fillRect/>
          </a:stretch>
        </p:blipFill>
        <p:spPr>
          <a:xfrm flipV="1">
            <a:off x="0" y="-6350"/>
            <a:ext cx="9144000" cy="4483100"/>
          </a:xfrm>
          <a:prstGeom prst="rect">
            <a:avLst/>
          </a:prstGeom>
        </p:spPr>
      </p:pic>
      <p:grpSp>
        <p:nvGrpSpPr>
          <p:cNvPr id="2" name="Group 1"/>
          <p:cNvGrpSpPr/>
          <p:nvPr/>
        </p:nvGrpSpPr>
        <p:grpSpPr>
          <a:xfrm>
            <a:off x="0" y="590550"/>
            <a:ext cx="8741751" cy="4038695"/>
            <a:chOff x="-131151" y="664038"/>
            <a:chExt cx="9344066" cy="4316965"/>
          </a:xfrm>
        </p:grpSpPr>
        <p:pic>
          <p:nvPicPr>
            <p:cNvPr id="13" name="Picture 1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50062" y="787522"/>
              <a:ext cx="1289644" cy="876117"/>
            </a:xfrm>
            <a:prstGeom prst="rect">
              <a:avLst/>
            </a:prstGeom>
          </p:spPr>
        </p:pic>
        <p:grpSp>
          <p:nvGrpSpPr>
            <p:cNvPr id="11" name="Group 10"/>
            <p:cNvGrpSpPr/>
            <p:nvPr/>
          </p:nvGrpSpPr>
          <p:grpSpPr>
            <a:xfrm>
              <a:off x="-131151" y="1776380"/>
              <a:ext cx="1833165" cy="2686094"/>
              <a:chOff x="1003545" y="-237714"/>
              <a:chExt cx="2277002" cy="3372885"/>
            </a:xfrm>
          </p:grpSpPr>
          <p:pic>
            <p:nvPicPr>
              <p:cNvPr id="9" name="Picture 8"/>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03545" y="-237714"/>
                <a:ext cx="2277002" cy="3372885"/>
              </a:xfrm>
              <a:prstGeom prst="rect">
                <a:avLst/>
              </a:prstGeom>
            </p:spPr>
          </p:pic>
          <p:pic>
            <p:nvPicPr>
              <p:cNvPr id="8" name="Picture 7"/>
              <p:cNvPicPr>
                <a:picLocks/>
              </p:cNvPicPr>
              <p:nvPr/>
            </p:nvPicPr>
            <p:blipFill rotWithShape="1">
              <a:blip r:embed="rId6" cstate="print">
                <a:extLst>
                  <a:ext uri="{28A0092B-C50C-407E-A947-70E740481C1C}">
                    <a14:useLocalDpi xmlns:a14="http://schemas.microsoft.com/office/drawing/2010/main"/>
                  </a:ext>
                </a:extLst>
              </a:blip>
              <a:srcRect/>
              <a:stretch/>
            </p:blipFill>
            <p:spPr>
              <a:xfrm>
                <a:off x="1571921" y="524005"/>
                <a:ext cx="1149839" cy="1835040"/>
              </a:xfrm>
              <a:prstGeom prst="rect">
                <a:avLst/>
              </a:prstGeom>
            </p:spPr>
          </p:pic>
        </p:grpSp>
        <p:pic>
          <p:nvPicPr>
            <p:cNvPr id="19" name="Picture 18"/>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079764" y="3990402"/>
              <a:ext cx="782762" cy="782762"/>
            </a:xfrm>
            <a:prstGeom prst="rect">
              <a:avLst/>
            </a:prstGeom>
          </p:spPr>
        </p:pic>
        <p:pic>
          <p:nvPicPr>
            <p:cNvPr id="26" name="Picture 25"/>
            <p:cNvPicPr>
              <a:picLocks noChangeAspect="1"/>
            </p:cNvPicPr>
            <p:nvPr/>
          </p:nvPicPr>
          <p:blipFill>
            <a:blip r:embed="rId8" cstate="print">
              <a:clrChange>
                <a:clrFrom>
                  <a:srgbClr val="FFFFFF"/>
                </a:clrFrom>
                <a:clrTo>
                  <a:srgbClr val="FFFFFF">
                    <a:alpha val="0"/>
                  </a:srgbClr>
                </a:clrTo>
              </a:clrChange>
              <a:extLst>
                <a:ext uri="{BEBA8EAE-BF5A-486C-A8C5-ECC9F3942E4B}">
                  <a14:imgProps xmlns:a14="http://schemas.microsoft.com/office/drawing/2010/main">
                    <a14:imgLayer r:embed="rId9">
                      <a14:imgEffect>
                        <a14:backgroundRemoval t="9302" b="89302" l="2013" r="98239"/>
                      </a14:imgEffect>
                    </a14:imgLayer>
                  </a14:imgProps>
                </a:ext>
                <a:ext uri="{28A0092B-C50C-407E-A947-70E740481C1C}">
                  <a14:useLocalDpi xmlns:a14="http://schemas.microsoft.com/office/drawing/2010/main"/>
                </a:ext>
              </a:extLst>
            </a:blip>
            <a:stretch>
              <a:fillRect/>
            </a:stretch>
          </p:blipFill>
          <p:spPr>
            <a:xfrm>
              <a:off x="5440758" y="4086224"/>
              <a:ext cx="2323716" cy="628426"/>
            </a:xfrm>
            <a:prstGeom prst="rect">
              <a:avLst/>
            </a:prstGeom>
          </p:spPr>
        </p:pic>
        <p:pic>
          <p:nvPicPr>
            <p:cNvPr id="7" name="Picture 6"/>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21882" y="3974907"/>
              <a:ext cx="1295400" cy="835533"/>
            </a:xfrm>
            <a:prstGeom prst="rect">
              <a:avLst/>
            </a:prstGeom>
          </p:spPr>
        </p:pic>
        <p:pic>
          <p:nvPicPr>
            <p:cNvPr id="16" name="Picture 15"/>
            <p:cNvPicPr>
              <a:picLocks noChangeAspect="1"/>
            </p:cNvPicPr>
            <p:nvPr/>
          </p:nvPicPr>
          <p:blipFill>
            <a:blip r:embed="rId11" cstate="print">
              <a:extLst>
                <a:ext uri="{BEBA8EAE-BF5A-486C-A8C5-ECC9F3942E4B}">
                  <a14:imgProps xmlns:a14="http://schemas.microsoft.com/office/drawing/2010/main">
                    <a14:imgLayer r:embed="rId12">
                      <a14:imgEffect>
                        <a14:backgroundRemoval t="0" b="100000" l="0" r="100000">
                          <a14:foregroundMark x1="80788" y1="52421" x2="80788" y2="52421"/>
                          <a14:foregroundMark x1="80788" y1="32632" x2="80788" y2="32632"/>
                          <a14:foregroundMark x1="83990" y1="33474" x2="83990" y2="33474"/>
                        </a14:backgroundRemoval>
                      </a14:imgEffect>
                    </a14:imgLayer>
                  </a14:imgProps>
                </a:ext>
                <a:ext uri="{28A0092B-C50C-407E-A947-70E740481C1C}">
                  <a14:useLocalDpi xmlns:a14="http://schemas.microsoft.com/office/drawing/2010/main"/>
                </a:ext>
              </a:extLst>
            </a:blip>
            <a:stretch>
              <a:fillRect/>
            </a:stretch>
          </p:blipFill>
          <p:spPr>
            <a:xfrm>
              <a:off x="2137258" y="913747"/>
              <a:ext cx="2126538" cy="2487946"/>
            </a:xfrm>
            <a:prstGeom prst="rect">
              <a:avLst/>
            </a:prstGeom>
          </p:spPr>
        </p:pic>
        <p:pic>
          <p:nvPicPr>
            <p:cNvPr id="14" name="Picture 13"/>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93749" y="664038"/>
              <a:ext cx="2371695" cy="1910845"/>
            </a:xfrm>
            <a:prstGeom prst="rect">
              <a:avLst/>
            </a:prstGeom>
          </p:spPr>
        </p:pic>
        <p:pic>
          <p:nvPicPr>
            <p:cNvPr id="5" name="Picture 4"/>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295932" y="2014206"/>
              <a:ext cx="3386747" cy="1917731"/>
            </a:xfrm>
            <a:prstGeom prst="rect">
              <a:avLst/>
            </a:prstGeom>
          </p:spPr>
        </p:pic>
        <p:pic>
          <p:nvPicPr>
            <p:cNvPr id="6" name="Picture 5"/>
            <p:cNvPicPr>
              <a:picLocks noChangeAspect="1"/>
            </p:cNvPicPr>
            <p:nvPr/>
          </p:nvPicPr>
          <p:blipFill rotWithShape="1">
            <a:blip r:embed="rId15" cstate="print">
              <a:extLst>
                <a:ext uri="{BEBA8EAE-BF5A-486C-A8C5-ECC9F3942E4B}">
                  <a14:imgProps xmlns:a14="http://schemas.microsoft.com/office/drawing/2010/main">
                    <a14:imgLayer r:embed="rId16">
                      <a14:imgEffect>
                        <a14:backgroundRemoval t="10000" b="90000" l="0" r="100000">
                          <a14:foregroundMark x1="92938" y1="75500" x2="92938" y2="75500"/>
                          <a14:foregroundMark x1="21688" y1="43917" x2="21688" y2="43917"/>
                          <a14:foregroundMark x1="24313" y1="42167" x2="24313" y2="42167"/>
                          <a14:foregroundMark x1="28313" y1="41000" x2="28313" y2="41000"/>
                        </a14:backgroundRemoval>
                      </a14:imgEffect>
                    </a14:imgLayer>
                  </a14:imgProps>
                </a:ext>
                <a:ext uri="{28A0092B-C50C-407E-A947-70E740481C1C}">
                  <a14:useLocalDpi xmlns:a14="http://schemas.microsoft.com/office/drawing/2010/main"/>
                </a:ext>
              </a:extLst>
            </a:blip>
            <a:srcRect t="32319" b="12880"/>
            <a:stretch/>
          </p:blipFill>
          <p:spPr>
            <a:xfrm>
              <a:off x="241910" y="3391011"/>
              <a:ext cx="3868483" cy="1589992"/>
            </a:xfrm>
            <a:prstGeom prst="rect">
              <a:avLst/>
            </a:prstGeom>
          </p:spPr>
        </p:pic>
        <p:pic>
          <p:nvPicPr>
            <p:cNvPr id="15" name="Picture 14"/>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1506018" y="1662886"/>
              <a:ext cx="1077241" cy="1073384"/>
            </a:xfrm>
            <a:prstGeom prst="rect">
              <a:avLst/>
            </a:prstGeom>
          </p:spPr>
        </p:pic>
        <p:pic>
          <p:nvPicPr>
            <p:cNvPr id="12" name="Picture 11"/>
            <p:cNvPicPr>
              <a:picLocks noChangeAspect="1"/>
            </p:cNvPicPr>
            <p:nvPr/>
          </p:nvPicPr>
          <p:blipFill>
            <a:blip r:embed="rId18" cstate="print">
              <a:clrChange>
                <a:clrFrom>
                  <a:srgbClr val="F9F9F9"/>
                </a:clrFrom>
                <a:clrTo>
                  <a:srgbClr val="F9F9F9">
                    <a:alpha val="0"/>
                  </a:srgbClr>
                </a:clrTo>
              </a:clrChange>
              <a:extLst>
                <a:ext uri="{BEBA8EAE-BF5A-486C-A8C5-ECC9F3942E4B}">
                  <a14:imgProps xmlns:a14="http://schemas.microsoft.com/office/drawing/2010/main">
                    <a14:imgLayer r:embed="rId19">
                      <a14:imgEffect>
                        <a14:backgroundRemoval t="0" b="100000" l="0" r="100000">
                          <a14:foregroundMark x1="33500" y1="90435" x2="33500" y2="90435"/>
                          <a14:foregroundMark x1="38000" y1="89130" x2="38000" y2="89130"/>
                          <a14:foregroundMark x1="43250" y1="90435" x2="43250" y2="90435"/>
                          <a14:foregroundMark x1="25500" y1="92174" x2="25500" y2="92174"/>
                          <a14:foregroundMark x1="48000" y1="89130" x2="48000" y2="89130"/>
                          <a14:foregroundMark x1="16250" y1="92174" x2="16250" y2="92174"/>
                          <a14:foregroundMark x1="54250" y1="90000" x2="54250" y2="90000"/>
                          <a14:foregroundMark x1="46250" y1="12174" x2="46250" y2="12174"/>
                          <a14:foregroundMark x1="88250" y1="48696" x2="88250" y2="48696"/>
                          <a14:foregroundMark x1="85750" y1="80000" x2="85750" y2="80000"/>
                        </a14:backgroundRemoval>
                      </a14:imgEffect>
                    </a14:imgLayer>
                  </a14:imgProps>
                </a:ext>
                <a:ext uri="{28A0092B-C50C-407E-A947-70E740481C1C}">
                  <a14:useLocalDpi xmlns:a14="http://schemas.microsoft.com/office/drawing/2010/main"/>
                </a:ext>
              </a:extLst>
            </a:blip>
            <a:stretch>
              <a:fillRect/>
            </a:stretch>
          </p:blipFill>
          <p:spPr>
            <a:xfrm>
              <a:off x="3356063" y="2920015"/>
              <a:ext cx="2077400" cy="1194505"/>
            </a:xfrm>
            <a:prstGeom prst="rect">
              <a:avLst/>
            </a:prstGeom>
          </p:spPr>
        </p:pic>
        <p:pic>
          <p:nvPicPr>
            <p:cNvPr id="18" name="Picture 17"/>
            <p:cNvPicPr>
              <a:picLocks noChangeAspect="1"/>
            </p:cNvPicPr>
            <p:nvPr/>
          </p:nvPicPr>
          <p:blipFill>
            <a:blip r:embed="rId20"/>
            <a:stretch>
              <a:fillRect/>
            </a:stretch>
          </p:blipFill>
          <p:spPr>
            <a:xfrm>
              <a:off x="5224162" y="1063154"/>
              <a:ext cx="3064174" cy="2205060"/>
            </a:xfrm>
            <a:prstGeom prst="rect">
              <a:avLst/>
            </a:prstGeom>
          </p:spPr>
        </p:pic>
        <p:pic>
          <p:nvPicPr>
            <p:cNvPr id="3" name="Picture 2"/>
            <p:cNvPicPr>
              <a:picLocks noChangeAspect="1"/>
            </p:cNvPicPr>
            <p:nvPr/>
          </p:nvPicPr>
          <p:blipFill>
            <a:blip r:embed="rId21" cstate="print">
              <a:extLst>
                <a:ext uri="{BEBA8EAE-BF5A-486C-A8C5-ECC9F3942E4B}">
                  <a14:imgProps xmlns:a14="http://schemas.microsoft.com/office/drawing/2010/main">
                    <a14:imgLayer r:embed="rId22">
                      <a14:imgEffect>
                        <a14:backgroundRemoval t="2333" b="90000" l="8681" r="89931">
                          <a14:foregroundMark x1="18576" y1="21167" x2="49479" y2="21167"/>
                          <a14:foregroundMark x1="19097" y1="71500" x2="50347" y2="71833"/>
                          <a14:foregroundMark x1="57292" y1="25833" x2="78125" y2="28833"/>
                          <a14:foregroundMark x1="56597" y1="68000" x2="79340" y2="72667"/>
                        </a14:backgroundRemoval>
                      </a14:imgEffect>
                    </a14:imgLayer>
                  </a14:imgProps>
                </a:ext>
                <a:ext uri="{28A0092B-C50C-407E-A947-70E740481C1C}">
                  <a14:useLocalDpi xmlns:a14="http://schemas.microsoft.com/office/drawing/2010/main"/>
                </a:ext>
              </a:extLst>
            </a:blip>
            <a:stretch>
              <a:fillRect/>
            </a:stretch>
          </p:blipFill>
          <p:spPr>
            <a:xfrm>
              <a:off x="7125109" y="2205059"/>
              <a:ext cx="2087806" cy="2174797"/>
            </a:xfrm>
            <a:prstGeom prst="rect">
              <a:avLst/>
            </a:prstGeom>
          </p:spPr>
        </p:pic>
        <p:pic>
          <p:nvPicPr>
            <p:cNvPr id="21" name="Picture 20"/>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5345906" y="2653724"/>
              <a:ext cx="1059572" cy="1531253"/>
            </a:xfrm>
            <a:prstGeom prst="rect">
              <a:avLst/>
            </a:prstGeom>
          </p:spPr>
        </p:pic>
        <p:pic>
          <p:nvPicPr>
            <p:cNvPr id="22" name="Picture 21"/>
            <p:cNvPicPr>
              <a:picLocks noChangeAspect="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014659" y="2993421"/>
              <a:ext cx="1693447" cy="1411206"/>
            </a:xfrm>
            <a:prstGeom prst="rect">
              <a:avLst/>
            </a:prstGeom>
          </p:spPr>
        </p:pic>
        <p:pic>
          <p:nvPicPr>
            <p:cNvPr id="20" name="Picture 19"/>
            <p:cNvPicPr>
              <a:picLocks noChangeAspect="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88088" y="1136360"/>
              <a:ext cx="1445488" cy="678675"/>
            </a:xfrm>
            <a:prstGeom prst="rect">
              <a:avLst/>
            </a:prstGeom>
          </p:spPr>
        </p:pic>
        <p:pic>
          <p:nvPicPr>
            <p:cNvPr id="24" name="Picture 23"/>
            <p:cNvPicPr>
              <a:picLocks noChangeAspect="1"/>
            </p:cNvPicPr>
            <p:nvPr/>
          </p:nvPicPr>
          <p:blipFill>
            <a:blip r:embed="rId26" cstate="print">
              <a:extLst>
                <a:ext uri="{28A0092B-C50C-407E-A947-70E740481C1C}">
                  <a14:useLocalDpi xmlns:a14="http://schemas.microsoft.com/office/drawing/2010/main"/>
                </a:ext>
              </a:extLst>
            </a:blip>
            <a:stretch>
              <a:fillRect/>
            </a:stretch>
          </p:blipFill>
          <p:spPr>
            <a:xfrm>
              <a:off x="4547623" y="1833705"/>
              <a:ext cx="848372" cy="589158"/>
            </a:xfrm>
            <a:prstGeom prst="rect">
              <a:avLst/>
            </a:prstGeom>
          </p:spPr>
        </p:pic>
      </p:grpSp>
      <p:sp>
        <p:nvSpPr>
          <p:cNvPr id="25" name="Title 3"/>
          <p:cNvSpPr>
            <a:spLocks noGrp="1"/>
          </p:cNvSpPr>
          <p:nvPr>
            <p:ph type="ctrTitle"/>
          </p:nvPr>
        </p:nvSpPr>
        <p:spPr/>
        <p:txBody>
          <a:bodyPr/>
          <a:lstStyle/>
          <a:p>
            <a:r>
              <a:rPr lang="en-US" sz="2600" spc="-70" dirty="0" smtClean="0"/>
              <a:t>INDUSTRIES &amp; BUSINESSES ARE BEING REDEFINED</a:t>
            </a:r>
            <a:endParaRPr lang="en-US" sz="2600" spc="-70" dirty="0"/>
          </a:p>
        </p:txBody>
      </p:sp>
    </p:spTree>
    <p:extLst>
      <p:ext uri="{BB962C8B-B14F-4D97-AF65-F5344CB8AC3E}">
        <p14:creationId xmlns:p14="http://schemas.microsoft.com/office/powerpoint/2010/main" val="343842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3098801" y="1054100"/>
            <a:ext cx="2943224" cy="1555750"/>
            <a:chOff x="3098801" y="1054100"/>
            <a:chExt cx="2943224" cy="1555750"/>
          </a:xfrm>
        </p:grpSpPr>
        <p:pic>
          <p:nvPicPr>
            <p:cNvPr id="59" name="Picture 58"/>
            <p:cNvPicPr>
              <a:picLocks noChangeAspect="1"/>
            </p:cNvPicPr>
            <p:nvPr/>
          </p:nvPicPr>
          <p:blipFill rotWithShape="1">
            <a:blip r:embed="rId3" cstate="print">
              <a:clrChange>
                <a:clrFrom>
                  <a:srgbClr val="FFFFFF"/>
                </a:clrFrom>
                <a:clrTo>
                  <a:srgbClr val="FFFFFF">
                    <a:alpha val="0"/>
                  </a:srgbClr>
                </a:clrTo>
              </a:clrChange>
              <a:alphaModFix amt="70000"/>
              <a:extLst>
                <a:ext uri="{28A0092B-C50C-407E-A947-70E740481C1C}">
                  <a14:useLocalDpi xmlns:a14="http://schemas.microsoft.com/office/drawing/2010/main"/>
                </a:ext>
              </a:extLst>
            </a:blip>
            <a:srcRect/>
            <a:stretch/>
          </p:blipFill>
          <p:spPr>
            <a:xfrm>
              <a:off x="3098801" y="1054100"/>
              <a:ext cx="1471612" cy="1555750"/>
            </a:xfrm>
            <a:prstGeom prst="rect">
              <a:avLst/>
            </a:prstGeom>
          </p:spPr>
        </p:pic>
        <p:pic>
          <p:nvPicPr>
            <p:cNvPr id="61" name="Picture 60"/>
            <p:cNvPicPr>
              <a:picLocks noChangeAspect="1"/>
            </p:cNvPicPr>
            <p:nvPr/>
          </p:nvPicPr>
          <p:blipFill rotWithShape="1">
            <a:blip r:embed="rId3" cstate="print">
              <a:clrChange>
                <a:clrFrom>
                  <a:srgbClr val="FFFFFF"/>
                </a:clrFrom>
                <a:clrTo>
                  <a:srgbClr val="FFFFFF">
                    <a:alpha val="0"/>
                  </a:srgbClr>
                </a:clrTo>
              </a:clrChange>
              <a:alphaModFix amt="70000"/>
              <a:extLst>
                <a:ext uri="{28A0092B-C50C-407E-A947-70E740481C1C}">
                  <a14:useLocalDpi xmlns:a14="http://schemas.microsoft.com/office/drawing/2010/main"/>
                </a:ext>
              </a:extLst>
            </a:blip>
            <a:srcRect/>
            <a:stretch/>
          </p:blipFill>
          <p:spPr>
            <a:xfrm flipH="1">
              <a:off x="4570413" y="1054100"/>
              <a:ext cx="1471612" cy="1555750"/>
            </a:xfrm>
            <a:prstGeom prst="rect">
              <a:avLst/>
            </a:prstGeom>
          </p:spPr>
        </p:pic>
      </p:grpSp>
      <p:sp>
        <p:nvSpPr>
          <p:cNvPr id="100" name="Title 2"/>
          <p:cNvSpPr txBox="1">
            <a:spLocks/>
          </p:cNvSpPr>
          <p:nvPr/>
        </p:nvSpPr>
        <p:spPr>
          <a:xfrm>
            <a:off x="4575176" y="1668"/>
            <a:ext cx="0" cy="338554"/>
          </a:xfrm>
          <a:prstGeom prst="rect">
            <a:avLst/>
          </a:prstGeom>
        </p:spPr>
        <p:txBody>
          <a:bodyPr wrap="none" lIns="0" tIns="0" rIns="0" bIns="0" anchor="t" anchorCtr="0">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90000"/>
              </a:lnSpc>
            </a:pPr>
            <a:endParaRPr lang="en-US" sz="2400" dirty="0">
              <a:solidFill>
                <a:schemeClr val="bg1"/>
              </a:solidFill>
              <a:effectLst>
                <a:glow rad="228600">
                  <a:schemeClr val="tx1">
                    <a:alpha val="40000"/>
                  </a:schemeClr>
                </a:glow>
              </a:effectLst>
            </a:endParaRPr>
          </a:p>
        </p:txBody>
      </p:sp>
      <p:sp>
        <p:nvSpPr>
          <p:cNvPr id="7" name="Title 6"/>
          <p:cNvSpPr>
            <a:spLocks noGrp="1"/>
          </p:cNvSpPr>
          <p:nvPr>
            <p:ph type="ctrTitle"/>
          </p:nvPr>
        </p:nvSpPr>
        <p:spPr/>
        <p:txBody>
          <a:bodyPr/>
          <a:lstStyle/>
          <a:p>
            <a:r>
              <a:rPr lang="en-US" smtClean="0"/>
              <a:t>IT NEEDS TO SUPPORT TWO MODES </a:t>
            </a:r>
            <a:endParaRPr lang="en-US" dirty="0"/>
          </a:p>
        </p:txBody>
      </p:sp>
      <p:sp>
        <p:nvSpPr>
          <p:cNvPr id="31" name="Rectangle 30"/>
          <p:cNvSpPr/>
          <p:nvPr/>
        </p:nvSpPr>
        <p:spPr>
          <a:xfrm>
            <a:off x="5824861" y="1976113"/>
            <a:ext cx="2125339" cy="1367046"/>
          </a:xfrm>
          <a:prstGeom prst="rect">
            <a:avLst/>
          </a:prstGeom>
          <a:gradFill flip="none" rotWithShape="1">
            <a:gsLst>
              <a:gs pos="50000">
                <a:schemeClr val="accent2">
                  <a:alpha val="70000"/>
                </a:schemeClr>
              </a:gs>
              <a:gs pos="100000">
                <a:srgbClr val="FFFFFF">
                  <a:alpha val="0"/>
                </a:srgb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Verdana"/>
            </a:endParaRPr>
          </a:p>
        </p:txBody>
      </p:sp>
      <p:pic>
        <p:nvPicPr>
          <p:cNvPr id="32" name="Picture 3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758378" y="1031352"/>
            <a:ext cx="2196070" cy="2233423"/>
          </a:xfrm>
          <a:prstGeom prst="rect">
            <a:avLst/>
          </a:prstGeom>
        </p:spPr>
      </p:pic>
      <p:grpSp>
        <p:nvGrpSpPr>
          <p:cNvPr id="6" name="Group 5"/>
          <p:cNvGrpSpPr/>
          <p:nvPr/>
        </p:nvGrpSpPr>
        <p:grpSpPr>
          <a:xfrm>
            <a:off x="5815390" y="2948237"/>
            <a:ext cx="2082045" cy="925474"/>
            <a:chOff x="6187368" y="2948237"/>
            <a:chExt cx="1865603" cy="829265"/>
          </a:xfrm>
        </p:grpSpPr>
        <p:pic>
          <p:nvPicPr>
            <p:cNvPr id="34" name="Picture 33" descr="platform green.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87368" y="2948237"/>
              <a:ext cx="1865603" cy="829265"/>
            </a:xfrm>
            <a:prstGeom prst="rect">
              <a:avLst/>
            </a:prstGeom>
          </p:spPr>
        </p:pic>
        <p:sp>
          <p:nvSpPr>
            <p:cNvPr id="36" name="Rectangle 35"/>
            <p:cNvSpPr/>
            <p:nvPr/>
          </p:nvSpPr>
          <p:spPr>
            <a:xfrm>
              <a:off x="6307518" y="2998637"/>
              <a:ext cx="1625303" cy="523220"/>
            </a:xfrm>
            <a:prstGeom prst="rect">
              <a:avLst/>
            </a:prstGeom>
            <a:noFill/>
            <a:ln w="28575" cmpd="sng">
              <a:noFill/>
            </a:ln>
          </p:spPr>
          <p:txBody>
            <a:bodyPr wrap="square" lIns="91440" tIns="45720" rIns="91440" bIns="45720">
              <a:spAutoFit/>
            </a:bodyPr>
            <a:lstStyle/>
            <a:p>
              <a:pPr algn="ctr"/>
              <a:r>
                <a:rPr lang="en-US" sz="1400" dirty="0">
                  <a:ln w="18415" cmpd="sng">
                    <a:noFill/>
                    <a:prstDash val="solid"/>
                  </a:ln>
                  <a:solidFill>
                    <a:srgbClr val="FFFFFF"/>
                  </a:solidFill>
                  <a:effectLst/>
                </a:rPr>
                <a:t>NEW</a:t>
              </a:r>
            </a:p>
            <a:p>
              <a:pPr algn="ctr"/>
              <a:r>
                <a:rPr lang="en-US" sz="1400" dirty="0">
                  <a:ln w="18415" cmpd="sng">
                    <a:noFill/>
                    <a:prstDash val="solid"/>
                  </a:ln>
                  <a:solidFill>
                    <a:srgbClr val="FFFFFF"/>
                  </a:solidFill>
                  <a:effectLst/>
                </a:rPr>
                <a:t>PLATFORMS</a:t>
              </a:r>
            </a:p>
          </p:txBody>
        </p:sp>
      </p:grpSp>
      <p:sp>
        <p:nvSpPr>
          <p:cNvPr id="39" name="Rectangle 38"/>
          <p:cNvSpPr/>
          <p:nvPr/>
        </p:nvSpPr>
        <p:spPr>
          <a:xfrm>
            <a:off x="1221742" y="1846066"/>
            <a:ext cx="2125342" cy="1449584"/>
          </a:xfrm>
          <a:prstGeom prst="rect">
            <a:avLst/>
          </a:prstGeom>
          <a:gradFill flip="none" rotWithShape="1">
            <a:gsLst>
              <a:gs pos="50000">
                <a:schemeClr val="tx2">
                  <a:alpha val="70000"/>
                </a:schemeClr>
              </a:gs>
              <a:gs pos="100000">
                <a:srgbClr val="FFFFFF">
                  <a:alpha val="0"/>
                </a:srgb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Verdana"/>
            </a:endParaRPr>
          </a:p>
        </p:txBody>
      </p:sp>
      <p:grpSp>
        <p:nvGrpSpPr>
          <p:cNvPr id="40" name="Group 39"/>
          <p:cNvGrpSpPr/>
          <p:nvPr/>
        </p:nvGrpSpPr>
        <p:grpSpPr>
          <a:xfrm>
            <a:off x="1439725" y="1031352"/>
            <a:ext cx="871937" cy="931102"/>
            <a:chOff x="3048000" y="895350"/>
            <a:chExt cx="1361305" cy="1361305"/>
          </a:xfrm>
        </p:grpSpPr>
        <p:pic>
          <p:nvPicPr>
            <p:cNvPr id="57" name="Picture 56" descr="square rounded corners.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048000" y="895350"/>
              <a:ext cx="1361305" cy="1361305"/>
            </a:xfrm>
            <a:prstGeom prst="rect">
              <a:avLst/>
            </a:prstGeom>
          </p:spPr>
        </p:pic>
        <p:pic>
          <p:nvPicPr>
            <p:cNvPr id="58" name="Picture 57" descr="ibm_logo.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345300" y="1422643"/>
              <a:ext cx="766704" cy="306718"/>
            </a:xfrm>
            <a:prstGeom prst="rect">
              <a:avLst/>
            </a:prstGeom>
          </p:spPr>
        </p:pic>
      </p:grpSp>
      <p:grpSp>
        <p:nvGrpSpPr>
          <p:cNvPr id="41" name="Group 40"/>
          <p:cNvGrpSpPr/>
          <p:nvPr/>
        </p:nvGrpSpPr>
        <p:grpSpPr>
          <a:xfrm>
            <a:off x="2475150" y="1031352"/>
            <a:ext cx="871937" cy="931102"/>
            <a:chOff x="4495800" y="895350"/>
            <a:chExt cx="1361305" cy="1361305"/>
          </a:xfrm>
        </p:grpSpPr>
        <p:pic>
          <p:nvPicPr>
            <p:cNvPr id="52" name="Picture 51" descr="square rounded corners.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495800" y="895350"/>
              <a:ext cx="1361305" cy="1361305"/>
            </a:xfrm>
            <a:prstGeom prst="rect">
              <a:avLst/>
            </a:prstGeom>
          </p:spPr>
        </p:pic>
        <p:pic>
          <p:nvPicPr>
            <p:cNvPr id="56" name="Picture 55" descr="Microsoft - NEW.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603491" y="1450714"/>
              <a:ext cx="1145923" cy="250576"/>
            </a:xfrm>
            <a:prstGeom prst="rect">
              <a:avLst/>
            </a:prstGeom>
          </p:spPr>
        </p:pic>
      </p:grpSp>
      <p:grpSp>
        <p:nvGrpSpPr>
          <p:cNvPr id="42" name="Group 41"/>
          <p:cNvGrpSpPr/>
          <p:nvPr/>
        </p:nvGrpSpPr>
        <p:grpSpPr>
          <a:xfrm>
            <a:off x="1221742" y="1729679"/>
            <a:ext cx="871937" cy="931102"/>
            <a:chOff x="2895600" y="1581150"/>
            <a:chExt cx="1361305" cy="1361305"/>
          </a:xfrm>
        </p:grpSpPr>
        <p:pic>
          <p:nvPicPr>
            <p:cNvPr id="50" name="Picture 49" descr="square rounded corners.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895600" y="1581150"/>
              <a:ext cx="1361305" cy="1361305"/>
            </a:xfrm>
            <a:prstGeom prst="rect">
              <a:avLst/>
            </a:prstGeom>
          </p:spPr>
        </p:pic>
        <p:pic>
          <p:nvPicPr>
            <p:cNvPr id="51" name="Picture 50" descr="java_logoTransparent.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004752" y="1912117"/>
              <a:ext cx="1143000" cy="699370"/>
            </a:xfrm>
            <a:prstGeom prst="rect">
              <a:avLst/>
            </a:prstGeom>
          </p:spPr>
        </p:pic>
      </p:grpSp>
      <p:grpSp>
        <p:nvGrpSpPr>
          <p:cNvPr id="43" name="Group 42"/>
          <p:cNvGrpSpPr/>
          <p:nvPr/>
        </p:nvGrpSpPr>
        <p:grpSpPr>
          <a:xfrm>
            <a:off x="2257165" y="1729679"/>
            <a:ext cx="871937" cy="931102"/>
            <a:chOff x="4343400" y="1581150"/>
            <a:chExt cx="1361305" cy="1361305"/>
          </a:xfrm>
        </p:grpSpPr>
        <p:pic>
          <p:nvPicPr>
            <p:cNvPr id="48" name="Picture 47" descr="square rounded corners.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43400" y="1581150"/>
              <a:ext cx="1361305" cy="1361305"/>
            </a:xfrm>
            <a:prstGeom prst="rect">
              <a:avLst/>
            </a:prstGeom>
          </p:spPr>
        </p:pic>
        <p:pic>
          <p:nvPicPr>
            <p:cNvPr id="49" name="Picture 48" descr="Oracle.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449342" y="2190504"/>
              <a:ext cx="1149421" cy="142597"/>
            </a:xfrm>
            <a:prstGeom prst="rect">
              <a:avLst/>
            </a:prstGeom>
          </p:spPr>
        </p:pic>
      </p:grpSp>
      <p:grpSp>
        <p:nvGrpSpPr>
          <p:cNvPr id="5" name="Group 4"/>
          <p:cNvGrpSpPr/>
          <p:nvPr/>
        </p:nvGrpSpPr>
        <p:grpSpPr>
          <a:xfrm>
            <a:off x="1341727" y="2952750"/>
            <a:ext cx="1885373" cy="762000"/>
            <a:chOff x="1601076" y="2952750"/>
            <a:chExt cx="1689376" cy="682785"/>
          </a:xfrm>
        </p:grpSpPr>
        <p:pic>
          <p:nvPicPr>
            <p:cNvPr id="46" name="Picture 45" descr="platform blue.png"/>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601076" y="2959031"/>
              <a:ext cx="1689376" cy="676504"/>
            </a:xfrm>
            <a:prstGeom prst="rect">
              <a:avLst/>
            </a:prstGeom>
          </p:spPr>
        </p:pic>
        <p:sp>
          <p:nvSpPr>
            <p:cNvPr id="47" name="Rectangle 46"/>
            <p:cNvSpPr/>
            <p:nvPr/>
          </p:nvSpPr>
          <p:spPr>
            <a:xfrm>
              <a:off x="1774094" y="2952750"/>
              <a:ext cx="1343341" cy="523220"/>
            </a:xfrm>
            <a:prstGeom prst="rect">
              <a:avLst/>
            </a:prstGeom>
            <a:noFill/>
            <a:ln w="28575" cmpd="sng">
              <a:noFill/>
            </a:ln>
          </p:spPr>
          <p:txBody>
            <a:bodyPr wrap="square" lIns="91440" tIns="45720" rIns="91440" bIns="45720">
              <a:spAutoFit/>
            </a:bodyPr>
            <a:lstStyle/>
            <a:p>
              <a:pPr algn="ctr"/>
              <a:r>
                <a:rPr lang="en-US" sz="1400" dirty="0">
                  <a:ln w="18415" cmpd="sng">
                    <a:noFill/>
                    <a:prstDash val="solid"/>
                  </a:ln>
                  <a:solidFill>
                    <a:srgbClr val="FFFFFF"/>
                  </a:solidFill>
                  <a:effectLst/>
                </a:rPr>
                <a:t>EXISTING </a:t>
              </a:r>
            </a:p>
            <a:p>
              <a:pPr algn="ctr"/>
              <a:r>
                <a:rPr lang="en-US" sz="1400" dirty="0">
                  <a:ln w="18415" cmpd="sng">
                    <a:noFill/>
                    <a:prstDash val="solid"/>
                  </a:ln>
                  <a:solidFill>
                    <a:srgbClr val="FFFFFF"/>
                  </a:solidFill>
                  <a:effectLst/>
                </a:rPr>
                <a:t>PLATFORMS</a:t>
              </a:r>
            </a:p>
          </p:txBody>
        </p:sp>
      </p:grpSp>
      <p:sp>
        <p:nvSpPr>
          <p:cNvPr id="2" name="Rectangle 1"/>
          <p:cNvSpPr/>
          <p:nvPr/>
        </p:nvSpPr>
        <p:spPr>
          <a:xfrm>
            <a:off x="442019" y="3866290"/>
            <a:ext cx="3684788" cy="584776"/>
          </a:xfrm>
          <a:prstGeom prst="rect">
            <a:avLst/>
          </a:prstGeom>
        </p:spPr>
        <p:txBody>
          <a:bodyPr wrap="square">
            <a:spAutoFit/>
          </a:bodyPr>
          <a:lstStyle/>
          <a:p>
            <a:pPr algn="ctr"/>
            <a:r>
              <a:rPr lang="en-US" sz="1600" dirty="0" smtClean="0">
                <a:solidFill>
                  <a:schemeClr val="bg2"/>
                </a:solidFill>
              </a:rPr>
              <a:t>Stable &amp; Reliable Performance To Drive Daily Business Functions</a:t>
            </a:r>
            <a:endParaRPr lang="en-US" sz="1600" dirty="0">
              <a:solidFill>
                <a:schemeClr val="bg2"/>
              </a:solidFill>
            </a:endParaRPr>
          </a:p>
        </p:txBody>
      </p:sp>
      <p:sp>
        <p:nvSpPr>
          <p:cNvPr id="3" name="Rectangle 2"/>
          <p:cNvSpPr/>
          <p:nvPr/>
        </p:nvSpPr>
        <p:spPr>
          <a:xfrm>
            <a:off x="5141913" y="3866290"/>
            <a:ext cx="3429000" cy="584776"/>
          </a:xfrm>
          <a:prstGeom prst="rect">
            <a:avLst/>
          </a:prstGeom>
        </p:spPr>
        <p:txBody>
          <a:bodyPr wrap="square">
            <a:spAutoFit/>
          </a:bodyPr>
          <a:lstStyle/>
          <a:p>
            <a:pPr algn="ctr"/>
            <a:r>
              <a:rPr lang="en-US" sz="1600" dirty="0" smtClean="0">
                <a:solidFill>
                  <a:schemeClr val="bg2"/>
                </a:solidFill>
              </a:rPr>
              <a:t>Flexibility &amp; Agility To Drive New Digital Business Outcomes</a:t>
            </a:r>
            <a:endParaRPr lang="en-US" sz="1600" dirty="0">
              <a:solidFill>
                <a:schemeClr val="bg2"/>
              </a:solidFill>
            </a:endParaRPr>
          </a:p>
        </p:txBody>
      </p:sp>
      <p:pic>
        <p:nvPicPr>
          <p:cNvPr id="45" name="Picture 44" descr="Thinking Man 9799835_l.jpg"/>
          <p:cNvPicPr>
            <a:picLocks noChangeAspect="1"/>
          </p:cNvPicPr>
          <p:nvPr/>
        </p:nvPicPr>
        <p:blipFill rotWithShape="1">
          <a:blip r:embed="rId12" cstate="print">
            <a:extLst>
              <a:ext uri="{BEBA8EAE-BF5A-486C-A8C5-ECC9F3942E4B}">
                <a14:imgProps xmlns:a14="http://schemas.microsoft.com/office/drawing/2010/main">
                  <a14:imgLayer r:embed="rId13">
                    <a14:imgEffect>
                      <a14:backgroundRemoval t="3029" b="100000" l="9938" r="89893">
                        <a14:foregroundMark x1="40994" y1="14974" x2="40994" y2="14974"/>
                        <a14:foregroundMark x1="40486" y1="14334" x2="40486" y2="14334"/>
                        <a14:foregroundMark x1="41050" y1="15828" x2="41050" y2="15828"/>
                        <a14:backgroundMark x1="47995" y1="61348" x2="47995" y2="61348"/>
                        <a14:backgroundMark x1="60813" y1="99701" x2="60813" y2="99701"/>
                      </a14:backgroundRemoval>
                    </a14:imgEffect>
                  </a14:imgLayer>
                </a14:imgProps>
              </a:ext>
              <a:ext uri="{28A0092B-C50C-407E-A947-70E740481C1C}">
                <a14:useLocalDpi xmlns:a14="http://schemas.microsoft.com/office/drawing/2010/main"/>
              </a:ext>
            </a:extLst>
          </a:blip>
          <a:srcRect t="-1"/>
          <a:stretch/>
        </p:blipFill>
        <p:spPr>
          <a:xfrm>
            <a:off x="4114800" y="1073150"/>
            <a:ext cx="1025622" cy="1357434"/>
          </a:xfrm>
          <a:prstGeom prst="rect">
            <a:avLst/>
          </a:prstGeom>
        </p:spPr>
      </p:pic>
    </p:spTree>
    <p:extLst>
      <p:ext uri="{BB962C8B-B14F-4D97-AF65-F5344CB8AC3E}">
        <p14:creationId xmlns:p14="http://schemas.microsoft.com/office/powerpoint/2010/main" val="24400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bwMode="gray">
          <a:xfrm>
            <a:off x="366716" y="2283718"/>
            <a:ext cx="2765581" cy="2165455"/>
          </a:xfrm>
          <a:prstGeom prst="roundRect">
            <a:avLst>
              <a:gd name="adj" fmla="val 1181"/>
            </a:avLst>
          </a:prstGeom>
          <a:gradFill flip="none" rotWithShape="1">
            <a:gsLst>
              <a:gs pos="0">
                <a:schemeClr val="accent1">
                  <a:lumMod val="20000"/>
                  <a:lumOff val="80000"/>
                </a:schemeClr>
              </a:gs>
              <a:gs pos="100000">
                <a:schemeClr val="bg1"/>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57200" bIns="0" rtlCol="0" anchor="t" anchorCtr="0"/>
          <a:lstStyle/>
          <a:p>
            <a:pPr algn="ctr">
              <a:spcBef>
                <a:spcPts val="600"/>
              </a:spcBef>
            </a:pPr>
            <a:r>
              <a:rPr lang="en-US" sz="1600" dirty="0" smtClean="0">
                <a:solidFill>
                  <a:schemeClr val="tx1"/>
                </a:solidFill>
              </a:rPr>
              <a:t>NEW IT BUSINESS MODEL</a:t>
            </a:r>
          </a:p>
          <a:p>
            <a:pPr algn="ctr">
              <a:spcBef>
                <a:spcPts val="600"/>
              </a:spcBef>
            </a:pPr>
            <a:r>
              <a:rPr lang="en-US" sz="1400" dirty="0" smtClean="0">
                <a:solidFill>
                  <a:schemeClr val="bg2"/>
                </a:solidFill>
              </a:rPr>
              <a:t>Service Oriented</a:t>
            </a:r>
          </a:p>
          <a:p>
            <a:pPr algn="ctr">
              <a:spcBef>
                <a:spcPts val="600"/>
              </a:spcBef>
            </a:pPr>
            <a:r>
              <a:rPr lang="en-US" sz="1400" dirty="0" smtClean="0">
                <a:solidFill>
                  <a:schemeClr val="bg2"/>
                </a:solidFill>
              </a:rPr>
              <a:t>Market Driven</a:t>
            </a:r>
          </a:p>
          <a:p>
            <a:pPr algn="ctr">
              <a:spcBef>
                <a:spcPts val="600"/>
              </a:spcBef>
            </a:pPr>
            <a:r>
              <a:rPr lang="en-US" sz="1400" dirty="0" smtClean="0">
                <a:solidFill>
                  <a:schemeClr val="bg2"/>
                </a:solidFill>
              </a:rPr>
              <a:t>“P &amp; L” Focused</a:t>
            </a:r>
          </a:p>
          <a:p>
            <a:pPr algn="ctr">
              <a:spcBef>
                <a:spcPts val="600"/>
              </a:spcBef>
            </a:pPr>
            <a:r>
              <a:rPr lang="en-US" sz="1400" dirty="0" smtClean="0">
                <a:solidFill>
                  <a:schemeClr val="bg2"/>
                </a:solidFill>
              </a:rPr>
              <a:t>Broker &amp; Builder</a:t>
            </a:r>
          </a:p>
        </p:txBody>
      </p:sp>
      <p:sp>
        <p:nvSpPr>
          <p:cNvPr id="20" name="Rounded Rectangle 19"/>
          <p:cNvSpPr/>
          <p:nvPr/>
        </p:nvSpPr>
        <p:spPr bwMode="gray">
          <a:xfrm>
            <a:off x="3189215" y="2283718"/>
            <a:ext cx="2765581" cy="2165455"/>
          </a:xfrm>
          <a:prstGeom prst="roundRect">
            <a:avLst>
              <a:gd name="adj" fmla="val 1181"/>
            </a:avLst>
          </a:prstGeom>
          <a:gradFill flip="none" rotWithShape="1">
            <a:gsLst>
              <a:gs pos="0">
                <a:schemeClr val="accent1">
                  <a:lumMod val="20000"/>
                  <a:lumOff val="80000"/>
                </a:schemeClr>
              </a:gs>
              <a:gs pos="100000">
                <a:schemeClr val="bg1"/>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457200" rIns="0" bIns="0" rtlCol="0" anchor="t" anchorCtr="0"/>
          <a:lstStyle/>
          <a:p>
            <a:pPr algn="ctr">
              <a:spcBef>
                <a:spcPts val="600"/>
              </a:spcBef>
            </a:pPr>
            <a:r>
              <a:rPr lang="en-US" sz="1600" dirty="0" smtClean="0">
                <a:solidFill>
                  <a:schemeClr val="tx1"/>
                </a:solidFill>
              </a:rPr>
              <a:t>NEW TECHNOLOGY</a:t>
            </a:r>
            <a:br>
              <a:rPr lang="en-US" sz="1600" dirty="0" smtClean="0">
                <a:solidFill>
                  <a:schemeClr val="tx1"/>
                </a:solidFill>
              </a:rPr>
            </a:br>
            <a:r>
              <a:rPr lang="en-US" sz="1600" dirty="0" smtClean="0">
                <a:solidFill>
                  <a:schemeClr val="tx1"/>
                </a:solidFill>
              </a:rPr>
              <a:t>ARCHITECTURE</a:t>
            </a:r>
          </a:p>
          <a:p>
            <a:pPr algn="ctr">
              <a:spcBef>
                <a:spcPts val="600"/>
              </a:spcBef>
            </a:pPr>
            <a:r>
              <a:rPr lang="en-US" sz="1400" dirty="0" smtClean="0">
                <a:solidFill>
                  <a:schemeClr val="bg2"/>
                </a:solidFill>
              </a:rPr>
              <a:t>Private, Hybrid, Public Clouds</a:t>
            </a:r>
          </a:p>
          <a:p>
            <a:pPr algn="ctr">
              <a:spcBef>
                <a:spcPts val="600"/>
              </a:spcBef>
            </a:pPr>
            <a:r>
              <a:rPr lang="en-US" sz="1400" dirty="0" smtClean="0">
                <a:solidFill>
                  <a:schemeClr val="bg2"/>
                </a:solidFill>
              </a:rPr>
              <a:t>End-To-End Automation</a:t>
            </a:r>
          </a:p>
          <a:p>
            <a:pPr algn="ctr">
              <a:spcBef>
                <a:spcPts val="600"/>
              </a:spcBef>
            </a:pPr>
            <a:r>
              <a:rPr lang="en-US" sz="1400" dirty="0" smtClean="0">
                <a:solidFill>
                  <a:schemeClr val="bg2"/>
                </a:solidFill>
              </a:rPr>
              <a:t>Financial Transparency</a:t>
            </a:r>
          </a:p>
          <a:p>
            <a:pPr algn="ctr">
              <a:spcBef>
                <a:spcPts val="600"/>
              </a:spcBef>
            </a:pPr>
            <a:r>
              <a:rPr lang="en-US" sz="1400" dirty="0" smtClean="0">
                <a:solidFill>
                  <a:schemeClr val="bg2"/>
                </a:solidFill>
              </a:rPr>
              <a:t>Self-Service Capabilities</a:t>
            </a:r>
          </a:p>
        </p:txBody>
      </p:sp>
      <p:sp>
        <p:nvSpPr>
          <p:cNvPr id="17" name="Rounded Rectangle 16"/>
          <p:cNvSpPr/>
          <p:nvPr/>
        </p:nvSpPr>
        <p:spPr bwMode="gray">
          <a:xfrm>
            <a:off x="6011713" y="2283718"/>
            <a:ext cx="2765581" cy="2165455"/>
          </a:xfrm>
          <a:prstGeom prst="roundRect">
            <a:avLst>
              <a:gd name="adj" fmla="val 1181"/>
            </a:avLst>
          </a:prstGeom>
          <a:gradFill flip="none" rotWithShape="1">
            <a:gsLst>
              <a:gs pos="0">
                <a:schemeClr val="accent1">
                  <a:lumMod val="20000"/>
                  <a:lumOff val="80000"/>
                </a:schemeClr>
              </a:gs>
              <a:gs pos="100000">
                <a:schemeClr val="bg1"/>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57200" bIns="0" rtlCol="0" anchor="t" anchorCtr="0"/>
          <a:lstStyle/>
          <a:p>
            <a:pPr algn="ctr">
              <a:spcBef>
                <a:spcPts val="600"/>
              </a:spcBef>
            </a:pPr>
            <a:r>
              <a:rPr lang="en-US" sz="1600" dirty="0" smtClean="0">
                <a:solidFill>
                  <a:srgbClr val="000000"/>
                </a:solidFill>
              </a:rPr>
              <a:t>DNA, SKILLS, ROLES &amp; ORGANIZATIONAL ALIGNMENT</a:t>
            </a:r>
          </a:p>
          <a:p>
            <a:pPr algn="ctr">
              <a:spcBef>
                <a:spcPts val="600"/>
              </a:spcBef>
            </a:pPr>
            <a:r>
              <a:rPr lang="en-US" sz="1400" dirty="0" smtClean="0">
                <a:solidFill>
                  <a:schemeClr val="bg2"/>
                </a:solidFill>
              </a:rPr>
              <a:t>“Front Office” Capabilities</a:t>
            </a:r>
          </a:p>
          <a:p>
            <a:pPr algn="ctr">
              <a:spcBef>
                <a:spcPts val="600"/>
              </a:spcBef>
            </a:pPr>
            <a:r>
              <a:rPr lang="en-US" sz="1400" dirty="0" smtClean="0">
                <a:solidFill>
                  <a:schemeClr val="bg2"/>
                </a:solidFill>
              </a:rPr>
              <a:t>Service Accountabilities</a:t>
            </a:r>
          </a:p>
          <a:p>
            <a:pPr algn="ctr">
              <a:spcBef>
                <a:spcPts val="600"/>
              </a:spcBef>
            </a:pPr>
            <a:r>
              <a:rPr lang="en-US" sz="1400" dirty="0" smtClean="0">
                <a:solidFill>
                  <a:schemeClr val="bg2"/>
                </a:solidFill>
              </a:rPr>
              <a:t>Technology Breadth</a:t>
            </a:r>
          </a:p>
        </p:txBody>
      </p:sp>
      <p:sp>
        <p:nvSpPr>
          <p:cNvPr id="4" name="Title 3"/>
          <p:cNvSpPr>
            <a:spLocks noGrp="1"/>
          </p:cNvSpPr>
          <p:nvPr>
            <p:ph type="title"/>
          </p:nvPr>
        </p:nvSpPr>
        <p:spPr/>
        <p:txBody>
          <a:bodyPr/>
          <a:lstStyle/>
          <a:p>
            <a:r>
              <a:rPr lang="en-US" sz="2400" dirty="0" smtClean="0"/>
              <a:t>TRANSFORMING INTO A SERVICE BROKER</a:t>
            </a:r>
            <a:endParaRPr lang="en-US" sz="2400" dirty="0"/>
          </a:p>
        </p:txBody>
      </p:sp>
      <p:pic>
        <p:nvPicPr>
          <p:cNvPr id="16"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149" t="-83" r="-313"/>
          <a:stretch/>
        </p:blipFill>
        <p:spPr bwMode="gray">
          <a:xfrm>
            <a:off x="737438" y="927099"/>
            <a:ext cx="2024136" cy="1435101"/>
          </a:xfrm>
          <a:prstGeom prst="rect">
            <a:avLst/>
          </a:prstGeom>
          <a:solidFill>
            <a:schemeClr val="bg1"/>
          </a:solidFill>
          <a:ln>
            <a:noFill/>
          </a:ln>
          <a:effectLst/>
        </p:spPr>
      </p:pic>
      <p:pic>
        <p:nvPicPr>
          <p:cNvPr id="7" name="Picture 6" descr="silhouette ww network s_60928246.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140806" y="666750"/>
            <a:ext cx="2507394" cy="1974850"/>
          </a:xfrm>
          <a:prstGeom prst="rect">
            <a:avLst/>
          </a:prstGeom>
        </p:spPr>
      </p:pic>
      <p:grpSp>
        <p:nvGrpSpPr>
          <p:cNvPr id="14" name="Group 13"/>
          <p:cNvGrpSpPr/>
          <p:nvPr/>
        </p:nvGrpSpPr>
        <p:grpSpPr>
          <a:xfrm>
            <a:off x="3270250" y="850900"/>
            <a:ext cx="2629195" cy="1600200"/>
            <a:chOff x="3429000" y="-628650"/>
            <a:chExt cx="2629195" cy="1600200"/>
          </a:xfrm>
        </p:grpSpPr>
        <p:pic>
          <p:nvPicPr>
            <p:cNvPr id="13" name="Picture 12" descr="Cloud-VMware lg 300dpi.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581400" y="-628650"/>
              <a:ext cx="2035544" cy="1312926"/>
            </a:xfrm>
            <a:prstGeom prst="rect">
              <a:avLst/>
            </a:prstGeom>
          </p:spPr>
        </p:pic>
        <p:pic>
          <p:nvPicPr>
            <p:cNvPr id="31" name="Picture 30" descr="Cloud-VMware lg 300dpi.png"/>
            <p:cNvPicPr>
              <a:picLocks noChangeAspect="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3429000" y="209550"/>
              <a:ext cx="1181395" cy="762000"/>
            </a:xfrm>
            <a:prstGeom prst="rect">
              <a:avLst/>
            </a:prstGeom>
          </p:spPr>
        </p:pic>
        <p:pic>
          <p:nvPicPr>
            <p:cNvPr id="32" name="Picture 31" descr="Cloud-VMware lg 300dpi.png"/>
            <p:cNvPicPr>
              <a:picLocks noChangeAspect="1"/>
            </p:cNvPicPr>
            <p:nvPr/>
          </p:nvPicPr>
          <p:blipFill>
            <a:blip r:embed="rId8" cstate="print">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876800" y="209550"/>
              <a:ext cx="1181395" cy="762000"/>
            </a:xfrm>
            <a:prstGeom prst="rect">
              <a:avLst/>
            </a:prstGeom>
          </p:spPr>
        </p:pic>
        <p:sp>
          <p:nvSpPr>
            <p:cNvPr id="24" name="Rectangle 23"/>
            <p:cNvSpPr/>
            <p:nvPr/>
          </p:nvSpPr>
          <p:spPr bwMode="gray">
            <a:xfrm>
              <a:off x="3625850" y="514350"/>
              <a:ext cx="838240" cy="276999"/>
            </a:xfrm>
            <a:prstGeom prst="rect">
              <a:avLst/>
            </a:prstGeom>
          </p:spPr>
          <p:txBody>
            <a:bodyPr wrap="none">
              <a:spAutoFit/>
            </a:bodyPr>
            <a:lstStyle/>
            <a:p>
              <a:pPr algn="ctr"/>
              <a:r>
                <a:rPr lang="en-US" sz="1200" dirty="0" smtClean="0">
                  <a:solidFill>
                    <a:srgbClr val="5F5F5F"/>
                  </a:solidFill>
                  <a:effectLst>
                    <a:glow rad="101600">
                      <a:srgbClr val="FFFFFF">
                        <a:alpha val="60000"/>
                      </a:srgbClr>
                    </a:glow>
                  </a:effectLst>
                </a:rPr>
                <a:t>PRIVATE</a:t>
              </a:r>
              <a:endParaRPr lang="en-US" sz="1200" dirty="0">
                <a:solidFill>
                  <a:srgbClr val="000000"/>
                </a:solidFill>
              </a:endParaRPr>
            </a:p>
          </p:txBody>
        </p:sp>
        <p:sp>
          <p:nvSpPr>
            <p:cNvPr id="25" name="Rectangle 24"/>
            <p:cNvSpPr/>
            <p:nvPr/>
          </p:nvSpPr>
          <p:spPr bwMode="gray">
            <a:xfrm>
              <a:off x="5140788" y="514350"/>
              <a:ext cx="753481" cy="276999"/>
            </a:xfrm>
            <a:prstGeom prst="rect">
              <a:avLst/>
            </a:prstGeom>
          </p:spPr>
          <p:txBody>
            <a:bodyPr wrap="none">
              <a:spAutoFit/>
            </a:bodyPr>
            <a:lstStyle/>
            <a:p>
              <a:pPr algn="ctr"/>
              <a:r>
                <a:rPr lang="en-US" sz="1200" dirty="0" smtClean="0">
                  <a:solidFill>
                    <a:srgbClr val="5F5F5F"/>
                  </a:solidFill>
                  <a:effectLst>
                    <a:glow rad="101600">
                      <a:srgbClr val="FFFFFF">
                        <a:alpha val="60000"/>
                      </a:srgbClr>
                    </a:glow>
                  </a:effectLst>
                </a:rPr>
                <a:t>PUBLIC</a:t>
              </a:r>
              <a:endParaRPr lang="en-US" sz="1200" dirty="0">
                <a:solidFill>
                  <a:srgbClr val="000000"/>
                </a:solidFill>
              </a:endParaRPr>
            </a:p>
          </p:txBody>
        </p:sp>
        <p:sp>
          <p:nvSpPr>
            <p:cNvPr id="26" name="Rectangle 25"/>
            <p:cNvSpPr/>
            <p:nvPr/>
          </p:nvSpPr>
          <p:spPr bwMode="gray">
            <a:xfrm>
              <a:off x="4114800" y="-95250"/>
              <a:ext cx="992881" cy="338554"/>
            </a:xfrm>
            <a:prstGeom prst="rect">
              <a:avLst/>
            </a:prstGeom>
          </p:spPr>
          <p:txBody>
            <a:bodyPr wrap="none">
              <a:spAutoFit/>
            </a:bodyPr>
            <a:lstStyle/>
            <a:p>
              <a:pPr algn="ctr"/>
              <a:r>
                <a:rPr lang="en-US" sz="1600" dirty="0" smtClean="0">
                  <a:solidFill>
                    <a:srgbClr val="5F5F5F"/>
                  </a:solidFill>
                  <a:effectLst>
                    <a:glow rad="101600">
                      <a:srgbClr val="FFFFFF">
                        <a:alpha val="60000"/>
                      </a:srgbClr>
                    </a:glow>
                  </a:effectLst>
                </a:rPr>
                <a:t>HYBRID</a:t>
              </a:r>
              <a:endParaRPr lang="en-US" sz="1600" dirty="0">
                <a:solidFill>
                  <a:srgbClr val="000000"/>
                </a:solidFill>
              </a:endParaRPr>
            </a:p>
          </p:txBody>
        </p:sp>
      </p:grpSp>
    </p:spTree>
    <p:extLst>
      <p:ext uri="{BB962C8B-B14F-4D97-AF65-F5344CB8AC3E}">
        <p14:creationId xmlns:p14="http://schemas.microsoft.com/office/powerpoint/2010/main" val="500369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2802" name="Rectangle 2" hidden="1"/>
          <p:cNvGraphicFramePr>
            <a:graphicFrameLocks/>
          </p:cNvGraphicFramePr>
          <p:nvPr>
            <p:custDataLst>
              <p:tags r:id="rId2"/>
            </p:custDataLst>
          </p:nvPr>
        </p:nvGraphicFramePr>
        <p:xfrm>
          <a:off x="1143004" y="6"/>
          <a:ext cx="121444" cy="121444"/>
        </p:xfrm>
        <a:graphic>
          <a:graphicData uri="http://schemas.openxmlformats.org/presentationml/2006/ole">
            <mc:AlternateContent xmlns:mc="http://schemas.openxmlformats.org/markup-compatibility/2006">
              <mc:Choice xmlns:v="urn:schemas-microsoft-com:vml" Requires="v">
                <p:oleObj spid="_x0000_s3074" name="think-cell Slide" r:id="rId8" imgW="0" imgH="0" progId="">
                  <p:embed/>
                </p:oleObj>
              </mc:Choice>
              <mc:Fallback>
                <p:oleObj name="think-cell Slide" r:id="rId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4" y="6"/>
                        <a:ext cx="121444"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2852" name="Rectangle 3" hidden="1"/>
          <p:cNvSpPr>
            <a:spLocks noChangeArrowheads="1"/>
          </p:cNvSpPr>
          <p:nvPr>
            <p:custDataLst>
              <p:tags r:id="rId3"/>
            </p:custDataLst>
          </p:nvPr>
        </p:nvSpPr>
        <p:spPr bwMode="gray">
          <a:xfrm>
            <a:off x="1143004" y="6"/>
            <a:ext cx="121444" cy="121444"/>
          </a:xfrm>
          <a:prstGeom prst="rect">
            <a:avLst/>
          </a:prstGeom>
          <a:noFill/>
          <a:ln w="9525" algn="ctr">
            <a:noFill/>
            <a:miter lim="800000"/>
            <a:headEnd/>
            <a:tailEnd/>
          </a:ln>
        </p:spPr>
        <p:txBody>
          <a:bodyPr wrap="none" lIns="0" tIns="0" rIns="0" bIns="0" anchor="ctr"/>
          <a:lstStyle/>
          <a:p>
            <a:pPr algn="ctr" defTabSz="645319" eaLnBrk="0" hangingPunct="0">
              <a:lnSpc>
                <a:spcPct val="90000"/>
              </a:lnSpc>
              <a:buClr>
                <a:srgbClr val="3892D0"/>
              </a:buClr>
            </a:pPr>
            <a:r>
              <a:rPr lang="en-US" sz="1200">
                <a:solidFill>
                  <a:srgbClr val="FFFFFF"/>
                </a:solidFill>
              </a:rPr>
              <a:t> </a:t>
            </a:r>
          </a:p>
        </p:txBody>
      </p:sp>
      <p:sp>
        <p:nvSpPr>
          <p:cNvPr id="332905" name="Rectangle 60"/>
          <p:cNvSpPr>
            <a:spLocks noChangeArrowheads="1"/>
          </p:cNvSpPr>
          <p:nvPr>
            <p:custDataLst>
              <p:tags r:id="rId4"/>
            </p:custDataLst>
          </p:nvPr>
        </p:nvSpPr>
        <p:spPr bwMode="gray">
          <a:xfrm>
            <a:off x="670484" y="1123957"/>
            <a:ext cx="3227858" cy="384721"/>
          </a:xfrm>
          <a:prstGeom prst="rect">
            <a:avLst/>
          </a:prstGeom>
          <a:noFill/>
          <a:ln w="9525" algn="ctr">
            <a:noFill/>
            <a:miter lim="800000"/>
            <a:headEnd/>
            <a:tailEnd/>
          </a:ln>
        </p:spPr>
        <p:txBody>
          <a:bodyPr wrap="square" lIns="0" tIns="0" rIns="0" bIns="0">
            <a:spAutoFit/>
          </a:bodyPr>
          <a:lstStyle/>
          <a:p>
            <a:pPr marL="0" lvl="1" algn="ctr" defTabSz="914400" eaLnBrk="0" hangingPunct="0">
              <a:buClr>
                <a:srgbClr val="2C95DD"/>
              </a:buClr>
            </a:pPr>
            <a:r>
              <a:rPr lang="en-US" sz="1600" dirty="0" smtClean="0">
                <a:solidFill>
                  <a:srgbClr val="000000"/>
                </a:solidFill>
              </a:rPr>
              <a:t>IT COST COMPARISON</a:t>
            </a:r>
          </a:p>
          <a:p>
            <a:pPr marL="0" lvl="1" algn="ctr" defTabSz="914400" eaLnBrk="0" hangingPunct="0">
              <a:buClr>
                <a:srgbClr val="2C95DD"/>
              </a:buClr>
            </a:pPr>
            <a:r>
              <a:rPr lang="en-US" sz="900" dirty="0" smtClean="0">
                <a:solidFill>
                  <a:schemeClr val="bg2"/>
                </a:solidFill>
              </a:rPr>
              <a:t>(% OF TOTAL IT OPEX BUDGET)</a:t>
            </a:r>
            <a:endParaRPr lang="en-US" sz="900" dirty="0">
              <a:solidFill>
                <a:schemeClr val="bg2"/>
              </a:solidFill>
            </a:endParaRPr>
          </a:p>
        </p:txBody>
      </p:sp>
      <p:graphicFrame>
        <p:nvGraphicFramePr>
          <p:cNvPr id="14" name="Chart 13"/>
          <p:cNvGraphicFramePr/>
          <p:nvPr>
            <p:extLst/>
          </p:nvPr>
        </p:nvGraphicFramePr>
        <p:xfrm>
          <a:off x="4889514" y="1420115"/>
          <a:ext cx="3963465" cy="2885187"/>
        </p:xfrm>
        <a:graphic>
          <a:graphicData uri="http://schemas.openxmlformats.org/drawingml/2006/chart">
            <c:chart xmlns:c="http://schemas.openxmlformats.org/drawingml/2006/chart" xmlns:r="http://schemas.openxmlformats.org/officeDocument/2006/relationships" r:id="rId9"/>
          </a:graphicData>
        </a:graphic>
      </p:graphicFrame>
      <p:sp>
        <p:nvSpPr>
          <p:cNvPr id="15" name="Circular Arrow 14"/>
          <p:cNvSpPr>
            <a:spLocks/>
          </p:cNvSpPr>
          <p:nvPr/>
        </p:nvSpPr>
        <p:spPr>
          <a:xfrm rot="3060000">
            <a:off x="5300272" y="1404990"/>
            <a:ext cx="2400325" cy="2651760"/>
          </a:xfrm>
          <a:prstGeom prst="circularArrow">
            <a:avLst>
              <a:gd name="adj1" fmla="val 14220"/>
              <a:gd name="adj2" fmla="val 921656"/>
              <a:gd name="adj3" fmla="val 20684016"/>
              <a:gd name="adj4" fmla="val 16572619"/>
              <a:gd name="adj5" fmla="val 14867"/>
            </a:avLst>
          </a:prstGeom>
          <a:gradFill flip="none" rotWithShape="1">
            <a:gsLst>
              <a:gs pos="0">
                <a:schemeClr val="bg1"/>
              </a:gs>
              <a:gs pos="100000">
                <a:schemeClr val="bg1">
                  <a:alpha val="0"/>
                </a:schemeClr>
              </a:gs>
            </a:gsLst>
            <a:lin ang="10800000" scaled="0"/>
            <a:tileRect/>
          </a:gradFill>
          <a:ln>
            <a:noFill/>
          </a:ln>
          <a:effectLst>
            <a:outerShdw blurRad="50800" dist="38100" dir="8100000" algn="tr" rotWithShape="0">
              <a:prstClr val="black">
                <a:alpha val="40000"/>
              </a:prstClr>
            </a:outerShdw>
          </a:effectLst>
        </p:spPr>
        <p:style>
          <a:lnRef idx="1">
            <a:schemeClr val="dk1"/>
          </a:lnRef>
          <a:fillRef idx="3">
            <a:schemeClr val="dk1"/>
          </a:fillRef>
          <a:effectRef idx="2">
            <a:schemeClr val="dk1"/>
          </a:effectRef>
          <a:fontRef idx="minor">
            <a:schemeClr val="lt1"/>
          </a:fontRef>
        </p:style>
        <p:txBody>
          <a:bodyPr rtlCol="0" anchor="ctr"/>
          <a:lstStyle/>
          <a:p>
            <a:pPr algn="ctr" defTabSz="914400"/>
            <a:endParaRPr lang="en-US">
              <a:solidFill>
                <a:srgbClr val="000000"/>
              </a:solidFill>
            </a:endParaRPr>
          </a:p>
        </p:txBody>
      </p:sp>
      <p:sp>
        <p:nvSpPr>
          <p:cNvPr id="16" name="Rectangle 60"/>
          <p:cNvSpPr>
            <a:spLocks noChangeArrowheads="1"/>
          </p:cNvSpPr>
          <p:nvPr>
            <p:custDataLst>
              <p:tags r:id="rId5"/>
            </p:custDataLst>
          </p:nvPr>
        </p:nvSpPr>
        <p:spPr bwMode="gray">
          <a:xfrm>
            <a:off x="5342357" y="1109663"/>
            <a:ext cx="3028112" cy="384721"/>
          </a:xfrm>
          <a:prstGeom prst="rect">
            <a:avLst/>
          </a:prstGeom>
          <a:noFill/>
          <a:ln w="9525" algn="ctr">
            <a:noFill/>
            <a:miter lim="800000"/>
            <a:headEnd/>
            <a:tailEnd/>
          </a:ln>
        </p:spPr>
        <p:txBody>
          <a:bodyPr wrap="square" lIns="0" tIns="0" rIns="0" bIns="0">
            <a:spAutoFit/>
          </a:bodyPr>
          <a:lstStyle/>
          <a:p>
            <a:pPr marL="0" lvl="1" algn="ctr" defTabSz="914400" eaLnBrk="0" hangingPunct="0">
              <a:buClr>
                <a:srgbClr val="2C95DD"/>
              </a:buClr>
            </a:pPr>
            <a:r>
              <a:rPr lang="en-US" sz="1600" dirty="0" smtClean="0">
                <a:solidFill>
                  <a:srgbClr val="000000"/>
                </a:solidFill>
              </a:rPr>
              <a:t>INNOVATION SPENDING</a:t>
            </a:r>
          </a:p>
          <a:p>
            <a:pPr marL="0" lvl="1" algn="ctr" defTabSz="914400" eaLnBrk="0" hangingPunct="0">
              <a:buClr>
                <a:srgbClr val="2C95DD"/>
              </a:buClr>
            </a:pPr>
            <a:r>
              <a:rPr lang="en-US" sz="900" dirty="0" smtClean="0">
                <a:solidFill>
                  <a:srgbClr val="717074"/>
                </a:solidFill>
              </a:rPr>
              <a:t>(% OF IT BUDGET)</a:t>
            </a:r>
            <a:endParaRPr lang="en-US" sz="900" dirty="0">
              <a:solidFill>
                <a:srgbClr val="717074"/>
              </a:solidFill>
            </a:endParaRPr>
          </a:p>
        </p:txBody>
      </p:sp>
      <p:sp>
        <p:nvSpPr>
          <p:cNvPr id="17" name="TextBox 16"/>
          <p:cNvSpPr txBox="1"/>
          <p:nvPr/>
        </p:nvSpPr>
        <p:spPr>
          <a:xfrm>
            <a:off x="5938533" y="4248150"/>
            <a:ext cx="1835759" cy="215444"/>
          </a:xfrm>
          <a:prstGeom prst="rect">
            <a:avLst/>
          </a:prstGeom>
          <a:noFill/>
        </p:spPr>
        <p:txBody>
          <a:bodyPr wrap="none" rtlCol="0">
            <a:spAutoFit/>
          </a:bodyPr>
          <a:lstStyle/>
          <a:p>
            <a:pPr algn="ctr" defTabSz="914400"/>
            <a:r>
              <a:rPr lang="en-US" sz="800" dirty="0" smtClean="0">
                <a:solidFill>
                  <a:srgbClr val="717074"/>
                </a:solidFill>
              </a:rPr>
              <a:t>Source: Forrester, EMC analysis</a:t>
            </a:r>
          </a:p>
        </p:txBody>
      </p:sp>
      <p:sp>
        <p:nvSpPr>
          <p:cNvPr id="18" name="TextBox 17"/>
          <p:cNvSpPr txBox="1"/>
          <p:nvPr/>
        </p:nvSpPr>
        <p:spPr>
          <a:xfrm>
            <a:off x="7815667" y="1792993"/>
            <a:ext cx="723275" cy="415498"/>
          </a:xfrm>
          <a:prstGeom prst="rect">
            <a:avLst/>
          </a:prstGeom>
          <a:noFill/>
        </p:spPr>
        <p:txBody>
          <a:bodyPr wrap="none" rtlCol="0">
            <a:spAutoFit/>
          </a:bodyPr>
          <a:lstStyle/>
          <a:p>
            <a:pPr algn="ctr" defTabSz="914400"/>
            <a:r>
              <a:rPr lang="en-US" sz="1050" b="1" dirty="0" smtClean="0">
                <a:solidFill>
                  <a:srgbClr val="4D4D4D"/>
                </a:solidFill>
              </a:rPr>
              <a:t>Legacy</a:t>
            </a:r>
          </a:p>
          <a:p>
            <a:pPr algn="ctr" defTabSz="914400"/>
            <a:r>
              <a:rPr lang="en-US" sz="1050" b="1" dirty="0" smtClean="0">
                <a:solidFill>
                  <a:srgbClr val="4D4D4D"/>
                </a:solidFill>
              </a:rPr>
              <a:t>28</a:t>
            </a:r>
            <a:r>
              <a:rPr lang="en-US" sz="1050" b="1" baseline="30000" dirty="0" smtClean="0">
                <a:solidFill>
                  <a:srgbClr val="4D4D4D"/>
                </a:solidFill>
              </a:rPr>
              <a:t>%</a:t>
            </a:r>
          </a:p>
        </p:txBody>
      </p:sp>
      <p:sp>
        <p:nvSpPr>
          <p:cNvPr id="22" name="TextBox 21"/>
          <p:cNvSpPr txBox="1"/>
          <p:nvPr/>
        </p:nvSpPr>
        <p:spPr>
          <a:xfrm>
            <a:off x="7936322" y="3492500"/>
            <a:ext cx="625507" cy="415498"/>
          </a:xfrm>
          <a:prstGeom prst="rect">
            <a:avLst/>
          </a:prstGeom>
          <a:noFill/>
        </p:spPr>
        <p:txBody>
          <a:bodyPr wrap="none" rtlCol="0">
            <a:spAutoFit/>
          </a:bodyPr>
          <a:lstStyle/>
          <a:p>
            <a:pPr algn="ctr" defTabSz="914400"/>
            <a:r>
              <a:rPr lang="en-US" sz="1050" b="1" dirty="0" err="1" smtClean="0">
                <a:solidFill>
                  <a:srgbClr val="4D4D4D"/>
                </a:solidFill>
              </a:rPr>
              <a:t>ITaaS</a:t>
            </a:r>
            <a:endParaRPr lang="en-US" sz="1050" b="1" dirty="0" smtClean="0">
              <a:solidFill>
                <a:srgbClr val="4D4D4D"/>
              </a:solidFill>
            </a:endParaRPr>
          </a:p>
          <a:p>
            <a:pPr algn="ctr" defTabSz="914400"/>
            <a:r>
              <a:rPr lang="en-US" sz="1050" b="1" dirty="0" smtClean="0">
                <a:solidFill>
                  <a:srgbClr val="4D4D4D"/>
                </a:solidFill>
              </a:rPr>
              <a:t>40</a:t>
            </a:r>
            <a:r>
              <a:rPr lang="en-US" sz="1050" b="1" baseline="30000" dirty="0" smtClean="0">
                <a:solidFill>
                  <a:srgbClr val="4D4D4D"/>
                </a:solidFill>
              </a:rPr>
              <a:t>%</a:t>
            </a:r>
            <a:r>
              <a:rPr lang="en-US" sz="1050" b="1" dirty="0">
                <a:solidFill>
                  <a:srgbClr val="4D4D4D"/>
                </a:solidFill>
              </a:rPr>
              <a:t>+</a:t>
            </a:r>
            <a:endParaRPr lang="en-US" sz="1050" b="1" baseline="30000" dirty="0" smtClean="0">
              <a:solidFill>
                <a:srgbClr val="4D4D4D"/>
              </a:solidFill>
            </a:endParaRPr>
          </a:p>
        </p:txBody>
      </p:sp>
      <p:sp>
        <p:nvSpPr>
          <p:cNvPr id="3" name="TextBox 2"/>
          <p:cNvSpPr txBox="1"/>
          <p:nvPr/>
        </p:nvSpPr>
        <p:spPr>
          <a:xfrm>
            <a:off x="5578935" y="2875585"/>
            <a:ext cx="1371600" cy="307777"/>
          </a:xfrm>
          <a:prstGeom prst="rect">
            <a:avLst/>
          </a:prstGeom>
          <a:noFill/>
        </p:spPr>
        <p:txBody>
          <a:bodyPr wrap="square" rtlCol="0">
            <a:spAutoFit/>
          </a:bodyPr>
          <a:lstStyle/>
          <a:p>
            <a:pPr algn="ctr" defTabSz="914400"/>
            <a:r>
              <a:rPr lang="en-US" sz="1400" dirty="0" smtClean="0">
                <a:solidFill>
                  <a:srgbClr val="FFFFFF"/>
                </a:solidFill>
              </a:rPr>
              <a:t>Maintenance</a:t>
            </a:r>
          </a:p>
        </p:txBody>
      </p:sp>
      <p:sp>
        <p:nvSpPr>
          <p:cNvPr id="19" name="TextBox 18"/>
          <p:cNvSpPr txBox="1"/>
          <p:nvPr/>
        </p:nvSpPr>
        <p:spPr>
          <a:xfrm>
            <a:off x="6850284" y="2190757"/>
            <a:ext cx="1246909" cy="307777"/>
          </a:xfrm>
          <a:prstGeom prst="rect">
            <a:avLst/>
          </a:prstGeom>
          <a:noFill/>
        </p:spPr>
        <p:txBody>
          <a:bodyPr wrap="square" rtlCol="0">
            <a:spAutoFit/>
          </a:bodyPr>
          <a:lstStyle/>
          <a:p>
            <a:pPr algn="ctr" defTabSz="914400"/>
            <a:r>
              <a:rPr lang="en-US" sz="1400" dirty="0" smtClean="0">
                <a:solidFill>
                  <a:srgbClr val="FFFFFF"/>
                </a:solidFill>
              </a:rPr>
              <a:t>Innovation</a:t>
            </a:r>
          </a:p>
        </p:txBody>
      </p:sp>
      <p:sp>
        <p:nvSpPr>
          <p:cNvPr id="5" name="Right Arrow 4"/>
          <p:cNvSpPr/>
          <p:nvPr/>
        </p:nvSpPr>
        <p:spPr>
          <a:xfrm>
            <a:off x="5029200" y="1733550"/>
            <a:ext cx="495300" cy="2209800"/>
          </a:xfrm>
          <a:prstGeom prst="rightArrow">
            <a:avLst>
              <a:gd name="adj1" fmla="val 100000"/>
              <a:gd name="adj2" fmla="val 96995"/>
            </a:avLst>
          </a:prstGeom>
          <a:gradFill flip="none" rotWithShape="1">
            <a:gsLst>
              <a:gs pos="0">
                <a:schemeClr val="tx1">
                  <a:lumMod val="50000"/>
                  <a:lumOff val="50000"/>
                  <a:tint val="66000"/>
                  <a:satMod val="160000"/>
                </a:schemeClr>
              </a:gs>
              <a:gs pos="100000">
                <a:schemeClr val="tx1">
                  <a:lumMod val="50000"/>
                  <a:lumOff val="50000"/>
                  <a:tint val="23500"/>
                  <a:satMod val="160000"/>
                  <a:alpha val="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grpSp>
        <p:nvGrpSpPr>
          <p:cNvPr id="8" name="Group 7"/>
          <p:cNvGrpSpPr/>
          <p:nvPr/>
        </p:nvGrpSpPr>
        <p:grpSpPr>
          <a:xfrm>
            <a:off x="3625850" y="2495550"/>
            <a:ext cx="1676400" cy="1151597"/>
            <a:chOff x="3810000" y="2495550"/>
            <a:chExt cx="1676400" cy="1151597"/>
          </a:xfrm>
        </p:grpSpPr>
        <p:sp>
          <p:nvSpPr>
            <p:cNvPr id="32" name="TextBox 31"/>
            <p:cNvSpPr txBox="1"/>
            <p:nvPr/>
          </p:nvSpPr>
          <p:spPr>
            <a:xfrm>
              <a:off x="3841254" y="2495550"/>
              <a:ext cx="1645146" cy="1151597"/>
            </a:xfrm>
            <a:prstGeom prst="rect">
              <a:avLst/>
            </a:prstGeom>
            <a:noFill/>
          </p:spPr>
          <p:txBody>
            <a:bodyPr wrap="square" rtlCol="0">
              <a:spAutoFit/>
            </a:bodyPr>
            <a:lstStyle/>
            <a:p>
              <a:pPr defTabSz="914400">
                <a:spcBef>
                  <a:spcPts val="500"/>
                </a:spcBef>
              </a:pPr>
              <a:r>
                <a:rPr lang="en-US" sz="800" i="1" dirty="0" smtClean="0">
                  <a:solidFill>
                    <a:srgbClr val="4D4D4D"/>
                  </a:solidFill>
                </a:rPr>
                <a:t>Cloud Services</a:t>
              </a:r>
            </a:p>
            <a:p>
              <a:pPr defTabSz="914400">
                <a:spcBef>
                  <a:spcPts val="500"/>
                </a:spcBef>
              </a:pPr>
              <a:r>
                <a:rPr lang="en-US" sz="800" i="1" dirty="0" smtClean="0">
                  <a:solidFill>
                    <a:srgbClr val="4D4D4D"/>
                  </a:solidFill>
                </a:rPr>
                <a:t>External Services</a:t>
              </a:r>
            </a:p>
            <a:p>
              <a:pPr defTabSz="914400">
                <a:spcBef>
                  <a:spcPts val="500"/>
                </a:spcBef>
              </a:pPr>
              <a:r>
                <a:rPr lang="en-US" sz="800" i="1" dirty="0" smtClean="0">
                  <a:solidFill>
                    <a:srgbClr val="4D4D4D"/>
                  </a:solidFill>
                </a:rPr>
                <a:t>Internal Services</a:t>
              </a:r>
            </a:p>
            <a:p>
              <a:pPr defTabSz="914400">
                <a:spcBef>
                  <a:spcPts val="500"/>
                </a:spcBef>
              </a:pPr>
              <a:r>
                <a:rPr lang="en-US" sz="800" i="1" dirty="0" smtClean="0">
                  <a:solidFill>
                    <a:srgbClr val="4D4D4D"/>
                  </a:solidFill>
                </a:rPr>
                <a:t>Software</a:t>
              </a:r>
            </a:p>
            <a:p>
              <a:pPr defTabSz="914400">
                <a:spcBef>
                  <a:spcPts val="500"/>
                </a:spcBef>
              </a:pPr>
              <a:r>
                <a:rPr lang="en-US" sz="800" i="1" dirty="0" smtClean="0">
                  <a:solidFill>
                    <a:srgbClr val="4D4D4D"/>
                  </a:solidFill>
                </a:rPr>
                <a:t>Hardware</a:t>
              </a:r>
            </a:p>
            <a:p>
              <a:pPr defTabSz="914400">
                <a:spcBef>
                  <a:spcPts val="500"/>
                </a:spcBef>
              </a:pPr>
              <a:r>
                <a:rPr lang="en-US" sz="800" i="1" dirty="0" smtClean="0">
                  <a:solidFill>
                    <a:srgbClr val="4D4D4D"/>
                  </a:solidFill>
                </a:rPr>
                <a:t>Telecom, Facilities, Legacy</a:t>
              </a:r>
            </a:p>
          </p:txBody>
        </p:sp>
        <p:sp>
          <p:nvSpPr>
            <p:cNvPr id="33" name="Rectangle 32"/>
            <p:cNvSpPr/>
            <p:nvPr/>
          </p:nvSpPr>
          <p:spPr>
            <a:xfrm>
              <a:off x="3810000" y="2746663"/>
              <a:ext cx="81953" cy="82141"/>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34" name="Rectangle 33"/>
            <p:cNvSpPr/>
            <p:nvPr/>
          </p:nvSpPr>
          <p:spPr>
            <a:xfrm>
              <a:off x="3810000" y="2560472"/>
              <a:ext cx="81953" cy="82141"/>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35" name="Rectangle 34"/>
            <p:cNvSpPr/>
            <p:nvPr/>
          </p:nvSpPr>
          <p:spPr>
            <a:xfrm>
              <a:off x="3810000" y="3119046"/>
              <a:ext cx="81953" cy="82141"/>
            </a:xfrm>
            <a:prstGeom prst="rect">
              <a:avLst/>
            </a:prstGeom>
            <a:solidFill>
              <a:schemeClr val="tx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36" name="Rectangle 35"/>
            <p:cNvSpPr/>
            <p:nvPr/>
          </p:nvSpPr>
          <p:spPr>
            <a:xfrm>
              <a:off x="3810000" y="2932854"/>
              <a:ext cx="81953" cy="82141"/>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37" name="Rectangle 36"/>
            <p:cNvSpPr/>
            <p:nvPr/>
          </p:nvSpPr>
          <p:spPr>
            <a:xfrm>
              <a:off x="3810000" y="3491428"/>
              <a:ext cx="81953" cy="82141"/>
            </a:xfrm>
            <a:prstGeom prst="rect">
              <a:avLst/>
            </a:prstGeom>
            <a:solidFill>
              <a:srgbClr val="BFBFB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38" name="Rectangle 37"/>
            <p:cNvSpPr/>
            <p:nvPr/>
          </p:nvSpPr>
          <p:spPr>
            <a:xfrm>
              <a:off x="3810000" y="3305237"/>
              <a:ext cx="81953" cy="82141"/>
            </a:xfrm>
            <a:prstGeom prst="rect">
              <a:avLst/>
            </a:prstGeom>
            <a:solidFill>
              <a:schemeClr val="tx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grpSp>
      <p:sp>
        <p:nvSpPr>
          <p:cNvPr id="2" name="TextBox 1"/>
          <p:cNvSpPr txBox="1"/>
          <p:nvPr/>
        </p:nvSpPr>
        <p:spPr>
          <a:xfrm>
            <a:off x="1135121" y="4248150"/>
            <a:ext cx="2316660" cy="214494"/>
          </a:xfrm>
          <a:prstGeom prst="rect">
            <a:avLst/>
          </a:prstGeom>
          <a:noFill/>
        </p:spPr>
        <p:txBody>
          <a:bodyPr wrap="none" rtlCol="0">
            <a:spAutoFit/>
          </a:bodyPr>
          <a:lstStyle/>
          <a:p>
            <a:pPr algn="ctr" defTabSz="914400"/>
            <a:r>
              <a:rPr lang="en-US" sz="800" dirty="0" smtClean="0">
                <a:solidFill>
                  <a:srgbClr val="717074"/>
                </a:solidFill>
              </a:rPr>
              <a:t>Source: McKinsey, Gartner, EMC analysis</a:t>
            </a:r>
          </a:p>
        </p:txBody>
      </p:sp>
      <p:sp>
        <p:nvSpPr>
          <p:cNvPr id="13" name="TextBox 12"/>
          <p:cNvSpPr txBox="1"/>
          <p:nvPr/>
        </p:nvSpPr>
        <p:spPr>
          <a:xfrm>
            <a:off x="1239826" y="3821176"/>
            <a:ext cx="697627" cy="350774"/>
          </a:xfrm>
          <a:prstGeom prst="rect">
            <a:avLst/>
          </a:prstGeom>
          <a:solidFill>
            <a:schemeClr val="bg1"/>
          </a:solidFill>
        </p:spPr>
        <p:txBody>
          <a:bodyPr wrap="none" rtlCol="0">
            <a:spAutoFit/>
          </a:bodyPr>
          <a:lstStyle/>
          <a:p>
            <a:pPr algn="ctr" defTabSz="914400"/>
            <a:r>
              <a:rPr lang="en-US" sz="1000" b="1" dirty="0" smtClean="0">
                <a:solidFill>
                  <a:srgbClr val="4D4D4D"/>
                </a:solidFill>
              </a:rPr>
              <a:t>Legacy</a:t>
            </a:r>
          </a:p>
          <a:p>
            <a:pPr algn="ctr" defTabSz="914400"/>
            <a:r>
              <a:rPr lang="en-US" sz="1000" b="1" dirty="0" smtClean="0">
                <a:solidFill>
                  <a:srgbClr val="4D4D4D"/>
                </a:solidFill>
              </a:rPr>
              <a:t>100%</a:t>
            </a:r>
          </a:p>
        </p:txBody>
      </p:sp>
      <p:sp>
        <p:nvSpPr>
          <p:cNvPr id="20" name="Rectangle 19"/>
          <p:cNvSpPr/>
          <p:nvPr/>
        </p:nvSpPr>
        <p:spPr>
          <a:xfrm>
            <a:off x="1189982" y="1598066"/>
            <a:ext cx="793699" cy="812077"/>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21" name="Rectangle 20"/>
          <p:cNvSpPr/>
          <p:nvPr/>
        </p:nvSpPr>
        <p:spPr>
          <a:xfrm>
            <a:off x="1189982" y="2365448"/>
            <a:ext cx="793699" cy="510262"/>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23" name="Rectangle 22"/>
          <p:cNvSpPr/>
          <p:nvPr/>
        </p:nvSpPr>
        <p:spPr>
          <a:xfrm>
            <a:off x="1189982" y="2852519"/>
            <a:ext cx="793699" cy="296899"/>
          </a:xfrm>
          <a:prstGeom prst="rect">
            <a:avLst/>
          </a:prstGeom>
          <a:solidFill>
            <a:schemeClr val="tx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24" name="Rectangle 23"/>
          <p:cNvSpPr/>
          <p:nvPr/>
        </p:nvSpPr>
        <p:spPr>
          <a:xfrm>
            <a:off x="1189982" y="3147069"/>
            <a:ext cx="793699" cy="127699"/>
          </a:xfrm>
          <a:prstGeom prst="rect">
            <a:avLst/>
          </a:prstGeom>
          <a:solidFill>
            <a:schemeClr val="tx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25" name="Rectangle 24"/>
          <p:cNvSpPr/>
          <p:nvPr/>
        </p:nvSpPr>
        <p:spPr>
          <a:xfrm>
            <a:off x="1189982" y="3274766"/>
            <a:ext cx="793699" cy="536693"/>
          </a:xfrm>
          <a:prstGeom prst="rect">
            <a:avLst/>
          </a:prstGeom>
          <a:solidFill>
            <a:srgbClr val="BFBFB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44" name="TextBox 43"/>
          <p:cNvSpPr txBox="1"/>
          <p:nvPr/>
        </p:nvSpPr>
        <p:spPr>
          <a:xfrm>
            <a:off x="1403327" y="1853884"/>
            <a:ext cx="367008" cy="214909"/>
          </a:xfrm>
          <a:prstGeom prst="rect">
            <a:avLst/>
          </a:prstGeom>
          <a:noFill/>
        </p:spPr>
        <p:txBody>
          <a:bodyPr wrap="none" rtlCol="0">
            <a:spAutoFit/>
          </a:bodyPr>
          <a:lstStyle/>
          <a:p>
            <a:pPr algn="ctr" defTabSz="914400"/>
            <a:r>
              <a:rPr lang="en-US" sz="1000" b="1" dirty="0" smtClean="0">
                <a:solidFill>
                  <a:srgbClr val="FFFFFF"/>
                </a:solidFill>
              </a:rPr>
              <a:t>33</a:t>
            </a:r>
          </a:p>
        </p:txBody>
      </p:sp>
      <p:sp>
        <p:nvSpPr>
          <p:cNvPr id="46" name="TextBox 45"/>
          <p:cNvSpPr txBox="1"/>
          <p:nvPr/>
        </p:nvSpPr>
        <p:spPr>
          <a:xfrm>
            <a:off x="1403327" y="2430301"/>
            <a:ext cx="367008" cy="214909"/>
          </a:xfrm>
          <a:prstGeom prst="rect">
            <a:avLst/>
          </a:prstGeom>
          <a:noFill/>
        </p:spPr>
        <p:txBody>
          <a:bodyPr wrap="none" rtlCol="0">
            <a:spAutoFit/>
          </a:bodyPr>
          <a:lstStyle/>
          <a:p>
            <a:pPr algn="ctr" defTabSz="914400"/>
            <a:r>
              <a:rPr lang="en-US" sz="1000" b="1" dirty="0" smtClean="0">
                <a:solidFill>
                  <a:srgbClr val="FFFFFF"/>
                </a:solidFill>
              </a:rPr>
              <a:t>20</a:t>
            </a:r>
          </a:p>
        </p:txBody>
      </p:sp>
      <p:sp>
        <p:nvSpPr>
          <p:cNvPr id="47" name="TextBox 46"/>
          <p:cNvSpPr txBox="1"/>
          <p:nvPr/>
        </p:nvSpPr>
        <p:spPr>
          <a:xfrm>
            <a:off x="1403127" y="2874752"/>
            <a:ext cx="367408" cy="214909"/>
          </a:xfrm>
          <a:prstGeom prst="rect">
            <a:avLst/>
          </a:prstGeom>
          <a:noFill/>
        </p:spPr>
        <p:txBody>
          <a:bodyPr wrap="none" rtlCol="0">
            <a:spAutoFit/>
          </a:bodyPr>
          <a:lstStyle/>
          <a:p>
            <a:pPr algn="ctr" defTabSz="914400"/>
            <a:r>
              <a:rPr lang="en-US" sz="1000" b="1" dirty="0" smtClean="0">
                <a:solidFill>
                  <a:srgbClr val="FFFFFF"/>
                </a:solidFill>
              </a:rPr>
              <a:t>14</a:t>
            </a:r>
          </a:p>
        </p:txBody>
      </p:sp>
      <p:sp>
        <p:nvSpPr>
          <p:cNvPr id="48" name="TextBox 47"/>
          <p:cNvSpPr txBox="1"/>
          <p:nvPr/>
        </p:nvSpPr>
        <p:spPr>
          <a:xfrm>
            <a:off x="1448812" y="3090908"/>
            <a:ext cx="276038" cy="214909"/>
          </a:xfrm>
          <a:prstGeom prst="rect">
            <a:avLst/>
          </a:prstGeom>
          <a:noFill/>
        </p:spPr>
        <p:txBody>
          <a:bodyPr wrap="none" rtlCol="0">
            <a:spAutoFit/>
          </a:bodyPr>
          <a:lstStyle/>
          <a:p>
            <a:pPr algn="ctr" defTabSz="914400"/>
            <a:r>
              <a:rPr lang="en-US" sz="1000" b="1" dirty="0" smtClean="0">
                <a:solidFill>
                  <a:srgbClr val="FFFFFF"/>
                </a:solidFill>
              </a:rPr>
              <a:t>6</a:t>
            </a:r>
          </a:p>
        </p:txBody>
      </p:sp>
      <p:sp>
        <p:nvSpPr>
          <p:cNvPr id="49" name="TextBox 48"/>
          <p:cNvSpPr txBox="1"/>
          <p:nvPr/>
        </p:nvSpPr>
        <p:spPr>
          <a:xfrm>
            <a:off x="1403326" y="3372521"/>
            <a:ext cx="367008" cy="214909"/>
          </a:xfrm>
          <a:prstGeom prst="rect">
            <a:avLst/>
          </a:prstGeom>
          <a:noFill/>
        </p:spPr>
        <p:txBody>
          <a:bodyPr wrap="none" rtlCol="0">
            <a:spAutoFit/>
          </a:bodyPr>
          <a:lstStyle/>
          <a:p>
            <a:pPr algn="ctr" defTabSz="914400"/>
            <a:r>
              <a:rPr lang="en-US" sz="1000" b="1" dirty="0" smtClean="0">
                <a:solidFill>
                  <a:srgbClr val="FFFFFF"/>
                </a:solidFill>
              </a:rPr>
              <a:t>27</a:t>
            </a:r>
          </a:p>
        </p:txBody>
      </p:sp>
      <p:sp>
        <p:nvSpPr>
          <p:cNvPr id="12" name="TextBox 11"/>
          <p:cNvSpPr txBox="1"/>
          <p:nvPr/>
        </p:nvSpPr>
        <p:spPr>
          <a:xfrm>
            <a:off x="2702242" y="3821176"/>
            <a:ext cx="604515" cy="350774"/>
          </a:xfrm>
          <a:prstGeom prst="rect">
            <a:avLst/>
          </a:prstGeom>
          <a:solidFill>
            <a:schemeClr val="bg1"/>
          </a:solidFill>
        </p:spPr>
        <p:txBody>
          <a:bodyPr wrap="none" rtlCol="0">
            <a:spAutoFit/>
          </a:bodyPr>
          <a:lstStyle/>
          <a:p>
            <a:pPr algn="ctr" defTabSz="914400"/>
            <a:r>
              <a:rPr lang="en-US" sz="1000" b="1" dirty="0" err="1" smtClean="0">
                <a:solidFill>
                  <a:srgbClr val="4D4D4D"/>
                </a:solidFill>
              </a:rPr>
              <a:t>ITaaS</a:t>
            </a:r>
            <a:r>
              <a:rPr lang="en-US" sz="1000" b="1" dirty="0" smtClean="0">
                <a:solidFill>
                  <a:srgbClr val="4D4D4D"/>
                </a:solidFill>
              </a:rPr>
              <a:t> </a:t>
            </a:r>
          </a:p>
          <a:p>
            <a:pPr algn="ctr" defTabSz="914400"/>
            <a:r>
              <a:rPr lang="en-US" sz="1000" b="1" dirty="0" smtClean="0">
                <a:solidFill>
                  <a:srgbClr val="4D4D4D"/>
                </a:solidFill>
              </a:rPr>
              <a:t>76%</a:t>
            </a:r>
          </a:p>
        </p:txBody>
      </p:sp>
      <p:sp>
        <p:nvSpPr>
          <p:cNvPr id="26" name="Rectangle 25"/>
          <p:cNvSpPr/>
          <p:nvPr/>
        </p:nvSpPr>
        <p:spPr>
          <a:xfrm>
            <a:off x="2594502" y="2207999"/>
            <a:ext cx="793699" cy="498025"/>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27" name="Rectangle 26"/>
          <p:cNvSpPr/>
          <p:nvPr/>
        </p:nvSpPr>
        <p:spPr>
          <a:xfrm>
            <a:off x="2594502" y="2118609"/>
            <a:ext cx="793699" cy="8939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28" name="Rectangle 27"/>
          <p:cNvSpPr/>
          <p:nvPr/>
        </p:nvSpPr>
        <p:spPr>
          <a:xfrm>
            <a:off x="2594502" y="2706021"/>
            <a:ext cx="793699" cy="309671"/>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29" name="Rectangle 28"/>
          <p:cNvSpPr/>
          <p:nvPr/>
        </p:nvSpPr>
        <p:spPr>
          <a:xfrm>
            <a:off x="2594502" y="3016532"/>
            <a:ext cx="793699" cy="201128"/>
          </a:xfrm>
          <a:prstGeom prst="rect">
            <a:avLst/>
          </a:prstGeom>
          <a:solidFill>
            <a:schemeClr val="tx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30" name="Rectangle 29"/>
          <p:cNvSpPr/>
          <p:nvPr/>
        </p:nvSpPr>
        <p:spPr>
          <a:xfrm>
            <a:off x="2594502" y="3217656"/>
            <a:ext cx="793699" cy="83007"/>
          </a:xfrm>
          <a:prstGeom prst="rect">
            <a:avLst/>
          </a:prstGeom>
          <a:solidFill>
            <a:schemeClr val="tx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31" name="Rectangle 30"/>
          <p:cNvSpPr/>
          <p:nvPr/>
        </p:nvSpPr>
        <p:spPr>
          <a:xfrm>
            <a:off x="2594502" y="3297468"/>
            <a:ext cx="793699" cy="513990"/>
          </a:xfrm>
          <a:prstGeom prst="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50" name="TextBox 49"/>
          <p:cNvSpPr txBox="1"/>
          <p:nvPr/>
        </p:nvSpPr>
        <p:spPr>
          <a:xfrm>
            <a:off x="2807647" y="2341617"/>
            <a:ext cx="367408" cy="214910"/>
          </a:xfrm>
          <a:prstGeom prst="rect">
            <a:avLst/>
          </a:prstGeom>
          <a:noFill/>
        </p:spPr>
        <p:txBody>
          <a:bodyPr wrap="none" rtlCol="0">
            <a:spAutoFit/>
          </a:bodyPr>
          <a:lstStyle/>
          <a:p>
            <a:pPr algn="ctr" defTabSz="914400"/>
            <a:r>
              <a:rPr lang="en-US" sz="1000" b="1" dirty="0" smtClean="0">
                <a:solidFill>
                  <a:srgbClr val="FFFFFF"/>
                </a:solidFill>
              </a:rPr>
              <a:t>22</a:t>
            </a:r>
          </a:p>
        </p:txBody>
      </p:sp>
      <p:sp>
        <p:nvSpPr>
          <p:cNvPr id="51" name="TextBox 50"/>
          <p:cNvSpPr txBox="1"/>
          <p:nvPr/>
        </p:nvSpPr>
        <p:spPr>
          <a:xfrm>
            <a:off x="2853332" y="2039902"/>
            <a:ext cx="276038" cy="214910"/>
          </a:xfrm>
          <a:prstGeom prst="rect">
            <a:avLst/>
          </a:prstGeom>
          <a:noFill/>
        </p:spPr>
        <p:txBody>
          <a:bodyPr wrap="none" rtlCol="0">
            <a:spAutoFit/>
          </a:bodyPr>
          <a:lstStyle/>
          <a:p>
            <a:pPr algn="ctr" defTabSz="914400"/>
            <a:r>
              <a:rPr lang="en-US" sz="1000" b="1" dirty="0" smtClean="0">
                <a:solidFill>
                  <a:srgbClr val="FFFFFF"/>
                </a:solidFill>
              </a:rPr>
              <a:t>4</a:t>
            </a:r>
          </a:p>
        </p:txBody>
      </p:sp>
      <p:sp>
        <p:nvSpPr>
          <p:cNvPr id="52" name="TextBox 51"/>
          <p:cNvSpPr txBox="1"/>
          <p:nvPr/>
        </p:nvSpPr>
        <p:spPr>
          <a:xfrm>
            <a:off x="2807647" y="2746218"/>
            <a:ext cx="367408" cy="214910"/>
          </a:xfrm>
          <a:prstGeom prst="rect">
            <a:avLst/>
          </a:prstGeom>
          <a:noFill/>
        </p:spPr>
        <p:txBody>
          <a:bodyPr wrap="none" rtlCol="0">
            <a:spAutoFit/>
          </a:bodyPr>
          <a:lstStyle/>
          <a:p>
            <a:pPr algn="ctr" defTabSz="914400"/>
            <a:r>
              <a:rPr lang="en-US" sz="1000" b="1" dirty="0" smtClean="0">
                <a:solidFill>
                  <a:srgbClr val="FFFFFF"/>
                </a:solidFill>
              </a:rPr>
              <a:t>14</a:t>
            </a:r>
          </a:p>
        </p:txBody>
      </p:sp>
      <p:sp>
        <p:nvSpPr>
          <p:cNvPr id="53" name="TextBox 52"/>
          <p:cNvSpPr txBox="1"/>
          <p:nvPr/>
        </p:nvSpPr>
        <p:spPr>
          <a:xfrm>
            <a:off x="2853332" y="3006714"/>
            <a:ext cx="276038" cy="214910"/>
          </a:xfrm>
          <a:prstGeom prst="rect">
            <a:avLst/>
          </a:prstGeom>
          <a:noFill/>
        </p:spPr>
        <p:txBody>
          <a:bodyPr wrap="none" rtlCol="0">
            <a:spAutoFit/>
          </a:bodyPr>
          <a:lstStyle/>
          <a:p>
            <a:pPr algn="ctr" defTabSz="914400"/>
            <a:r>
              <a:rPr lang="en-US" sz="1000" b="1" dirty="0" smtClean="0">
                <a:solidFill>
                  <a:srgbClr val="FFFFFF"/>
                </a:solidFill>
              </a:rPr>
              <a:t>9</a:t>
            </a:r>
          </a:p>
        </p:txBody>
      </p:sp>
      <p:sp>
        <p:nvSpPr>
          <p:cNvPr id="54" name="TextBox 53"/>
          <p:cNvSpPr txBox="1"/>
          <p:nvPr/>
        </p:nvSpPr>
        <p:spPr>
          <a:xfrm>
            <a:off x="2853332" y="3150818"/>
            <a:ext cx="276038" cy="214910"/>
          </a:xfrm>
          <a:prstGeom prst="rect">
            <a:avLst/>
          </a:prstGeom>
          <a:noFill/>
        </p:spPr>
        <p:txBody>
          <a:bodyPr wrap="none" rtlCol="0">
            <a:spAutoFit/>
          </a:bodyPr>
          <a:lstStyle/>
          <a:p>
            <a:pPr algn="ctr" defTabSz="914400"/>
            <a:r>
              <a:rPr lang="en-US" sz="1000" b="1" dirty="0" smtClean="0">
                <a:solidFill>
                  <a:srgbClr val="FFFFFF"/>
                </a:solidFill>
              </a:rPr>
              <a:t>4</a:t>
            </a:r>
          </a:p>
        </p:txBody>
      </p:sp>
      <p:sp>
        <p:nvSpPr>
          <p:cNvPr id="55" name="TextBox 54"/>
          <p:cNvSpPr txBox="1"/>
          <p:nvPr/>
        </p:nvSpPr>
        <p:spPr>
          <a:xfrm>
            <a:off x="2807647" y="3439027"/>
            <a:ext cx="367408" cy="214910"/>
          </a:xfrm>
          <a:prstGeom prst="rect">
            <a:avLst/>
          </a:prstGeom>
          <a:noFill/>
        </p:spPr>
        <p:txBody>
          <a:bodyPr wrap="none" rtlCol="0">
            <a:spAutoFit/>
          </a:bodyPr>
          <a:lstStyle/>
          <a:p>
            <a:pPr algn="ctr" defTabSz="914400"/>
            <a:r>
              <a:rPr lang="en-US" sz="1000" b="1" dirty="0" smtClean="0">
                <a:solidFill>
                  <a:srgbClr val="FFFFFF"/>
                </a:solidFill>
              </a:rPr>
              <a:t>23</a:t>
            </a:r>
          </a:p>
        </p:txBody>
      </p:sp>
      <p:cxnSp>
        <p:nvCxnSpPr>
          <p:cNvPr id="45" name="Straight Connector 44"/>
          <p:cNvCxnSpPr/>
          <p:nvPr/>
        </p:nvCxnSpPr>
        <p:spPr>
          <a:xfrm flipH="1">
            <a:off x="1026863" y="3817930"/>
            <a:ext cx="2540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9" name="Title 5"/>
          <p:cNvSpPr>
            <a:spLocks noGrp="1"/>
          </p:cNvSpPr>
          <p:nvPr>
            <p:ph type="title"/>
          </p:nvPr>
        </p:nvSpPr>
        <p:spPr/>
        <p:txBody>
          <a:bodyPr/>
          <a:lstStyle/>
          <a:p>
            <a:r>
              <a:rPr lang="en-US" smtClean="0"/>
              <a:t>IT AS A SERVICE DELIVERS BUSINESS AGILITY AT LOWER COST </a:t>
            </a:r>
            <a:endParaRPr lang="en-US" dirty="0"/>
          </a:p>
        </p:txBody>
      </p:sp>
    </p:spTree>
    <p:extLst>
      <p:ext uri="{BB962C8B-B14F-4D97-AF65-F5344CB8AC3E}">
        <p14:creationId xmlns:p14="http://schemas.microsoft.com/office/powerpoint/2010/main" val="209321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N IT TRANSFORMATION APPROACH</a:t>
            </a:r>
            <a:endParaRPr lang="en-US" dirty="0"/>
          </a:p>
        </p:txBody>
      </p:sp>
      <p:sp>
        <p:nvSpPr>
          <p:cNvPr id="15" name="Title 1"/>
          <p:cNvSpPr txBox="1">
            <a:spLocks/>
          </p:cNvSpPr>
          <p:nvPr/>
        </p:nvSpPr>
        <p:spPr>
          <a:xfrm>
            <a:off x="379412" y="228601"/>
            <a:ext cx="8231188" cy="457200"/>
          </a:xfrm>
          <a:prstGeom prst="rect">
            <a:avLst/>
          </a:prstGeom>
        </p:spPr>
        <p:txBody>
          <a:bodyPr lIns="0" tIns="0" rIns="0" bIns="0" anchor="t" anchorCtr="0"/>
          <a:lstStyle>
            <a:lvl1pPr algn="l" defTabSz="457200" rtl="0" eaLnBrk="1" latinLnBrk="0" hangingPunct="1">
              <a:lnSpc>
                <a:spcPct val="100000"/>
              </a:lnSpc>
              <a:spcBef>
                <a:spcPct val="0"/>
              </a:spcBef>
              <a:buNone/>
              <a:defRPr sz="2800" kern="1200">
                <a:solidFill>
                  <a:schemeClr val="tx2"/>
                </a:solidFill>
                <a:latin typeface="Architects Daughter"/>
                <a:ea typeface="+mj-ea"/>
                <a:cs typeface="Architects Daughter"/>
              </a:defRPr>
            </a:lvl1pPr>
          </a:lstStyle>
          <a:p>
            <a:endParaRPr lang="en-US" sz="2400" dirty="0">
              <a:latin typeface="Architects Daughter" pitchFamily="2" charset="0"/>
            </a:endParaRPr>
          </a:p>
        </p:txBody>
      </p:sp>
      <p:sp>
        <p:nvSpPr>
          <p:cNvPr id="16" name="TextBox 15"/>
          <p:cNvSpPr txBox="1"/>
          <p:nvPr/>
        </p:nvSpPr>
        <p:spPr>
          <a:xfrm>
            <a:off x="147626" y="1389507"/>
            <a:ext cx="1703159" cy="646331"/>
          </a:xfrm>
          <a:prstGeom prst="rect">
            <a:avLst/>
          </a:prstGeom>
          <a:noFill/>
        </p:spPr>
        <p:txBody>
          <a:bodyPr wrap="square" rtlCol="0">
            <a:spAutoFit/>
          </a:bodyPr>
          <a:lstStyle/>
          <a:p>
            <a:pPr algn="r"/>
            <a:r>
              <a:rPr lang="en-US" sz="1200" dirty="0" smtClean="0">
                <a:solidFill>
                  <a:srgbClr val="489BD4"/>
                </a:solidFill>
              </a:rPr>
              <a:t>Align Workloads With Most Suitable Cloud Model</a:t>
            </a:r>
            <a:endParaRPr lang="en-US" sz="1200" dirty="0">
              <a:solidFill>
                <a:srgbClr val="489BD4"/>
              </a:solidFill>
            </a:endParaRPr>
          </a:p>
        </p:txBody>
      </p:sp>
      <p:sp>
        <p:nvSpPr>
          <p:cNvPr id="17" name="TextBox 16"/>
          <p:cNvSpPr txBox="1"/>
          <p:nvPr/>
        </p:nvSpPr>
        <p:spPr>
          <a:xfrm>
            <a:off x="147626" y="2989721"/>
            <a:ext cx="1703159" cy="1015663"/>
          </a:xfrm>
          <a:prstGeom prst="rect">
            <a:avLst/>
          </a:prstGeom>
          <a:noFill/>
        </p:spPr>
        <p:txBody>
          <a:bodyPr wrap="square" rtlCol="0">
            <a:spAutoFit/>
          </a:bodyPr>
          <a:lstStyle/>
          <a:p>
            <a:pPr algn="r"/>
            <a:r>
              <a:rPr lang="en-US" sz="1200" dirty="0" smtClean="0">
                <a:solidFill>
                  <a:srgbClr val="2772A5"/>
                </a:solidFill>
              </a:rPr>
              <a:t>Build A </a:t>
            </a:r>
            <a:br>
              <a:rPr lang="en-US" sz="1200" dirty="0" smtClean="0">
                <a:solidFill>
                  <a:srgbClr val="2772A5"/>
                </a:solidFill>
              </a:rPr>
            </a:br>
            <a:r>
              <a:rPr lang="en-US" sz="1200" dirty="0" smtClean="0">
                <a:solidFill>
                  <a:srgbClr val="2772A5"/>
                </a:solidFill>
              </a:rPr>
              <a:t>Cost-efficient, Agile Infrastructure To Enable Hybrid Cloud</a:t>
            </a:r>
          </a:p>
        </p:txBody>
      </p:sp>
      <p:sp>
        <p:nvSpPr>
          <p:cNvPr id="18" name="TextBox 17"/>
          <p:cNvSpPr txBox="1"/>
          <p:nvPr/>
        </p:nvSpPr>
        <p:spPr>
          <a:xfrm>
            <a:off x="7344405" y="1993371"/>
            <a:ext cx="1658414" cy="1200329"/>
          </a:xfrm>
          <a:prstGeom prst="rect">
            <a:avLst/>
          </a:prstGeom>
          <a:noFill/>
        </p:spPr>
        <p:txBody>
          <a:bodyPr wrap="square" rtlCol="0">
            <a:spAutoFit/>
          </a:bodyPr>
          <a:lstStyle/>
          <a:p>
            <a:r>
              <a:rPr lang="en-US" sz="1200" dirty="0" smtClean="0">
                <a:solidFill>
                  <a:schemeClr val="accent2"/>
                </a:solidFill>
              </a:rPr>
              <a:t>Package And Orchestrate Services For Agile IT Operations And Convenient Consumption</a:t>
            </a:r>
            <a:endParaRPr lang="en-US" sz="1200" dirty="0">
              <a:solidFill>
                <a:schemeClr val="accent2"/>
              </a:solidFill>
            </a:endParaRPr>
          </a:p>
        </p:txBody>
      </p:sp>
      <p:grpSp>
        <p:nvGrpSpPr>
          <p:cNvPr id="69" name="Group 68"/>
          <p:cNvGrpSpPr/>
          <p:nvPr/>
        </p:nvGrpSpPr>
        <p:grpSpPr>
          <a:xfrm>
            <a:off x="1865388" y="890265"/>
            <a:ext cx="5473336" cy="3510285"/>
            <a:chOff x="1879991" y="982210"/>
            <a:chExt cx="5473336" cy="3510285"/>
          </a:xfrm>
        </p:grpSpPr>
        <p:grpSp>
          <p:nvGrpSpPr>
            <p:cNvPr id="68" name="Group 67"/>
            <p:cNvGrpSpPr/>
            <p:nvPr/>
          </p:nvGrpSpPr>
          <p:grpSpPr>
            <a:xfrm>
              <a:off x="1879991" y="2771575"/>
              <a:ext cx="3177223" cy="1719072"/>
              <a:chOff x="1879991" y="2771575"/>
              <a:chExt cx="3177223" cy="1719072"/>
            </a:xfrm>
          </p:grpSpPr>
          <p:sp>
            <p:nvSpPr>
              <p:cNvPr id="27" name="Rounded Rectangle 26"/>
              <p:cNvSpPr/>
              <p:nvPr/>
            </p:nvSpPr>
            <p:spPr>
              <a:xfrm>
                <a:off x="1879991" y="2771575"/>
                <a:ext cx="3177223" cy="1719072"/>
              </a:xfrm>
              <a:prstGeom prst="roundRect">
                <a:avLst>
                  <a:gd name="adj" fmla="val 2461"/>
                </a:avLst>
              </a:prstGeom>
              <a:gradFill>
                <a:gsLst>
                  <a:gs pos="0">
                    <a:schemeClr val="accent1">
                      <a:tint val="100000"/>
                      <a:shade val="100000"/>
                      <a:satMod val="130000"/>
                    </a:schemeClr>
                  </a:gs>
                  <a:gs pos="25000">
                    <a:srgbClr val="1587CD"/>
                  </a:gs>
                  <a:gs pos="100000">
                    <a:schemeClr val="accent1">
                      <a:tint val="50000"/>
                      <a:shade val="100000"/>
                      <a:satMod val="350000"/>
                    </a:schemeClr>
                  </a:gs>
                </a:gsLst>
                <a:lin ang="16200000" scaled="0"/>
              </a:gradFill>
              <a:ln>
                <a:gradFill>
                  <a:gsLst>
                    <a:gs pos="0">
                      <a:schemeClr val="tx2"/>
                    </a:gs>
                    <a:gs pos="100000">
                      <a:schemeClr val="tx2">
                        <a:lumMod val="75000"/>
                        <a:alpha val="0"/>
                      </a:schemeClr>
                    </a:gs>
                  </a:gsLst>
                  <a:lin ang="5400000" scaled="0"/>
                </a:gradFill>
              </a:ln>
              <a:effectLst>
                <a:outerShdw blurRad="38100" dist="25400" dir="5400000" rotWithShape="0">
                  <a:srgbClr val="000000">
                    <a:alpha val="40000"/>
                  </a:srgbClr>
                </a:outerShdw>
              </a:effectLst>
            </p:spPr>
            <p:style>
              <a:lnRef idx="1">
                <a:schemeClr val="accent1"/>
              </a:lnRef>
              <a:fillRef idx="3">
                <a:schemeClr val="accent1"/>
              </a:fillRef>
              <a:effectRef idx="2">
                <a:schemeClr val="accent1"/>
              </a:effectRef>
              <a:fontRef idx="minor">
                <a:schemeClr val="lt1"/>
              </a:fontRef>
            </p:style>
            <p:txBody>
              <a:bodyPr tIns="73152" rtlCol="0" anchor="t" anchorCtr="0"/>
              <a:lstStyle/>
              <a:p>
                <a:pPr algn="ctr">
                  <a:lnSpc>
                    <a:spcPts val="1700"/>
                  </a:lnSpc>
                </a:pPr>
                <a:r>
                  <a:rPr lang="en-US" sz="1600" dirty="0" smtClean="0">
                    <a:solidFill>
                      <a:srgbClr val="000000"/>
                    </a:solidFill>
                  </a:rPr>
                  <a:t>INFRASTRUCTURE TRANSFORMATION</a:t>
                </a:r>
              </a:p>
            </p:txBody>
          </p:sp>
          <p:pic>
            <p:nvPicPr>
              <p:cNvPr id="45" name="Picture 44" descr="3_Clouds.png"/>
              <p:cNvPicPr>
                <a:picLocks noChangeAspect="1"/>
              </p:cNvPicPr>
              <p:nvPr/>
            </p:nvPicPr>
            <p:blipFill>
              <a:blip r:embed="rId2" cstate="screen">
                <a:lum contrast="9000"/>
              </a:blip>
              <a:stretch>
                <a:fillRect/>
              </a:stretch>
            </p:blipFill>
            <p:spPr>
              <a:xfrm>
                <a:off x="2149662" y="3296380"/>
                <a:ext cx="2740121" cy="1153980"/>
              </a:xfrm>
              <a:prstGeom prst="rect">
                <a:avLst/>
              </a:prstGeom>
              <a:effectLst>
                <a:outerShdw blurRad="50800" dist="38100" dir="16200000" rotWithShape="0">
                  <a:prstClr val="black">
                    <a:alpha val="40000"/>
                  </a:prstClr>
                </a:outerShdw>
              </a:effectLst>
            </p:spPr>
          </p:pic>
        </p:grpSp>
        <p:grpSp>
          <p:nvGrpSpPr>
            <p:cNvPr id="66" name="Group 65"/>
            <p:cNvGrpSpPr/>
            <p:nvPr/>
          </p:nvGrpSpPr>
          <p:grpSpPr>
            <a:xfrm>
              <a:off x="5122794" y="982211"/>
              <a:ext cx="2230533" cy="3510284"/>
              <a:chOff x="5122794" y="982211"/>
              <a:chExt cx="2230533" cy="3510284"/>
            </a:xfrm>
          </p:grpSpPr>
          <p:sp>
            <p:nvSpPr>
              <p:cNvPr id="38" name="Rounded Rectangle 37"/>
              <p:cNvSpPr/>
              <p:nvPr/>
            </p:nvSpPr>
            <p:spPr>
              <a:xfrm>
                <a:off x="5122794" y="982211"/>
                <a:ext cx="2230533" cy="3510284"/>
              </a:xfrm>
              <a:prstGeom prst="roundRect">
                <a:avLst>
                  <a:gd name="adj" fmla="val 1952"/>
                </a:avLst>
              </a:prstGeom>
              <a:gradFill>
                <a:gsLst>
                  <a:gs pos="0">
                    <a:srgbClr val="36A436"/>
                  </a:gs>
                  <a:gs pos="17000">
                    <a:schemeClr val="accent2">
                      <a:lumMod val="75000"/>
                    </a:schemeClr>
                  </a:gs>
                  <a:gs pos="100000">
                    <a:schemeClr val="accent2">
                      <a:lumMod val="40000"/>
                      <a:lumOff val="60000"/>
                    </a:schemeClr>
                  </a:gs>
                </a:gsLst>
              </a:gradFill>
              <a:ln>
                <a:gradFill>
                  <a:gsLst>
                    <a:gs pos="0">
                      <a:schemeClr val="accent2"/>
                    </a:gs>
                    <a:gs pos="100000">
                      <a:schemeClr val="accent2">
                        <a:lumMod val="75000"/>
                        <a:alpha val="0"/>
                      </a:schemeClr>
                    </a:gs>
                  </a:gsLst>
                  <a:lin ang="5400000" scaled="0"/>
                </a:gradFill>
              </a:ln>
              <a:effectLst>
                <a:outerShdw blurRad="38100" dist="25400" dir="5400000" rotWithShape="0">
                  <a:srgbClr val="000000">
                    <a:alpha val="40000"/>
                  </a:srgbClr>
                </a:outerShdw>
              </a:effectLst>
            </p:spPr>
            <p:style>
              <a:lnRef idx="1">
                <a:schemeClr val="accent2"/>
              </a:lnRef>
              <a:fillRef idx="3">
                <a:schemeClr val="accent2"/>
              </a:fillRef>
              <a:effectRef idx="2">
                <a:schemeClr val="accent2"/>
              </a:effectRef>
              <a:fontRef idx="minor">
                <a:schemeClr val="lt1"/>
              </a:fontRef>
            </p:style>
            <p:txBody>
              <a:bodyPr lIns="0" tIns="64008" rIns="0" rtlCol="0" anchor="t" anchorCtr="0"/>
              <a:lstStyle/>
              <a:p>
                <a:pPr algn="ctr" defTabSz="914400">
                  <a:defRPr/>
                </a:pPr>
                <a:r>
                  <a:rPr lang="en-US" sz="1600" kern="0" dirty="0" smtClean="0">
                    <a:solidFill>
                      <a:srgbClr val="000000"/>
                    </a:solidFill>
                  </a:rPr>
                  <a:t>OPERATING MODEL</a:t>
                </a:r>
              </a:p>
              <a:p>
                <a:pPr algn="ctr" defTabSz="914400">
                  <a:defRPr/>
                </a:pPr>
                <a:r>
                  <a:rPr lang="en-US" sz="1600" kern="0" dirty="0" smtClean="0">
                    <a:solidFill>
                      <a:srgbClr val="000000"/>
                    </a:solidFill>
                  </a:rPr>
                  <a:t>TRANSFORMATION</a:t>
                </a:r>
              </a:p>
            </p:txBody>
          </p:sp>
          <p:sp>
            <p:nvSpPr>
              <p:cNvPr id="40" name="Rounded Rectangle 39"/>
              <p:cNvSpPr/>
              <p:nvPr/>
            </p:nvSpPr>
            <p:spPr>
              <a:xfrm>
                <a:off x="6387969" y="1616573"/>
                <a:ext cx="865190" cy="1333147"/>
              </a:xfrm>
              <a:prstGeom prst="roundRect">
                <a:avLst>
                  <a:gd name="adj" fmla="val 6511"/>
                </a:avLst>
              </a:prstGeom>
              <a:ln>
                <a:gradFill>
                  <a:gsLst>
                    <a:gs pos="0">
                      <a:schemeClr val="bg1"/>
                    </a:gs>
                    <a:gs pos="100000">
                      <a:schemeClr val="bg1">
                        <a:lumMod val="50000"/>
                      </a:schemeClr>
                    </a:gs>
                  </a:gsLst>
                  <a:lin ang="5400000" scaled="0"/>
                </a:gradFill>
              </a:ln>
              <a:effectLst>
                <a:outerShdw blurRad="38100" dist="25400" dir="5400000" algn="t" rotWithShape="0">
                  <a:schemeClr val="accent2">
                    <a:lumMod val="50000"/>
                    <a:alpha val="50000"/>
                  </a:schemeClr>
                </a:outerShdw>
              </a:effectLst>
            </p:spPr>
            <p:style>
              <a:lnRef idx="1">
                <a:schemeClr val="dk1"/>
              </a:lnRef>
              <a:fillRef idx="2">
                <a:schemeClr val="dk1"/>
              </a:fillRef>
              <a:effectRef idx="1">
                <a:schemeClr val="dk1"/>
              </a:effectRef>
              <a:fontRef idx="minor">
                <a:schemeClr val="dk1"/>
              </a:fontRef>
            </p:style>
            <p:txBody>
              <a:bodyPr lIns="91440" rtlCol="0" anchor="t"/>
              <a:lstStyle/>
              <a:p>
                <a:pPr algn="ctr" defTabSz="914400">
                  <a:lnSpc>
                    <a:spcPts val="1150"/>
                  </a:lnSpc>
                  <a:defRPr/>
                </a:pPr>
                <a:r>
                  <a:rPr lang="en-US" sz="1050" kern="0" dirty="0">
                    <a:solidFill>
                      <a:schemeClr val="tx1">
                        <a:lumMod val="75000"/>
                        <a:lumOff val="25000"/>
                      </a:schemeClr>
                    </a:solidFill>
                    <a:effectLst>
                      <a:outerShdw blurRad="88900" algn="ctr" rotWithShape="0">
                        <a:srgbClr val="FFFFFF"/>
                      </a:outerShdw>
                    </a:effectLst>
                  </a:rPr>
                  <a:t>New Roles</a:t>
                </a:r>
              </a:p>
            </p:txBody>
          </p:sp>
          <p:pic>
            <p:nvPicPr>
              <p:cNvPr id="43" name="Picture 42" descr="Process.png"/>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6351763" y="3493782"/>
                <a:ext cx="928278" cy="715193"/>
              </a:xfrm>
              <a:prstGeom prst="rect">
                <a:avLst/>
              </a:prstGeom>
              <a:effectLst>
                <a:reflection blurRad="6350" stA="52000" endA="300" endPos="22000" dir="5400000" sy="-100000" algn="bl" rotWithShape="0"/>
              </a:effectLst>
            </p:spPr>
          </p:pic>
          <p:sp>
            <p:nvSpPr>
              <p:cNvPr id="44" name="Rounded Rectangle 43"/>
              <p:cNvSpPr/>
              <p:nvPr/>
            </p:nvSpPr>
            <p:spPr>
              <a:xfrm>
                <a:off x="6387971" y="3071680"/>
                <a:ext cx="865188" cy="1333147"/>
              </a:xfrm>
              <a:prstGeom prst="roundRect">
                <a:avLst>
                  <a:gd name="adj" fmla="val 6511"/>
                </a:avLst>
              </a:prstGeom>
              <a:ln>
                <a:gradFill>
                  <a:gsLst>
                    <a:gs pos="0">
                      <a:schemeClr val="bg1"/>
                    </a:gs>
                    <a:gs pos="100000">
                      <a:schemeClr val="tx1">
                        <a:lumMod val="65000"/>
                        <a:lumOff val="35000"/>
                      </a:schemeClr>
                    </a:gs>
                  </a:gsLst>
                  <a:lin ang="5400000" scaled="0"/>
                </a:gradFill>
              </a:ln>
              <a:effectLst>
                <a:outerShdw blurRad="38100" dist="25400" dir="5400000" algn="t" rotWithShape="0">
                  <a:schemeClr val="accent2">
                    <a:lumMod val="50000"/>
                    <a:alpha val="50000"/>
                  </a:schemeClr>
                </a:outerShdw>
              </a:effectLst>
            </p:spPr>
            <p:style>
              <a:lnRef idx="1">
                <a:schemeClr val="dk1"/>
              </a:lnRef>
              <a:fillRef idx="2">
                <a:schemeClr val="dk1"/>
              </a:fillRef>
              <a:effectRef idx="1">
                <a:schemeClr val="dk1"/>
              </a:effectRef>
              <a:fontRef idx="minor">
                <a:schemeClr val="dk1"/>
              </a:fontRef>
            </p:style>
            <p:txBody>
              <a:bodyPr lIns="0" rIns="0" rtlCol="0" anchor="t"/>
              <a:lstStyle/>
              <a:p>
                <a:pPr algn="ctr" defTabSz="914400">
                  <a:lnSpc>
                    <a:spcPts val="1150"/>
                  </a:lnSpc>
                  <a:defRPr/>
                </a:pPr>
                <a:r>
                  <a:rPr lang="en-US" sz="1050" kern="0" dirty="0">
                    <a:solidFill>
                      <a:schemeClr val="tx1">
                        <a:lumMod val="75000"/>
                        <a:lumOff val="25000"/>
                      </a:schemeClr>
                    </a:solidFill>
                    <a:effectLst>
                      <a:outerShdw blurRad="88900" algn="ctr" rotWithShape="0">
                        <a:srgbClr val="FFFFFF"/>
                      </a:outerShdw>
                    </a:effectLst>
                  </a:rPr>
                  <a:t>Agile</a:t>
                </a:r>
                <a:br>
                  <a:rPr lang="en-US" sz="1050" kern="0" dirty="0">
                    <a:solidFill>
                      <a:schemeClr val="tx1">
                        <a:lumMod val="75000"/>
                        <a:lumOff val="25000"/>
                      </a:schemeClr>
                    </a:solidFill>
                    <a:effectLst>
                      <a:outerShdw blurRad="88900" algn="ctr" rotWithShape="0">
                        <a:srgbClr val="FFFFFF"/>
                      </a:outerShdw>
                    </a:effectLst>
                  </a:rPr>
                </a:br>
                <a:r>
                  <a:rPr lang="en-US" sz="1050" kern="0" dirty="0">
                    <a:solidFill>
                      <a:schemeClr val="tx1">
                        <a:lumMod val="75000"/>
                        <a:lumOff val="25000"/>
                      </a:schemeClr>
                    </a:solidFill>
                    <a:effectLst>
                      <a:outerShdw blurRad="88900" algn="ctr" rotWithShape="0">
                        <a:srgbClr val="FFFFFF"/>
                      </a:outerShdw>
                    </a:effectLst>
                  </a:rPr>
                  <a:t>Processes</a:t>
                </a:r>
              </a:p>
            </p:txBody>
          </p:sp>
          <p:sp>
            <p:nvSpPr>
              <p:cNvPr id="46" name="Rounded Rectangle 45"/>
              <p:cNvSpPr/>
              <p:nvPr/>
            </p:nvSpPr>
            <p:spPr>
              <a:xfrm>
                <a:off x="5185648" y="3071680"/>
                <a:ext cx="1097280" cy="1333147"/>
              </a:xfrm>
              <a:prstGeom prst="roundRect">
                <a:avLst>
                  <a:gd name="adj" fmla="val 4441"/>
                </a:avLst>
              </a:prstGeom>
              <a:ln>
                <a:gradFill>
                  <a:gsLst>
                    <a:gs pos="0">
                      <a:schemeClr val="bg1"/>
                    </a:gs>
                    <a:gs pos="100000">
                      <a:schemeClr val="tx1">
                        <a:lumMod val="65000"/>
                        <a:lumOff val="35000"/>
                      </a:schemeClr>
                    </a:gs>
                  </a:gsLst>
                  <a:lin ang="5400000" scaled="0"/>
                </a:gradFill>
              </a:ln>
              <a:effectLst>
                <a:outerShdw blurRad="38100" dist="25400" dir="5400000" algn="t" rotWithShape="0">
                  <a:schemeClr val="accent2">
                    <a:lumMod val="50000"/>
                    <a:alpha val="50000"/>
                  </a:schemeClr>
                </a:outerShdw>
              </a:effectLst>
            </p:spPr>
            <p:style>
              <a:lnRef idx="1">
                <a:schemeClr val="dk1"/>
              </a:lnRef>
              <a:fillRef idx="2">
                <a:schemeClr val="dk1"/>
              </a:fillRef>
              <a:effectRef idx="1">
                <a:schemeClr val="dk1"/>
              </a:effectRef>
              <a:fontRef idx="minor">
                <a:schemeClr val="dk1"/>
              </a:fontRef>
            </p:style>
            <p:txBody>
              <a:bodyPr lIns="0" rIns="0" rtlCol="0" anchor="t"/>
              <a:lstStyle/>
              <a:p>
                <a:pPr algn="ctr" defTabSz="914400">
                  <a:lnSpc>
                    <a:spcPts val="1150"/>
                  </a:lnSpc>
                  <a:defRPr/>
                </a:pPr>
                <a:r>
                  <a:rPr lang="en-US" sz="1050" kern="0" dirty="0" smtClean="0">
                    <a:solidFill>
                      <a:schemeClr val="tx1">
                        <a:lumMod val="75000"/>
                        <a:lumOff val="25000"/>
                      </a:schemeClr>
                    </a:solidFill>
                    <a:effectLst>
                      <a:outerShdw blurRad="88900" algn="ctr" rotWithShape="0">
                        <a:srgbClr val="FFFFFF"/>
                      </a:outerShdw>
                    </a:effectLst>
                  </a:rPr>
                  <a:t>Management,</a:t>
                </a:r>
                <a:r>
                  <a:rPr lang="en-US" sz="1050" kern="0" dirty="0">
                    <a:solidFill>
                      <a:schemeClr val="tx1">
                        <a:lumMod val="75000"/>
                        <a:lumOff val="25000"/>
                      </a:schemeClr>
                    </a:solidFill>
                    <a:effectLst>
                      <a:outerShdw blurRad="88900" algn="ctr" rotWithShape="0">
                        <a:srgbClr val="FFFFFF"/>
                      </a:outerShdw>
                    </a:effectLst>
                  </a:rPr>
                  <a:t/>
                </a:r>
                <a:br>
                  <a:rPr lang="en-US" sz="1050" kern="0" dirty="0">
                    <a:solidFill>
                      <a:schemeClr val="tx1">
                        <a:lumMod val="75000"/>
                        <a:lumOff val="25000"/>
                      </a:schemeClr>
                    </a:solidFill>
                    <a:effectLst>
                      <a:outerShdw blurRad="88900" algn="ctr" rotWithShape="0">
                        <a:srgbClr val="FFFFFF"/>
                      </a:outerShdw>
                    </a:effectLst>
                  </a:rPr>
                </a:br>
                <a:r>
                  <a:rPr lang="en-US" sz="1050" kern="0" dirty="0">
                    <a:solidFill>
                      <a:schemeClr val="tx1">
                        <a:lumMod val="75000"/>
                        <a:lumOff val="25000"/>
                      </a:schemeClr>
                    </a:solidFill>
                    <a:effectLst>
                      <a:outerShdw blurRad="88900" algn="ctr" rotWithShape="0">
                        <a:srgbClr val="FFFFFF"/>
                      </a:outerShdw>
                    </a:effectLst>
                  </a:rPr>
                  <a:t>Orchestration</a:t>
                </a:r>
              </a:p>
            </p:txBody>
          </p:sp>
          <p:sp>
            <p:nvSpPr>
              <p:cNvPr id="48" name="Rounded Rectangle 47"/>
              <p:cNvSpPr/>
              <p:nvPr/>
            </p:nvSpPr>
            <p:spPr>
              <a:xfrm>
                <a:off x="5185648" y="1616573"/>
                <a:ext cx="1097280" cy="1333147"/>
              </a:xfrm>
              <a:prstGeom prst="roundRect">
                <a:avLst>
                  <a:gd name="adj" fmla="val 4958"/>
                </a:avLst>
              </a:prstGeom>
              <a:ln>
                <a:gradFill>
                  <a:gsLst>
                    <a:gs pos="0">
                      <a:schemeClr val="bg1"/>
                    </a:gs>
                    <a:gs pos="100000">
                      <a:schemeClr val="bg1">
                        <a:lumMod val="50000"/>
                      </a:schemeClr>
                    </a:gs>
                  </a:gsLst>
                  <a:lin ang="5400000" scaled="0"/>
                </a:gradFill>
              </a:ln>
              <a:effectLst>
                <a:outerShdw blurRad="38100" dist="25400" dir="5400000" algn="t" rotWithShape="0">
                  <a:schemeClr val="accent2">
                    <a:lumMod val="50000"/>
                    <a:alpha val="50000"/>
                  </a:schemeClr>
                </a:outerShdw>
              </a:effectLst>
            </p:spPr>
            <p:style>
              <a:lnRef idx="1">
                <a:schemeClr val="dk1"/>
              </a:lnRef>
              <a:fillRef idx="2">
                <a:schemeClr val="dk1"/>
              </a:fillRef>
              <a:effectRef idx="1">
                <a:schemeClr val="dk1"/>
              </a:effectRef>
              <a:fontRef idx="minor">
                <a:schemeClr val="dk1"/>
              </a:fontRef>
            </p:style>
            <p:txBody>
              <a:bodyPr lIns="91440" rtlCol="0" anchor="t"/>
              <a:lstStyle/>
              <a:p>
                <a:pPr algn="ctr" defTabSz="914400">
                  <a:lnSpc>
                    <a:spcPts val="1150"/>
                  </a:lnSpc>
                  <a:defRPr/>
                </a:pPr>
                <a:r>
                  <a:rPr lang="en-US" sz="1050" kern="0" dirty="0">
                    <a:solidFill>
                      <a:schemeClr val="tx1">
                        <a:lumMod val="75000"/>
                        <a:lumOff val="25000"/>
                      </a:schemeClr>
                    </a:solidFill>
                    <a:effectLst>
                      <a:outerShdw blurRad="88900" algn="ctr" rotWithShape="0">
                        <a:srgbClr val="FFFFFF"/>
                      </a:outerShdw>
                    </a:effectLst>
                  </a:rPr>
                  <a:t>Service</a:t>
                </a:r>
                <a:br>
                  <a:rPr lang="en-US" sz="1050" kern="0" dirty="0">
                    <a:solidFill>
                      <a:schemeClr val="tx1">
                        <a:lumMod val="75000"/>
                        <a:lumOff val="25000"/>
                      </a:schemeClr>
                    </a:solidFill>
                    <a:effectLst>
                      <a:outerShdw blurRad="88900" algn="ctr" rotWithShape="0">
                        <a:srgbClr val="FFFFFF"/>
                      </a:outerShdw>
                    </a:effectLst>
                  </a:rPr>
                </a:br>
                <a:r>
                  <a:rPr lang="en-US" sz="1050" kern="0" dirty="0">
                    <a:solidFill>
                      <a:schemeClr val="tx1">
                        <a:lumMod val="75000"/>
                        <a:lumOff val="25000"/>
                      </a:schemeClr>
                    </a:solidFill>
                    <a:effectLst>
                      <a:outerShdw blurRad="88900" algn="ctr" rotWithShape="0">
                        <a:srgbClr val="FFFFFF"/>
                      </a:outerShdw>
                    </a:effectLst>
                  </a:rPr>
                  <a:t>Portal</a:t>
                </a:r>
              </a:p>
            </p:txBody>
          </p:sp>
          <p:pic>
            <p:nvPicPr>
              <p:cNvPr id="47" name="Picture 46"/>
              <p:cNvPicPr>
                <a:picLocks noChangeAspect="1"/>
              </p:cNvPicPr>
              <p:nvPr/>
            </p:nvPicPr>
            <p:blipFill>
              <a:blip r:embed="rId4" cstate="screen">
                <a:lum bright="26000"/>
                <a:extLst>
                  <a:ext uri="{28A0092B-C50C-407E-A947-70E740481C1C}">
                    <a14:useLocalDpi xmlns:a14="http://schemas.microsoft.com/office/drawing/2010/main"/>
                  </a:ext>
                </a:extLst>
              </a:blip>
              <a:stretch>
                <a:fillRect/>
              </a:stretch>
            </p:blipFill>
            <p:spPr>
              <a:xfrm>
                <a:off x="6451919" y="2121263"/>
                <a:ext cx="353400" cy="729847"/>
              </a:xfrm>
              <a:prstGeom prst="rect">
                <a:avLst/>
              </a:prstGeom>
            </p:spPr>
          </p:pic>
          <p:pic>
            <p:nvPicPr>
              <p:cNvPr id="51" name="Picture 50"/>
              <p:cNvPicPr>
                <a:picLocks noChangeAspect="1"/>
              </p:cNvPicPr>
              <p:nvPr/>
            </p:nvPicPr>
            <p:blipFill>
              <a:blip r:embed="rId5" cstate="screen">
                <a:lum bright="26000"/>
                <a:extLst>
                  <a:ext uri="{28A0092B-C50C-407E-A947-70E740481C1C}">
                    <a14:useLocalDpi xmlns:a14="http://schemas.microsoft.com/office/drawing/2010/main"/>
                  </a:ext>
                </a:extLst>
              </a:blip>
              <a:stretch>
                <a:fillRect/>
              </a:stretch>
            </p:blipFill>
            <p:spPr>
              <a:xfrm>
                <a:off x="6776061" y="2096890"/>
                <a:ext cx="414579" cy="761856"/>
              </a:xfrm>
              <a:prstGeom prst="rect">
                <a:avLst/>
              </a:prstGeom>
            </p:spPr>
          </p:pic>
          <p:pic>
            <p:nvPicPr>
              <p:cNvPr id="63" name="Picture 62" descr="configure.png"/>
              <p:cNvPicPr>
                <a:picLocks noChangeAspect="1"/>
              </p:cNvPicPr>
              <p:nvPr/>
            </p:nvPicPr>
            <p:blipFill>
              <a:blip r:embed="rId6" cstate="screen">
                <a:lum bright="-8000" contrast="11000"/>
              </a:blip>
              <a:stretch>
                <a:fillRect/>
              </a:stretch>
            </p:blipFill>
            <p:spPr>
              <a:xfrm>
                <a:off x="5285488" y="3480293"/>
                <a:ext cx="899491" cy="842687"/>
              </a:xfrm>
              <a:prstGeom prst="rect">
                <a:avLst/>
              </a:prstGeom>
              <a:effectLst>
                <a:outerShdw blurRad="50800" dist="38100" dir="5400000" algn="t" rotWithShape="0">
                  <a:prstClr val="black">
                    <a:alpha val="40000"/>
                  </a:prstClr>
                </a:outerShdw>
              </a:effectLst>
            </p:spPr>
          </p:pic>
          <p:pic>
            <p:nvPicPr>
              <p:cNvPr id="32" name="Picture 3" descr="\\MV-FS\Projects\EMC\resources\Icons\EMC_icons_070910\finals\pngs\process.png"/>
              <p:cNvPicPr>
                <a:picLocks noChangeAspect="1" noChangeArrowheads="1"/>
              </p:cNvPicPr>
              <p:nvPr/>
            </p:nvPicPr>
            <p:blipFill>
              <a:blip r:embed="rId7" cstate="screen">
                <a:lum bright="-21000" contrast="21000"/>
              </a:blip>
              <a:stretch>
                <a:fillRect/>
              </a:stretch>
            </p:blipFill>
            <p:spPr bwMode="gray">
              <a:xfrm>
                <a:off x="6451926" y="3805267"/>
                <a:ext cx="756319" cy="547700"/>
              </a:xfrm>
              <a:prstGeom prst="rect">
                <a:avLst/>
              </a:prstGeom>
              <a:noFill/>
              <a:effectLst>
                <a:outerShdw blurRad="50800" dist="38100" dir="5400000" algn="t" rotWithShape="0">
                  <a:prstClr val="black">
                    <a:alpha val="40000"/>
                  </a:prstClr>
                </a:outerShdw>
              </a:effectLst>
            </p:spPr>
          </p:pic>
          <p:grpSp>
            <p:nvGrpSpPr>
              <p:cNvPr id="36" name="Group 98"/>
              <p:cNvGrpSpPr/>
              <p:nvPr/>
            </p:nvGrpSpPr>
            <p:grpSpPr bwMode="gray">
              <a:xfrm>
                <a:off x="6523000" y="3509933"/>
                <a:ext cx="614171" cy="295334"/>
                <a:chOff x="6706998" y="2647287"/>
                <a:chExt cx="565564" cy="362611"/>
              </a:xfrm>
            </p:grpSpPr>
            <p:sp>
              <p:nvSpPr>
                <p:cNvPr id="37" name="Rectangle 36"/>
                <p:cNvSpPr/>
                <p:nvPr/>
              </p:nvSpPr>
              <p:spPr bwMode="gray">
                <a:xfrm>
                  <a:off x="6760855" y="2767954"/>
                  <a:ext cx="108727" cy="194454"/>
                </a:xfrm>
                <a:prstGeom prst="rect">
                  <a:avLst/>
                </a:prstGeom>
                <a:gradFill flip="none" rotWithShape="1">
                  <a:gsLst>
                    <a:gs pos="0">
                      <a:schemeClr val="tx2">
                        <a:lumMod val="75000"/>
                      </a:schemeClr>
                    </a:gs>
                    <a:gs pos="100000">
                      <a:schemeClr val="tx2"/>
                    </a:gs>
                  </a:gsLst>
                  <a:lin ang="16200000" scaled="1"/>
                  <a:tileRect/>
                </a:gradFill>
                <a:ln w="9525">
                  <a:noFill/>
                  <a:miter lim="800000"/>
                  <a:headEnd/>
                  <a:tailEnd/>
                </a:ln>
                <a:effectLst>
                  <a:outerShdw blurRad="38100" dist="25400" dir="5400000" algn="t" rotWithShape="0">
                    <a:prstClr val="black">
                      <a:alpha val="25000"/>
                    </a:prstClr>
                  </a:outerShdw>
                </a:effectLst>
              </p:spPr>
              <p:txBody>
                <a:bodyPr wrap="none" anchor="ctr"/>
                <a:lstStyle/>
                <a:p>
                  <a:pPr>
                    <a:defRPr/>
                  </a:pPr>
                  <a:endParaRPr lang="en-US" sz="800">
                    <a:solidFill>
                      <a:srgbClr val="000000"/>
                    </a:solidFill>
                    <a:latin typeface="MetaMediumLF-Roman" pitchFamily="34" charset="0"/>
                    <a:cs typeface="Arial" pitchFamily="34" charset="0"/>
                  </a:endParaRPr>
                </a:p>
              </p:txBody>
            </p:sp>
            <p:sp>
              <p:nvSpPr>
                <p:cNvPr id="39" name="Rectangle 38"/>
                <p:cNvSpPr/>
                <p:nvPr/>
              </p:nvSpPr>
              <p:spPr bwMode="gray">
                <a:xfrm>
                  <a:off x="6905379" y="2872833"/>
                  <a:ext cx="106386" cy="89575"/>
                </a:xfrm>
                <a:prstGeom prst="rect">
                  <a:avLst/>
                </a:prstGeom>
                <a:gradFill flip="none" rotWithShape="1">
                  <a:gsLst>
                    <a:gs pos="0">
                      <a:schemeClr val="accent2">
                        <a:lumMod val="75000"/>
                      </a:schemeClr>
                    </a:gs>
                    <a:gs pos="100000">
                      <a:schemeClr val="accent2"/>
                    </a:gs>
                  </a:gsLst>
                  <a:lin ang="16200000" scaled="1"/>
                  <a:tileRect/>
                </a:gradFill>
                <a:ln w="9525">
                  <a:noFill/>
                  <a:miter lim="800000"/>
                  <a:headEnd/>
                  <a:tailEnd/>
                </a:ln>
                <a:effectLst>
                  <a:outerShdw blurRad="38100" dist="25400" dir="5400000" algn="t" rotWithShape="0">
                    <a:prstClr val="black">
                      <a:alpha val="25000"/>
                    </a:prstClr>
                  </a:outerShdw>
                </a:effectLst>
              </p:spPr>
              <p:txBody>
                <a:bodyPr wrap="none" anchor="ctr"/>
                <a:lstStyle/>
                <a:p>
                  <a:pPr>
                    <a:defRPr/>
                  </a:pPr>
                  <a:endParaRPr lang="en-US" sz="800">
                    <a:solidFill>
                      <a:srgbClr val="000000"/>
                    </a:solidFill>
                    <a:latin typeface="MetaMediumLF-Roman" pitchFamily="34" charset="0"/>
                    <a:cs typeface="Arial" pitchFamily="34" charset="0"/>
                  </a:endParaRPr>
                </a:p>
              </p:txBody>
            </p:sp>
            <p:cxnSp>
              <p:nvCxnSpPr>
                <p:cNvPr id="41" name="Straight Connector 40"/>
                <p:cNvCxnSpPr/>
                <p:nvPr/>
              </p:nvCxnSpPr>
              <p:spPr bwMode="gray">
                <a:xfrm rot="5400000">
                  <a:off x="6529508" y="2828593"/>
                  <a:ext cx="362611" cy="0"/>
                </a:xfrm>
                <a:prstGeom prst="line">
                  <a:avLst/>
                </a:prstGeom>
                <a:ln>
                  <a:solidFill>
                    <a:srgbClr val="7F7F7F"/>
                  </a:solidFill>
                  <a:headEnd type="triangle" w="med" len="med"/>
                  <a:tailEnd type="none"/>
                </a:ln>
                <a:effectLst/>
              </p:spPr>
              <p:style>
                <a:lnRef idx="2">
                  <a:schemeClr val="accent1"/>
                </a:lnRef>
                <a:fillRef idx="0">
                  <a:schemeClr val="accent1"/>
                </a:fillRef>
                <a:effectRef idx="1">
                  <a:schemeClr val="accent1"/>
                </a:effectRef>
                <a:fontRef idx="minor">
                  <a:schemeClr val="tx1"/>
                </a:fontRef>
              </p:style>
            </p:cxnSp>
            <p:cxnSp>
              <p:nvCxnSpPr>
                <p:cNvPr id="42" name="Straight Connector 27"/>
                <p:cNvCxnSpPr/>
                <p:nvPr/>
              </p:nvCxnSpPr>
              <p:spPr bwMode="gray">
                <a:xfrm rot="10800000">
                  <a:off x="6706998" y="3004800"/>
                  <a:ext cx="565564" cy="1"/>
                </a:xfrm>
                <a:prstGeom prst="line">
                  <a:avLst/>
                </a:prstGeom>
                <a:ln w="25400" cap="flat" cmpd="sng" algn="ctr">
                  <a:solidFill>
                    <a:srgbClr val="7F7F7F"/>
                  </a:solidFill>
                  <a:prstDash val="solid"/>
                  <a:round/>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0" name="Rectangle 28"/>
                <p:cNvSpPr/>
                <p:nvPr/>
              </p:nvSpPr>
              <p:spPr bwMode="gray">
                <a:xfrm>
                  <a:off x="7049903" y="2915663"/>
                  <a:ext cx="106386" cy="46745"/>
                </a:xfrm>
                <a:prstGeom prst="rect">
                  <a:avLst/>
                </a:prstGeom>
                <a:gradFill flip="none" rotWithShape="1">
                  <a:gsLst>
                    <a:gs pos="0">
                      <a:schemeClr val="accent4">
                        <a:lumMod val="75000"/>
                      </a:schemeClr>
                    </a:gs>
                    <a:gs pos="100000">
                      <a:schemeClr val="accent4"/>
                    </a:gs>
                  </a:gsLst>
                  <a:lin ang="16200000" scaled="1"/>
                  <a:tileRect/>
                </a:gradFill>
                <a:ln w="9525">
                  <a:noFill/>
                  <a:miter lim="800000"/>
                  <a:headEnd/>
                  <a:tailEnd/>
                </a:ln>
                <a:effectLst>
                  <a:outerShdw blurRad="38100" dist="25400" dir="5400000" algn="t" rotWithShape="0">
                    <a:prstClr val="black">
                      <a:alpha val="25000"/>
                    </a:prstClr>
                  </a:outerShdw>
                </a:effectLst>
              </p:spPr>
              <p:txBody>
                <a:bodyPr wrap="none" anchor="ctr"/>
                <a:lstStyle/>
                <a:p>
                  <a:pPr>
                    <a:defRPr/>
                  </a:pPr>
                  <a:endParaRPr lang="en-US" sz="800">
                    <a:solidFill>
                      <a:srgbClr val="000000"/>
                    </a:solidFill>
                    <a:latin typeface="MetaMediumLF-Roman" pitchFamily="34" charset="0"/>
                    <a:cs typeface="Arial" pitchFamily="34" charset="0"/>
                  </a:endParaRPr>
                </a:p>
              </p:txBody>
            </p:sp>
          </p:grpSp>
          <p:grpSp>
            <p:nvGrpSpPr>
              <p:cNvPr id="56" name="Group 55"/>
              <p:cNvGrpSpPr/>
              <p:nvPr/>
            </p:nvGrpSpPr>
            <p:grpSpPr>
              <a:xfrm>
                <a:off x="5178442" y="2156743"/>
                <a:ext cx="1103090" cy="665973"/>
                <a:chOff x="7535434" y="3502783"/>
                <a:chExt cx="1159885" cy="665973"/>
              </a:xfrm>
            </p:grpSpPr>
            <p:pic>
              <p:nvPicPr>
                <p:cNvPr id="55" name="Picture 54" descr="105685967.jpg"/>
                <p:cNvPicPr>
                  <a:picLocks noChangeAspect="1"/>
                </p:cNvPicPr>
                <p:nvPr/>
              </p:nvPicPr>
              <p:blipFill>
                <a:blip r:embed="rId8" cstate="screen">
                  <a:clrChange>
                    <a:clrFrom>
                      <a:srgbClr val="FFFFFF"/>
                    </a:clrFrom>
                    <a:clrTo>
                      <a:srgbClr val="FFFFFF">
                        <a:alpha val="0"/>
                      </a:srgbClr>
                    </a:clrTo>
                  </a:clrChange>
                  <a:lum bright="15000"/>
                </a:blip>
                <a:srcRect/>
                <a:stretch>
                  <a:fillRect/>
                </a:stretch>
              </p:blipFill>
              <p:spPr>
                <a:xfrm>
                  <a:off x="7535434" y="3502783"/>
                  <a:ext cx="1159885" cy="665973"/>
                </a:xfrm>
                <a:prstGeom prst="rect">
                  <a:avLst/>
                </a:prstGeom>
                <a:effectLst>
                  <a:outerShdw blurRad="50800" dist="38100" dir="5400000" algn="t" rotWithShape="0">
                    <a:prstClr val="black">
                      <a:alpha val="40000"/>
                    </a:prstClr>
                  </a:outerShdw>
                </a:effectLst>
              </p:spPr>
            </p:pic>
            <p:pic>
              <p:nvPicPr>
                <p:cNvPr id="49"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b="2495"/>
                <a:stretch>
                  <a:fillRect/>
                </a:stretch>
              </p:blipFill>
              <p:spPr bwMode="auto">
                <a:xfrm>
                  <a:off x="7635889" y="3572545"/>
                  <a:ext cx="954642" cy="547018"/>
                </a:xfrm>
                <a:prstGeom prst="rect">
                  <a:avLst/>
                </a:prstGeom>
                <a:noFill/>
                <a:ln w="9525">
                  <a:noFill/>
                  <a:miter lim="800000"/>
                  <a:headEnd/>
                  <a:tailEnd/>
                </a:ln>
                <a:effectLst>
                  <a:softEdge rad="12700"/>
                </a:effectLst>
              </p:spPr>
            </p:pic>
          </p:grpSp>
        </p:grpSp>
        <p:grpSp>
          <p:nvGrpSpPr>
            <p:cNvPr id="67" name="Group 66"/>
            <p:cNvGrpSpPr/>
            <p:nvPr/>
          </p:nvGrpSpPr>
          <p:grpSpPr>
            <a:xfrm>
              <a:off x="1879991" y="982210"/>
              <a:ext cx="3177223" cy="1719072"/>
              <a:chOff x="1879991" y="982210"/>
              <a:chExt cx="3177223" cy="1719072"/>
            </a:xfrm>
          </p:grpSpPr>
          <p:sp>
            <p:nvSpPr>
              <p:cNvPr id="20" name="Rounded Rectangle 19"/>
              <p:cNvSpPr/>
              <p:nvPr/>
            </p:nvSpPr>
            <p:spPr>
              <a:xfrm>
                <a:off x="1879991" y="982210"/>
                <a:ext cx="3177223" cy="1719072"/>
              </a:xfrm>
              <a:prstGeom prst="roundRect">
                <a:avLst>
                  <a:gd name="adj" fmla="val 2461"/>
                </a:avLst>
              </a:prstGeom>
              <a:gradFill>
                <a:gsLst>
                  <a:gs pos="0">
                    <a:schemeClr val="accent1">
                      <a:tint val="50000"/>
                      <a:satMod val="300000"/>
                    </a:schemeClr>
                  </a:gs>
                  <a:gs pos="27000">
                    <a:schemeClr val="tx2"/>
                  </a:gs>
                  <a:gs pos="100000">
                    <a:schemeClr val="accent1">
                      <a:tint val="15000"/>
                      <a:satMod val="350000"/>
                    </a:schemeClr>
                  </a:gs>
                </a:gsLst>
                <a:lin ang="16200000" scaled="1"/>
              </a:gradFill>
              <a:ln>
                <a:gradFill>
                  <a:gsLst>
                    <a:gs pos="0">
                      <a:schemeClr val="tx2">
                        <a:lumMod val="60000"/>
                        <a:lumOff val="40000"/>
                      </a:schemeClr>
                    </a:gs>
                    <a:gs pos="100000">
                      <a:schemeClr val="tx2">
                        <a:alpha val="0"/>
                      </a:schemeClr>
                    </a:gs>
                  </a:gsLst>
                  <a:lin ang="5400000" scaled="0"/>
                </a:gradFill>
              </a:ln>
              <a:effectLst>
                <a:outerShdw blurRad="38100" dist="25400" dir="5400000" rotWithShape="0">
                  <a:srgbClr val="000000">
                    <a:alpha val="40000"/>
                  </a:srgbClr>
                </a:outerShdw>
              </a:effectLst>
            </p:spPr>
            <p:style>
              <a:lnRef idx="1">
                <a:schemeClr val="accent1"/>
              </a:lnRef>
              <a:fillRef idx="2">
                <a:schemeClr val="accent1"/>
              </a:fillRef>
              <a:effectRef idx="1">
                <a:schemeClr val="accent1"/>
              </a:effectRef>
              <a:fontRef idx="minor">
                <a:schemeClr val="dk1"/>
              </a:fontRef>
            </p:style>
            <p:txBody>
              <a:bodyPr tIns="45720" rtlCol="0" anchor="t" anchorCtr="0"/>
              <a:lstStyle/>
              <a:p>
                <a:pPr algn="ctr">
                  <a:lnSpc>
                    <a:spcPts val="1700"/>
                  </a:lnSpc>
                </a:pPr>
                <a:r>
                  <a:rPr lang="en-US" sz="2000" spc="-700" dirty="0" smtClean="0">
                    <a:solidFill>
                      <a:schemeClr val="tx2"/>
                    </a:solidFill>
                    <a:effectLst>
                      <a:outerShdw blurRad="50800" dist="12700" dir="5400000" algn="ctr" rotWithShape="0">
                        <a:schemeClr val="tx1">
                          <a:alpha val="15000"/>
                        </a:schemeClr>
                      </a:outerShdw>
                    </a:effectLst>
                  </a:rPr>
                  <a:t> </a:t>
                </a:r>
                <a:r>
                  <a:rPr lang="en-US" sz="1600" dirty="0" smtClean="0">
                    <a:solidFill>
                      <a:srgbClr val="000000"/>
                    </a:solidFill>
                  </a:rPr>
                  <a:t>APPLICATION </a:t>
                </a:r>
              </a:p>
              <a:p>
                <a:pPr algn="ctr">
                  <a:lnSpc>
                    <a:spcPts val="1700"/>
                  </a:lnSpc>
                </a:pPr>
                <a:r>
                  <a:rPr lang="en-US" sz="1600" dirty="0" smtClean="0">
                    <a:solidFill>
                      <a:srgbClr val="000000"/>
                    </a:solidFill>
                  </a:rPr>
                  <a:t>TRANSFORMATION</a:t>
                </a:r>
              </a:p>
            </p:txBody>
          </p:sp>
          <p:sp>
            <p:nvSpPr>
              <p:cNvPr id="21" name="Round Same Side Corner Rectangle 20"/>
              <p:cNvSpPr/>
              <p:nvPr/>
            </p:nvSpPr>
            <p:spPr>
              <a:xfrm flipV="1">
                <a:off x="3543965" y="1833685"/>
                <a:ext cx="1402721" cy="799228"/>
              </a:xfrm>
              <a:prstGeom prst="round2SameRect">
                <a:avLst>
                  <a:gd name="adj1" fmla="val 4932"/>
                  <a:gd name="adj2" fmla="val 3590"/>
                </a:avLst>
              </a:prstGeom>
              <a:gradFill>
                <a:gsLst>
                  <a:gs pos="0">
                    <a:schemeClr val="bg1">
                      <a:lumMod val="95000"/>
                    </a:schemeClr>
                  </a:gs>
                  <a:gs pos="100000">
                    <a:schemeClr val="bg1">
                      <a:lumMod val="75000"/>
                    </a:schemeClr>
                  </a:gs>
                </a:gsLst>
              </a:gradFill>
              <a:ln>
                <a:gradFill>
                  <a:gsLst>
                    <a:gs pos="0">
                      <a:schemeClr val="bg1"/>
                    </a:gs>
                    <a:gs pos="100000">
                      <a:schemeClr val="bg1">
                        <a:lumMod val="50000"/>
                      </a:schemeClr>
                    </a:gs>
                  </a:gsLst>
                  <a:lin ang="16200000" scaled="0"/>
                </a:gradFill>
              </a:ln>
              <a:effectLst>
                <a:outerShdw blurRad="38100" dist="25400" dir="5400000" algn="t" rotWithShape="0">
                  <a:schemeClr val="tx2">
                    <a:lumMod val="50000"/>
                    <a:alpha val="60000"/>
                  </a:schemeClr>
                </a:out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23" name="Round Same Side Corner Rectangle 22"/>
              <p:cNvSpPr/>
              <p:nvPr/>
            </p:nvSpPr>
            <p:spPr>
              <a:xfrm flipV="1">
                <a:off x="2048530" y="1841746"/>
                <a:ext cx="1402721" cy="799228"/>
              </a:xfrm>
              <a:prstGeom prst="round2SameRect">
                <a:avLst>
                  <a:gd name="adj1" fmla="val 4932"/>
                  <a:gd name="adj2" fmla="val 3590"/>
                </a:avLst>
              </a:prstGeom>
              <a:gradFill>
                <a:gsLst>
                  <a:gs pos="0">
                    <a:schemeClr val="bg1">
                      <a:lumMod val="95000"/>
                    </a:schemeClr>
                  </a:gs>
                  <a:gs pos="100000">
                    <a:schemeClr val="bg1">
                      <a:lumMod val="75000"/>
                    </a:schemeClr>
                  </a:gs>
                </a:gsLst>
              </a:gradFill>
              <a:ln>
                <a:gradFill>
                  <a:gsLst>
                    <a:gs pos="0">
                      <a:schemeClr val="bg1"/>
                    </a:gs>
                    <a:gs pos="100000">
                      <a:schemeClr val="bg1">
                        <a:lumMod val="50000"/>
                      </a:schemeClr>
                    </a:gs>
                  </a:gsLst>
                  <a:lin ang="16200000" scaled="0"/>
                </a:gradFill>
              </a:ln>
              <a:effectLst>
                <a:outerShdw blurRad="38100" dist="25400" dir="5400000" algn="t" rotWithShape="0">
                  <a:schemeClr val="tx2">
                    <a:lumMod val="50000"/>
                    <a:alpha val="60000"/>
                  </a:schemeClr>
                </a:out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rgbClr val="FFFFFF"/>
                  </a:solidFill>
                </a:endParaRPr>
              </a:p>
            </p:txBody>
          </p:sp>
          <p:sp>
            <p:nvSpPr>
              <p:cNvPr id="25" name="Round Same Side Corner Rectangle 24"/>
              <p:cNvSpPr/>
              <p:nvPr/>
            </p:nvSpPr>
            <p:spPr>
              <a:xfrm flipV="1">
                <a:off x="2009036" y="1588274"/>
                <a:ext cx="2927663" cy="189674"/>
              </a:xfrm>
              <a:prstGeom prst="round2SameRect">
                <a:avLst>
                  <a:gd name="adj1" fmla="val 21714"/>
                  <a:gd name="adj2" fmla="val 10793"/>
                </a:avLst>
              </a:prstGeom>
              <a:gradFill>
                <a:gsLst>
                  <a:gs pos="0">
                    <a:schemeClr val="bg1">
                      <a:lumMod val="95000"/>
                    </a:schemeClr>
                  </a:gs>
                  <a:gs pos="100000">
                    <a:schemeClr val="bg1">
                      <a:lumMod val="75000"/>
                    </a:schemeClr>
                  </a:gs>
                </a:gsLst>
              </a:gradFill>
              <a:ln>
                <a:gradFill>
                  <a:gsLst>
                    <a:gs pos="0">
                      <a:schemeClr val="bg1"/>
                    </a:gs>
                    <a:gs pos="100000">
                      <a:schemeClr val="bg1">
                        <a:lumMod val="50000"/>
                      </a:schemeClr>
                    </a:gs>
                  </a:gsLst>
                  <a:lin ang="16200000" scaled="0"/>
                </a:gradFill>
              </a:ln>
              <a:effectLst>
                <a:outerShdw blurRad="38100" dist="25400" dir="5400000" algn="t" rotWithShape="0">
                  <a:schemeClr val="tx2">
                    <a:lumMod val="50000"/>
                    <a:alpha val="60000"/>
                  </a:schemeClr>
                </a:out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solidFill>
                    <a:schemeClr val="tx2"/>
                  </a:solidFill>
                </a:endParaRPr>
              </a:p>
            </p:txBody>
          </p:sp>
          <p:sp>
            <p:nvSpPr>
              <p:cNvPr id="26" name="TextBox 25"/>
              <p:cNvSpPr txBox="1"/>
              <p:nvPr/>
            </p:nvSpPr>
            <p:spPr>
              <a:xfrm>
                <a:off x="2103798" y="1555783"/>
                <a:ext cx="1806618" cy="246221"/>
              </a:xfrm>
              <a:prstGeom prst="rect">
                <a:avLst/>
              </a:prstGeom>
            </p:spPr>
            <p:txBody>
              <a:bodyPr wrap="square" rtlCol="0">
                <a:spAutoFit/>
              </a:bodyPr>
              <a:lstStyle/>
              <a:p>
                <a:pPr>
                  <a:lnSpc>
                    <a:spcPts val="1150"/>
                  </a:lnSpc>
                </a:pPr>
                <a:r>
                  <a:rPr lang="en-US" sz="1050" kern="0" dirty="0" smtClean="0">
                    <a:solidFill>
                      <a:schemeClr val="tx1">
                        <a:lumMod val="75000"/>
                        <a:lumOff val="25000"/>
                      </a:schemeClr>
                    </a:solidFill>
                    <a:effectLst>
                      <a:outerShdw blurRad="88900" algn="ctr" rotWithShape="0">
                        <a:srgbClr val="FFFFFF"/>
                      </a:outerShdw>
                    </a:effectLst>
                  </a:rPr>
                  <a:t>End User Experience</a:t>
                </a:r>
              </a:p>
            </p:txBody>
          </p:sp>
          <p:pic>
            <p:nvPicPr>
              <p:cNvPr id="58" name="Picture 57" descr="plat-apps2.png"/>
              <p:cNvPicPr>
                <a:picLocks noChangeAspect="1"/>
              </p:cNvPicPr>
              <p:nvPr/>
            </p:nvPicPr>
            <p:blipFill>
              <a:blip r:embed="rId10"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3803698" y="2241051"/>
                <a:ext cx="891261" cy="365379"/>
              </a:xfrm>
              <a:prstGeom prst="rect">
                <a:avLst/>
              </a:prstGeom>
            </p:spPr>
          </p:pic>
          <p:pic>
            <p:nvPicPr>
              <p:cNvPr id="59" name="Picture 58" descr="plat-apps1.png"/>
              <p:cNvPicPr>
                <a:picLocks noChangeAspect="1"/>
              </p:cNvPicPr>
              <p:nvPr/>
            </p:nvPicPr>
            <p:blipFill>
              <a:blip r:embed="rId11"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2304257" y="2257516"/>
                <a:ext cx="891260" cy="366990"/>
              </a:xfrm>
              <a:prstGeom prst="rect">
                <a:avLst/>
              </a:prstGeom>
            </p:spPr>
          </p:pic>
          <p:pic>
            <p:nvPicPr>
              <p:cNvPr id="64" name="Picture 63" descr="people silhouettes-150dpi.png"/>
              <p:cNvPicPr>
                <a:picLocks noChangeAspect="1"/>
              </p:cNvPicPr>
              <p:nvPr/>
            </p:nvPicPr>
            <p:blipFill>
              <a:blip r:embed="rId12" cstate="screen">
                <a:lum bright="33000"/>
                <a:extLst>
                  <a:ext uri="{28A0092B-C50C-407E-A947-70E740481C1C}">
                    <a14:useLocalDpi xmlns:a14="http://schemas.microsoft.com/office/drawing/2010/main"/>
                  </a:ext>
                </a:extLst>
              </a:blip>
              <a:srcRect/>
              <a:stretch>
                <a:fillRect/>
              </a:stretch>
            </p:blipFill>
            <p:spPr>
              <a:xfrm>
                <a:off x="3687763" y="1571790"/>
                <a:ext cx="1217612" cy="201200"/>
              </a:xfrm>
              <a:prstGeom prst="rect">
                <a:avLst/>
              </a:prstGeom>
            </p:spPr>
          </p:pic>
          <p:sp>
            <p:nvSpPr>
              <p:cNvPr id="22" name="TextBox 21"/>
              <p:cNvSpPr txBox="1"/>
              <p:nvPr/>
            </p:nvSpPr>
            <p:spPr>
              <a:xfrm>
                <a:off x="3752237" y="1833685"/>
                <a:ext cx="994182" cy="400110"/>
              </a:xfrm>
              <a:prstGeom prst="rect">
                <a:avLst/>
              </a:prstGeom>
            </p:spPr>
            <p:txBody>
              <a:bodyPr wrap="none" rtlCol="0">
                <a:spAutoFit/>
              </a:bodyPr>
              <a:lstStyle/>
              <a:p>
                <a:pPr algn="ctr">
                  <a:lnSpc>
                    <a:spcPts val="1150"/>
                  </a:lnSpc>
                </a:pPr>
                <a:r>
                  <a:rPr lang="en-US" sz="1050" kern="0" dirty="0" smtClean="0">
                    <a:solidFill>
                      <a:schemeClr val="tx1">
                        <a:lumMod val="75000"/>
                        <a:lumOff val="25000"/>
                      </a:schemeClr>
                    </a:solidFill>
                    <a:effectLst>
                      <a:outerShdw blurRad="88900" algn="ctr" rotWithShape="0">
                        <a:srgbClr val="FFFFFF"/>
                      </a:outerShdw>
                    </a:effectLst>
                  </a:rPr>
                  <a:t>New</a:t>
                </a:r>
                <a:br>
                  <a:rPr lang="en-US" sz="1050" kern="0" dirty="0" smtClean="0">
                    <a:solidFill>
                      <a:schemeClr val="tx1">
                        <a:lumMod val="75000"/>
                        <a:lumOff val="25000"/>
                      </a:schemeClr>
                    </a:solidFill>
                    <a:effectLst>
                      <a:outerShdw blurRad="88900" algn="ctr" rotWithShape="0">
                        <a:srgbClr val="FFFFFF"/>
                      </a:outerShdw>
                    </a:effectLst>
                  </a:rPr>
                </a:br>
                <a:r>
                  <a:rPr lang="en-US" sz="1050" kern="0" dirty="0" smtClean="0">
                    <a:solidFill>
                      <a:schemeClr val="tx1">
                        <a:lumMod val="75000"/>
                        <a:lumOff val="25000"/>
                      </a:schemeClr>
                    </a:solidFill>
                    <a:effectLst>
                      <a:outerShdw blurRad="88900" algn="ctr" rotWithShape="0">
                        <a:srgbClr val="FFFFFF"/>
                      </a:outerShdw>
                    </a:effectLst>
                  </a:rPr>
                  <a:t>Applications</a:t>
                </a:r>
              </a:p>
            </p:txBody>
          </p:sp>
          <p:sp>
            <p:nvSpPr>
              <p:cNvPr id="28" name="TextBox 27"/>
              <p:cNvSpPr txBox="1"/>
              <p:nvPr/>
            </p:nvSpPr>
            <p:spPr>
              <a:xfrm>
                <a:off x="2252796" y="1833685"/>
                <a:ext cx="994182" cy="400110"/>
              </a:xfrm>
              <a:prstGeom prst="rect">
                <a:avLst/>
              </a:prstGeom>
            </p:spPr>
            <p:txBody>
              <a:bodyPr wrap="none" rtlCol="0">
                <a:spAutoFit/>
              </a:bodyPr>
              <a:lstStyle/>
              <a:p>
                <a:pPr algn="ctr">
                  <a:lnSpc>
                    <a:spcPts val="1150"/>
                  </a:lnSpc>
                </a:pPr>
                <a:r>
                  <a:rPr lang="en-US" sz="1050" kern="0" dirty="0" smtClean="0">
                    <a:solidFill>
                      <a:schemeClr val="tx1">
                        <a:lumMod val="75000"/>
                        <a:lumOff val="25000"/>
                      </a:schemeClr>
                    </a:solidFill>
                    <a:effectLst>
                      <a:outerShdw blurRad="88900" algn="ctr" rotWithShape="0">
                        <a:srgbClr val="FFFFFF"/>
                      </a:outerShdw>
                    </a:effectLst>
                  </a:rPr>
                  <a:t>Existing</a:t>
                </a:r>
              </a:p>
              <a:p>
                <a:pPr algn="ctr">
                  <a:lnSpc>
                    <a:spcPts val="1150"/>
                  </a:lnSpc>
                </a:pPr>
                <a:r>
                  <a:rPr lang="en-US" sz="1050" kern="0" dirty="0" smtClean="0">
                    <a:solidFill>
                      <a:schemeClr val="tx1">
                        <a:lumMod val="75000"/>
                        <a:lumOff val="25000"/>
                      </a:schemeClr>
                    </a:solidFill>
                    <a:effectLst>
                      <a:outerShdw blurRad="88900" algn="ctr" rotWithShape="0">
                        <a:srgbClr val="FFFFFF"/>
                      </a:outerShdw>
                    </a:effectLst>
                  </a:rPr>
                  <a:t>Applications</a:t>
                </a:r>
              </a:p>
            </p:txBody>
          </p:sp>
        </p:grpSp>
      </p:grpSp>
    </p:spTree>
    <p:extLst>
      <p:ext uri="{BB962C8B-B14F-4D97-AF65-F5344CB8AC3E}">
        <p14:creationId xmlns:p14="http://schemas.microsoft.com/office/powerpoint/2010/main" val="270960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qUNYGVdtkGLZuHshagw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UNYGVdtkGLZuHshagw8Q"/>
</p:tagLst>
</file>

<file path=ppt/theme/theme1.xml><?xml version="1.0" encoding="utf-8"?>
<a:theme xmlns:a="http://schemas.openxmlformats.org/drawingml/2006/main" name="CIO Summit 2015 Fed template">
  <a:themeElements>
    <a:clrScheme name="2014 v4">
      <a:dk1>
        <a:srgbClr val="000000"/>
      </a:dk1>
      <a:lt1>
        <a:srgbClr val="FFFFFF"/>
      </a:lt1>
      <a:dk2>
        <a:srgbClr val="2C95DD"/>
      </a:dk2>
      <a:lt2>
        <a:srgbClr val="717074"/>
      </a:lt2>
      <a:accent1>
        <a:srgbClr val="2C95DD"/>
      </a:accent1>
      <a:accent2>
        <a:srgbClr val="339933"/>
      </a:accent2>
      <a:accent3>
        <a:srgbClr val="93C5FF"/>
      </a:accent3>
      <a:accent4>
        <a:srgbClr val="BABCBE"/>
      </a:accent4>
      <a:accent5>
        <a:srgbClr val="007D68"/>
      </a:accent5>
      <a:accent6>
        <a:srgbClr val="CE3131"/>
      </a:accent6>
      <a:hlink>
        <a:srgbClr val="2C95DD"/>
      </a:hlink>
      <a:folHlink>
        <a:srgbClr val="2C95E1"/>
      </a:folHlink>
    </a:clrScheme>
    <a:fontScheme name="Adjacency">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err="1" smtClean="0">
            <a:solidFill>
              <a:schemeClr val="bg2"/>
            </a:solidFill>
          </a:defRPr>
        </a:defPPr>
      </a:lstStyle>
    </a:txDef>
  </a:objectDefaults>
  <a:extraClrSchemeLst/>
</a:theme>
</file>

<file path=ppt/theme/theme2.xml><?xml version="1.0" encoding="utf-8"?>
<a:theme xmlns:a="http://schemas.openxmlformats.org/drawingml/2006/main" name="1_CIO Summit 2015 Fed template">
  <a:themeElements>
    <a:clrScheme name="2014 v4">
      <a:dk1>
        <a:srgbClr val="000000"/>
      </a:dk1>
      <a:lt1>
        <a:srgbClr val="FFFFFF"/>
      </a:lt1>
      <a:dk2>
        <a:srgbClr val="2C95DD"/>
      </a:dk2>
      <a:lt2>
        <a:srgbClr val="717074"/>
      </a:lt2>
      <a:accent1>
        <a:srgbClr val="2C95DD"/>
      </a:accent1>
      <a:accent2>
        <a:srgbClr val="339933"/>
      </a:accent2>
      <a:accent3>
        <a:srgbClr val="93C5FF"/>
      </a:accent3>
      <a:accent4>
        <a:srgbClr val="BABCBE"/>
      </a:accent4>
      <a:accent5>
        <a:srgbClr val="007D68"/>
      </a:accent5>
      <a:accent6>
        <a:srgbClr val="CE3131"/>
      </a:accent6>
      <a:hlink>
        <a:srgbClr val="2C95DD"/>
      </a:hlink>
      <a:folHlink>
        <a:srgbClr val="2C95E1"/>
      </a:folHlink>
    </a:clrScheme>
    <a:fontScheme name="Adjacency">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err="1" smtClean="0">
            <a:solidFill>
              <a:schemeClr val="bg2"/>
            </a:solidFill>
          </a:defRPr>
        </a:defPPr>
      </a:lstStyle>
    </a:txDef>
  </a:objectDefaults>
  <a:extraClrSchemeLst/>
</a:theme>
</file>

<file path=ppt/theme/theme3.xml><?xml version="1.0" encoding="utf-8"?>
<a:theme xmlns:a="http://schemas.openxmlformats.org/drawingml/2006/main" name="2_CIO Summit 2015 Fed template">
  <a:themeElements>
    <a:clrScheme name="2014 v4">
      <a:dk1>
        <a:srgbClr val="000000"/>
      </a:dk1>
      <a:lt1>
        <a:srgbClr val="FFFFFF"/>
      </a:lt1>
      <a:dk2>
        <a:srgbClr val="2C95DD"/>
      </a:dk2>
      <a:lt2>
        <a:srgbClr val="717074"/>
      </a:lt2>
      <a:accent1>
        <a:srgbClr val="2C95DD"/>
      </a:accent1>
      <a:accent2>
        <a:srgbClr val="339933"/>
      </a:accent2>
      <a:accent3>
        <a:srgbClr val="93C5FF"/>
      </a:accent3>
      <a:accent4>
        <a:srgbClr val="BABCBE"/>
      </a:accent4>
      <a:accent5>
        <a:srgbClr val="007D68"/>
      </a:accent5>
      <a:accent6>
        <a:srgbClr val="CE3131"/>
      </a:accent6>
      <a:hlink>
        <a:srgbClr val="2C95DD"/>
      </a:hlink>
      <a:folHlink>
        <a:srgbClr val="2C95E1"/>
      </a:folHlink>
    </a:clrScheme>
    <a:fontScheme name="Adjacency">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err="1" smtClean="0">
            <a:solidFill>
              <a:schemeClr val="bg2"/>
            </a:solidFill>
          </a:defRPr>
        </a:defPPr>
      </a:lstStyle>
    </a:txDef>
  </a:objectDefaults>
  <a:extraClrSchemeLst/>
</a:theme>
</file>

<file path=ppt/theme/theme4.xml><?xml version="1.0" encoding="utf-8"?>
<a:theme xmlns:a="http://schemas.openxmlformats.org/drawingml/2006/main" name="3_CIO Summit 2015 Fed template">
  <a:themeElements>
    <a:clrScheme name="2014 v4">
      <a:dk1>
        <a:srgbClr val="000000"/>
      </a:dk1>
      <a:lt1>
        <a:srgbClr val="FFFFFF"/>
      </a:lt1>
      <a:dk2>
        <a:srgbClr val="2C95DD"/>
      </a:dk2>
      <a:lt2>
        <a:srgbClr val="717074"/>
      </a:lt2>
      <a:accent1>
        <a:srgbClr val="2C95DD"/>
      </a:accent1>
      <a:accent2>
        <a:srgbClr val="339933"/>
      </a:accent2>
      <a:accent3>
        <a:srgbClr val="93C5FF"/>
      </a:accent3>
      <a:accent4>
        <a:srgbClr val="BABCBE"/>
      </a:accent4>
      <a:accent5>
        <a:srgbClr val="007D68"/>
      </a:accent5>
      <a:accent6>
        <a:srgbClr val="CE3131"/>
      </a:accent6>
      <a:hlink>
        <a:srgbClr val="2C95DD"/>
      </a:hlink>
      <a:folHlink>
        <a:srgbClr val="2C95E1"/>
      </a:folHlink>
    </a:clrScheme>
    <a:fontScheme name="Adjacency">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2700"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err="1" smtClean="0">
            <a:solidFill>
              <a:schemeClr val="bg2"/>
            </a:solidFill>
          </a:defRPr>
        </a:defPPr>
      </a:lstStyle>
    </a:txDef>
  </a:objectDefaults>
  <a:extraClrSchemeLst/>
</a:theme>
</file>

<file path=ppt/theme/theme5.xml><?xml version="1.0" encoding="utf-8"?>
<a:theme xmlns:a="http://schemas.openxmlformats.org/drawingml/2006/main" name="2_Default Theme">
  <a:themeElements>
    <a:clrScheme name="2014 v4">
      <a:dk1>
        <a:srgbClr val="000000"/>
      </a:dk1>
      <a:lt1>
        <a:srgbClr val="FFFFFF"/>
      </a:lt1>
      <a:dk2>
        <a:srgbClr val="2C95DD"/>
      </a:dk2>
      <a:lt2>
        <a:srgbClr val="717074"/>
      </a:lt2>
      <a:accent1>
        <a:srgbClr val="2C95DD"/>
      </a:accent1>
      <a:accent2>
        <a:srgbClr val="339933"/>
      </a:accent2>
      <a:accent3>
        <a:srgbClr val="93C5FF"/>
      </a:accent3>
      <a:accent4>
        <a:srgbClr val="BABCBE"/>
      </a:accent4>
      <a:accent5>
        <a:srgbClr val="007D68"/>
      </a:accent5>
      <a:accent6>
        <a:srgbClr val="CE3131"/>
      </a:accent6>
      <a:hlink>
        <a:srgbClr val="2C95DD"/>
      </a:hlink>
      <a:folHlink>
        <a:srgbClr val="2C95E1"/>
      </a:folHlink>
    </a:clrScheme>
    <a:fontScheme name="Adjacency">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mpd="sng">
          <a:solidFill>
            <a:schemeClr val="bg2"/>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err="1" smtClean="0">
            <a:solidFill>
              <a:schemeClr val="bg2"/>
            </a:solidFill>
          </a:defRPr>
        </a:defPPr>
      </a:lstStyle>
    </a:txDef>
  </a:objectDefaults>
  <a:extraClrSchemeLst/>
</a:theme>
</file>

<file path=ppt/theme/theme6.xml><?xml version="1.0" encoding="utf-8"?>
<a:theme xmlns:a="http://schemas.openxmlformats.org/drawingml/2006/main" name="Office Theme">
  <a:themeElements>
    <a:clrScheme name="EMC 2014">
      <a:dk1>
        <a:srgbClr val="000000"/>
      </a:dk1>
      <a:lt1>
        <a:srgbClr val="FFFFFF"/>
      </a:lt1>
      <a:dk2>
        <a:srgbClr val="2C95DD"/>
      </a:dk2>
      <a:lt2>
        <a:srgbClr val="717073"/>
      </a:lt2>
      <a:accent1>
        <a:srgbClr val="2C95DD"/>
      </a:accent1>
      <a:accent2>
        <a:srgbClr val="007D68"/>
      </a:accent2>
      <a:accent3>
        <a:srgbClr val="93C5FF"/>
      </a:accent3>
      <a:accent4>
        <a:srgbClr val="BABCBE"/>
      </a:accent4>
      <a:accent5>
        <a:srgbClr val="8E908F"/>
      </a:accent5>
      <a:accent6>
        <a:srgbClr val="FF0000"/>
      </a:accent6>
      <a:hlink>
        <a:srgbClr val="2C95DD"/>
      </a:hlink>
      <a:folHlink>
        <a:srgbClr val="2C95E1"/>
      </a:folHlink>
    </a:clrScheme>
    <a:fontScheme name="Adjacency">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EMC 2014">
      <a:dk1>
        <a:srgbClr val="000000"/>
      </a:dk1>
      <a:lt1>
        <a:srgbClr val="FFFFFF"/>
      </a:lt1>
      <a:dk2>
        <a:srgbClr val="2C95DD"/>
      </a:dk2>
      <a:lt2>
        <a:srgbClr val="717073"/>
      </a:lt2>
      <a:accent1>
        <a:srgbClr val="2C95DD"/>
      </a:accent1>
      <a:accent2>
        <a:srgbClr val="007D68"/>
      </a:accent2>
      <a:accent3>
        <a:srgbClr val="93C5FF"/>
      </a:accent3>
      <a:accent4>
        <a:srgbClr val="BABCBE"/>
      </a:accent4>
      <a:accent5>
        <a:srgbClr val="8E908F"/>
      </a:accent5>
      <a:accent6>
        <a:srgbClr val="FF0000"/>
      </a:accent6>
      <a:hlink>
        <a:srgbClr val="2C95DD"/>
      </a:hlink>
      <a:folHlink>
        <a:srgbClr val="2C95E1"/>
      </a:folHlink>
    </a:clrScheme>
    <a:fontScheme name="Adjacency">
      <a:majorFont>
        <a:latin typeface="Verdan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Verdana"/>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IO Summit 2015 Fed template</Template>
  <TotalTime>1397</TotalTime>
  <Words>1629</Words>
  <Application>Microsoft Office PowerPoint</Application>
  <PresentationFormat>On-screen Show (16:9)</PresentationFormat>
  <Paragraphs>293</Paragraphs>
  <Slides>20</Slides>
  <Notes>11</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CIO Summit 2015 Fed template</vt:lpstr>
      <vt:lpstr>1_CIO Summit 2015 Fed template</vt:lpstr>
      <vt:lpstr>2_CIO Summit 2015 Fed template</vt:lpstr>
      <vt:lpstr>3_CIO Summit 2015 Fed template</vt:lpstr>
      <vt:lpstr>2_Default Theme</vt:lpstr>
      <vt:lpstr>think-cell Slide</vt:lpstr>
      <vt:lpstr>PowerPoint Presentation</vt:lpstr>
      <vt:lpstr>BUSINESS TRANSFORMATION DRIVEN BY THE FEDERATION HYBRID CLOUD</vt:lpstr>
      <vt:lpstr>AGENDA</vt:lpstr>
      <vt:lpstr>WHAT’S DRIVING IT TRANSFORMATION</vt:lpstr>
      <vt:lpstr>INDUSTRIES &amp; BUSINESSES ARE BEING REDEFINED</vt:lpstr>
      <vt:lpstr>IT NEEDS TO SUPPORT TWO MODES </vt:lpstr>
      <vt:lpstr>TRANSFORMING INTO A SERVICE BROKER</vt:lpstr>
      <vt:lpstr>IT AS A SERVICE DELIVERS BUSINESS AGILITY AT LOWER COST </vt:lpstr>
      <vt:lpstr>AN IT TRANSFORMATION APPROACH</vt:lpstr>
      <vt:lpstr>THREE LEVELS OF IT TRANSFORMATION INFRASTRUCTURE TRANSFORMATION</vt:lpstr>
      <vt:lpstr>TECHNOLOGY TRANSFORMATION—HYBRID CLOUD</vt:lpstr>
      <vt:lpstr>FEDERATION ENTERPRISE HYBRID CLOUD SOLUTION</vt:lpstr>
      <vt:lpstr>THREE LEVELS OF IT TRANSFORMATION OPERATING MODEL TRANSFORMATION </vt:lpstr>
      <vt:lpstr>NEW IT OPERATING MODEL</vt:lpstr>
      <vt:lpstr>THREE LEVELS OF IT TRANSFORMATION APPLICATION TRANSFORMATION</vt:lpstr>
      <vt:lpstr>APPLICATION TRANSFORMATION</vt:lpstr>
      <vt:lpstr>APPROACHES FOR STARTING AN IT TRANSFORMATION</vt:lpstr>
      <vt:lpstr>IT’S A JOURNEY—STEP BY STEP</vt:lpstr>
      <vt:lpstr>IT TRANSFORMATION—DEFINE THE FUTURE—&amp; WORK BACKWARDS </vt:lpstr>
      <vt:lpstr>PowerPoint Presentation</vt:lpstr>
    </vt:vector>
  </TitlesOfParts>
  <Company>EMC Corporation</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C</dc:creator>
  <cp:lastModifiedBy>EMC</cp:lastModifiedBy>
  <cp:revision>110</cp:revision>
  <cp:lastPrinted>2013-12-05T19:23:46Z</cp:lastPrinted>
  <dcterms:created xsi:type="dcterms:W3CDTF">2015-04-16T13:14:06Z</dcterms:created>
  <dcterms:modified xsi:type="dcterms:W3CDTF">2015-05-26T16:22:40Z</dcterms:modified>
</cp:coreProperties>
</file>